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tags/tag27.xml" ContentType="application/vnd.openxmlformats-officedocument.presentationml.tags+xml"/>
  <Override PartName="/ppt/notesSlides/notesSlide24.xml" ContentType="application/vnd.openxmlformats-officedocument.presentationml.notesSlide+xml"/>
  <Override PartName="/ppt/tags/tag28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4"/>
  </p:sldMasterIdLst>
  <p:notesMasterIdLst>
    <p:notesMasterId r:id="rId40"/>
  </p:notesMasterIdLst>
  <p:handoutMasterIdLst>
    <p:handoutMasterId r:id="rId41"/>
  </p:handoutMasterIdLst>
  <p:sldIdLst>
    <p:sldId id="2147470774" r:id="rId5"/>
    <p:sldId id="2147470778" r:id="rId6"/>
    <p:sldId id="2146846757" r:id="rId7"/>
    <p:sldId id="2146846761" r:id="rId8"/>
    <p:sldId id="2146846763" r:id="rId9"/>
    <p:sldId id="2147470773" r:id="rId10"/>
    <p:sldId id="2146846764" r:id="rId11"/>
    <p:sldId id="2146846765" r:id="rId12"/>
    <p:sldId id="2146846766" r:id="rId13"/>
    <p:sldId id="2147470768" r:id="rId14"/>
    <p:sldId id="2147470763" r:id="rId15"/>
    <p:sldId id="2147470764" r:id="rId16"/>
    <p:sldId id="2147470765" r:id="rId17"/>
    <p:sldId id="2147470766" r:id="rId18"/>
    <p:sldId id="2147470767" r:id="rId19"/>
    <p:sldId id="2147470772" r:id="rId20"/>
    <p:sldId id="2146846784" r:id="rId21"/>
    <p:sldId id="2146846767" r:id="rId22"/>
    <p:sldId id="2147470779" r:id="rId23"/>
    <p:sldId id="2147470780" r:id="rId24"/>
    <p:sldId id="2147470781" r:id="rId25"/>
    <p:sldId id="2147470782" r:id="rId26"/>
    <p:sldId id="2146846804" r:id="rId27"/>
    <p:sldId id="2147481997" r:id="rId28"/>
    <p:sldId id="2147471065" r:id="rId29"/>
    <p:sldId id="2147471073" r:id="rId30"/>
    <p:sldId id="2147471079" r:id="rId31"/>
    <p:sldId id="2147471080" r:id="rId32"/>
    <p:sldId id="2147481988" r:id="rId33"/>
    <p:sldId id="2147482000" r:id="rId34"/>
    <p:sldId id="2147482002" r:id="rId35"/>
    <p:sldId id="2147471059" r:id="rId36"/>
    <p:sldId id="2147482003" r:id="rId37"/>
    <p:sldId id="2147482001" r:id="rId38"/>
    <p:sldId id="2147470771" r:id="rId39"/>
  </p:sldIdLst>
  <p:sldSz cx="9144000" cy="5143500" type="screen16x9"/>
  <p:notesSz cx="6797675" cy="9926638"/>
  <p:embeddedFontLst>
    <p:embeddedFont>
      <p:font typeface="Bekaert Headline" panose="020B0604020202020204" charset="0"/>
      <p:regular r:id="rId42"/>
      <p:bold r:id="rId43"/>
    </p:embeddedFont>
    <p:embeddedFont>
      <p:font typeface="Bekaert Text" panose="020B0604020202020204" charset="0"/>
      <p:regular r:id="rId44"/>
      <p:bold r:id="rId45"/>
      <p:italic r:id="rId46"/>
      <p:boldItalic r:id="rId47"/>
    </p:embeddedFont>
    <p:embeddedFont>
      <p:font typeface="Bekaert Text" panose="020B0604020202020204" charset="0"/>
      <p:regular r:id="rId44"/>
      <p:bold r:id="rId45"/>
      <p:italic r:id="rId46"/>
      <p:boldItalic r:id="rId47"/>
    </p:embeddedFont>
    <p:embeddedFont>
      <p:font typeface="Microsoft Sans Serif" panose="020B0604020202020204" pitchFamily="34" charset="0"/>
      <p:regular r:id="rId48"/>
    </p:embeddedFont>
  </p:embeddedFontLst>
  <p:custDataLst>
    <p:tags r:id="rId49"/>
  </p:custDataLst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lides" id="{E25E443A-8AC0-6F49-B7E2-D1705C57DFD4}">
          <p14:sldIdLst>
            <p14:sldId id="2147470774"/>
            <p14:sldId id="2147470778"/>
            <p14:sldId id="2146846757"/>
            <p14:sldId id="2146846761"/>
            <p14:sldId id="2146846763"/>
            <p14:sldId id="2147470773"/>
            <p14:sldId id="2146846764"/>
            <p14:sldId id="2146846765"/>
            <p14:sldId id="2146846766"/>
            <p14:sldId id="2147470768"/>
            <p14:sldId id="2147470763"/>
            <p14:sldId id="2147470764"/>
            <p14:sldId id="2147470765"/>
            <p14:sldId id="2147470766"/>
            <p14:sldId id="2147470767"/>
            <p14:sldId id="2147470772"/>
            <p14:sldId id="2146846784"/>
            <p14:sldId id="2146846767"/>
          </p14:sldIdLst>
        </p14:section>
        <p14:section name="Default better tomorrow" id="{F5DB5313-9B2D-3B40-BB20-D34CF162C751}">
          <p14:sldIdLst>
            <p14:sldId id="2147470779"/>
          </p14:sldIdLst>
        </p14:section>
        <p14:section name="Protect the planet" id="{6DDC7506-75D0-C742-A8F4-6B1254BA0FE9}">
          <p14:sldIdLst>
            <p14:sldId id="2147470780"/>
          </p14:sldIdLst>
        </p14:section>
        <p14:section name="Put people first" id="{3C271738-F875-6044-9F18-4C7B56EF9FFE}">
          <p14:sldIdLst>
            <p14:sldId id="2147470781"/>
          </p14:sldIdLst>
        </p14:section>
        <p14:section name="Act with integrity" id="{31715FC3-0E27-4B0B-817C-14DEF1204779}">
          <p14:sldIdLst>
            <p14:sldId id="2147470782"/>
          </p14:sldIdLst>
        </p14:section>
        <p14:section name="outro" id="{6780ACA3-252F-3B4D-8C99-8B59216CC1FF}">
          <p14:sldIdLst>
            <p14:sldId id="2146846804"/>
            <p14:sldId id="2147481997"/>
            <p14:sldId id="2147471065"/>
            <p14:sldId id="2147471073"/>
            <p14:sldId id="2147471079"/>
            <p14:sldId id="2147471080"/>
            <p14:sldId id="2147481988"/>
            <p14:sldId id="2147482000"/>
            <p14:sldId id="2147482002"/>
            <p14:sldId id="2147471059"/>
            <p14:sldId id="2147482003"/>
            <p14:sldId id="2147482001"/>
            <p14:sldId id="21474707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8C5EA15-D891-D5DC-7E02-13B0A6E3E9EB}" name="Liz Styles" initials="ES" userId="S::Liz.Styles@bekaert.com::e0267a9c-b71d-40f6-a1c2-a7903855ab52" providerId="AD"/>
  <p188:author id="{E7AB101C-1A52-B025-D442-E6899DF86066}" name="Anne Parez" initials="AP" userId="S::Anne.Parez@bekaert.com::ff4978e8-fae8-47bd-96a9-5ed8d5284d4c" providerId="AD"/>
  <p188:author id="{327FDA2E-03A7-EDA4-1F5E-3DF32CEC18DA}" name="Kim De Raedt" initials="KD" userId="S::kim.deraedt@bekaert.com::d2a0b350-492b-4835-bc80-1135f34537e5" providerId="AD"/>
  <p188:author id="{D32AED41-F4C8-9BA2-841A-522DCB6E6560}" name="Katrien Strobbe" initials="KS" userId="S::Katrien.Strobbe@bekaert.com::5cc5b498-4907-443d-a1a2-a75f51204e88" providerId="AD"/>
  <p188:author id="{BA5AE098-74E3-152A-E3BD-E939867A52B6}" name="Anne Parez" initials="AP" userId="S::anne.parez@bekaert.com::ff4978e8-fae8-47bd-96a9-5ed8d5284d4c" providerId="AD"/>
  <p188:author id="{68508AA4-1F22-7FF3-291B-FBDAB8FEADC3}" name="Sarah Dheedene" initials="SD" userId="S::sarah.dheedene@bekaert.com::e5b9fbcb-9654-462b-b0f8-d1a77ec87151" providerId="AD"/>
  <p188:author id="{0AFACEB1-1364-E4E6-071D-4A92B2A0F13E}" name="Eline Claerhout" initials="EC" userId="S::eline.claerhout@bekaert.com::883dac41-78f9-4b5d-9ff9-cc74013ea28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DB38D"/>
    <a:srgbClr val="5E7D53"/>
    <a:srgbClr val="FF602C"/>
    <a:srgbClr val="9F6340"/>
    <a:srgbClr val="E0DDD6"/>
    <a:srgbClr val="D7D2CB"/>
    <a:srgbClr val="EBE9E5"/>
    <a:srgbClr val="FFFFFF"/>
    <a:srgbClr val="A8BA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C130BF-799D-4225-B0E4-6F04BE4A8621}" v="13" dt="2025-07-31T09:01:27.476"/>
  </p1510:revLst>
</p1510:revInfo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1" d="100"/>
          <a:sy n="71" d="100"/>
        </p:scale>
        <p:origin x="679" y="65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presProps" Target="presProps.xml"/><Relationship Id="rId55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4.fntdata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3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8" Type="http://schemas.openxmlformats.org/officeDocument/2006/relationships/slide" Target="slides/slide4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font" Target="fonts/font5.fntdata"/><Relationship Id="rId20" Type="http://schemas.openxmlformats.org/officeDocument/2006/relationships/slide" Target="slides/slide16.xml"/><Relationship Id="rId41" Type="http://schemas.openxmlformats.org/officeDocument/2006/relationships/handoutMaster" Target="handoutMasters/handoutMaster1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76BE62-DCC7-4686-A7D3-13D877BBE637}" type="datetime1">
              <a:rPr lang="de-DE" smtClean="0"/>
              <a:t>20.10.2025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E18715-605C-4611-8395-5334328A3643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7439735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495" y="765207"/>
            <a:ext cx="4972128" cy="279741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02495" y="9402940"/>
            <a:ext cx="4861933" cy="280563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21338" y="9395470"/>
            <a:ext cx="504055" cy="28803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052C23-B717-48D0-A2BC-5D53607266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5177973" y="9395471"/>
            <a:ext cx="1008111" cy="28803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0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2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302495" y="3679220"/>
            <a:ext cx="6192686" cy="559404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3" name="Header Placeholder 2"/>
          <p:cNvSpPr>
            <a:spLocks noGrp="1"/>
          </p:cNvSpPr>
          <p:nvPr>
            <p:ph type="hdr" sz="quarter"/>
          </p:nvPr>
        </p:nvSpPr>
        <p:spPr>
          <a:xfrm>
            <a:off x="302496" y="186371"/>
            <a:ext cx="4972128" cy="475804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400" b="0">
                <a:solidFill>
                  <a:schemeClr val="accent2"/>
                </a:solidFill>
                <a:latin typeface="+mj-lt"/>
              </a:defRPr>
            </a:lvl1pPr>
          </a:lstStyle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42508289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marR="0" indent="0" algn="l" defTabSz="914400" rtl="0" eaLnBrk="1" fontAlgn="auto" latinLnBrk="0" hangingPunct="1">
      <a:lnSpc>
        <a:spcPct val="100000"/>
      </a:lnSpc>
      <a:spcBef>
        <a:spcPct val="20000"/>
      </a:spcBef>
      <a:spcAft>
        <a:spcPts val="0"/>
      </a:spcAft>
      <a:buClrTx/>
      <a:buSzTx/>
      <a:buFont typeface="Wingdings" panose="05000000000000000000" pitchFamily="2" charset="2"/>
      <a:buNone/>
      <a:tabLst/>
      <a:defRPr sz="1000" kern="1200" baseline="0">
        <a:solidFill>
          <a:schemeClr val="tx1"/>
        </a:solidFill>
        <a:latin typeface="+mn-lt"/>
        <a:ea typeface="+mn-ea"/>
        <a:cs typeface="+mn-cs"/>
      </a:defRPr>
    </a:lvl1pPr>
    <a:lvl2pPr marL="179388" marR="0" indent="-179388" algn="l" defTabSz="914400" rtl="0" eaLnBrk="1" fontAlgn="auto" latinLnBrk="0" hangingPunct="1">
      <a:lnSpc>
        <a:spcPct val="100000"/>
      </a:lnSpc>
      <a:spcBef>
        <a:spcPct val="2000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55600" marR="0" indent="-179388" algn="l" defTabSz="914400" rtl="0" eaLnBrk="1" fontAlgn="auto" latinLnBrk="0" hangingPunct="1">
      <a:lnSpc>
        <a:spcPct val="100000"/>
      </a:lnSpc>
      <a:spcBef>
        <a:spcPct val="20000"/>
      </a:spcBef>
      <a:spcAft>
        <a:spcPts val="0"/>
      </a:spcAft>
      <a:buClrTx/>
      <a:buSzTx/>
      <a:buFont typeface="Arial" panose="020B0604020202020204" pitchFamily="34" charset="0"/>
      <a:buChar char="‒"/>
      <a:tabLst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3400" marR="0" indent="-179388" algn="l" defTabSz="914400" rtl="0" eaLnBrk="1" fontAlgn="auto" latinLnBrk="0" hangingPunct="1">
      <a:lnSpc>
        <a:spcPct val="100000"/>
      </a:lnSpc>
      <a:spcBef>
        <a:spcPct val="20000"/>
      </a:spcBef>
      <a:spcAft>
        <a:spcPts val="0"/>
      </a:spcAft>
      <a:buClrTx/>
      <a:buSzTx/>
      <a:buFont typeface="Courier New" panose="02070309020205020404" pitchFamily="49" charset="0"/>
      <a:buChar char="o"/>
      <a:tabLst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3900" marR="0" indent="-142875" algn="l" defTabSz="914400" rtl="0" eaLnBrk="1" fontAlgn="auto" latinLnBrk="0" hangingPunct="1">
      <a:lnSpc>
        <a:spcPct val="100000"/>
      </a:lnSpc>
      <a:spcBef>
        <a:spcPct val="20000"/>
      </a:spcBef>
      <a:spcAft>
        <a:spcPts val="0"/>
      </a:spcAft>
      <a:buClrTx/>
      <a:buSzTx/>
      <a:buFont typeface="Arial" panose="020B0604020202020204" pitchFamily="34" charset="0"/>
      <a:buChar char="»"/>
      <a:tabLst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080000" marR="0" indent="-144000" algn="l" defTabSz="914400" rtl="0" eaLnBrk="1" fontAlgn="auto" latinLnBrk="0" hangingPunct="1">
      <a:lnSpc>
        <a:spcPct val="100000"/>
      </a:lnSpc>
      <a:spcBef>
        <a:spcPct val="2000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7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6C57D2-E623-A536-FD8D-960D7EEB2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C7EA50-1423-FC7D-5B5F-C2B05FAE24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4DBED9-3906-82FC-02CF-D3A3C385A6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D9BC27-98C2-1C0F-5E29-43D2BDA748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E6E05B-2BCD-2EA7-B48C-5CDEA2CC34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1253719-28FE-1E80-4723-61B1704BC15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6A4D6A0E-A793-91B6-8351-1D7C423BA84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165762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276EF7-976E-8885-F121-75B482603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24310D7-965A-643F-3E64-533379DA34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1A57DA-8A8D-2E95-5AA1-C3A8F0FAA4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err="1"/>
              <a:t>Bridon</a:t>
            </a:r>
            <a:r>
              <a:rPr lang="nl-BE"/>
              <a:t>: </a:t>
            </a:r>
            <a:r>
              <a:rPr lang="nl-BE" err="1"/>
              <a:t>cranes</a:t>
            </a:r>
            <a:r>
              <a:rPr lang="nl-BE"/>
              <a:t> &amp; </a:t>
            </a:r>
            <a:r>
              <a:rPr lang="nl-BE" err="1"/>
              <a:t>industrial</a:t>
            </a:r>
            <a:r>
              <a:rPr lang="nl-BE"/>
              <a:t>, </a:t>
            </a:r>
            <a:r>
              <a:rPr lang="nl-BE" err="1"/>
              <a:t>oil</a:t>
            </a:r>
            <a:r>
              <a:rPr lang="nl-BE"/>
              <a:t> &amp; gas, </a:t>
            </a:r>
            <a:r>
              <a:rPr lang="nl-BE" err="1"/>
              <a:t>mining</a:t>
            </a:r>
            <a:r>
              <a:rPr lang="nl-BE"/>
              <a:t>, </a:t>
            </a:r>
            <a:r>
              <a:rPr lang="nl-BE" err="1"/>
              <a:t>fishing</a:t>
            </a:r>
            <a:r>
              <a:rPr lang="nl-BE"/>
              <a:t> &amp; marine</a:t>
            </a:r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C1FB73-5A19-4608-7040-73F31A1E8DE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0BCB81-C90A-230D-03EA-B2341184CD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BE3A72-D832-9EF3-F667-617D9DBD316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315E237B-C257-3A28-2DF0-E71D3872AB9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432577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23491-217E-045B-B273-CCA2C725E0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0A302EF-B326-2088-EEB9-616B29177B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EB89CD-DB25-8D06-D425-4D57368C78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B62A40-1F87-4E67-EFA8-5904D20AFD2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925E0A-5018-2BA9-CCCC-659D06B919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6C2A01A-35E3-7651-2F23-E0844200B58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E7BEA8BB-7B38-F3FB-36BE-0D2EB5BBA4E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865370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0BF652-C8C0-C348-2225-35FB220B41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E71BFE-C9E2-2131-A3F8-FE2CB22778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F81067-B155-EAEE-123C-BC52A5836E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B29768-E61E-1724-5397-310EC92E6A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839283-4753-58B6-3B77-F93C1FB85A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2EA2D93-5ABA-59E3-83A9-FCDB7D3031D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34AF70BA-360F-CC20-712B-0FB7BB2C6E2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681950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Tijdelijke aanduiding voor koptekst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446366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/>
              <a:t>Bekaert operates 69 production plants in 23 countries globally (including joint ventures) + 3 R&amp;D </a:t>
            </a:r>
            <a:r>
              <a:rPr lang="en-GB" err="1"/>
              <a:t>centers</a:t>
            </a:r>
            <a:r>
              <a:rPr lang="en-GB"/>
              <a:t>  </a:t>
            </a:r>
          </a:p>
          <a:p>
            <a:endParaRPr lang="nl-BE" sz="1000"/>
          </a:p>
          <a:p>
            <a:endParaRPr lang="nl-BE" sz="1000"/>
          </a:p>
          <a:p>
            <a:r>
              <a:rPr lang="en-BE" sz="1000"/>
              <a:t>Better together - We are there where you are – </a:t>
            </a:r>
            <a:endParaRPr lang="nl-BE" sz="1000"/>
          </a:p>
          <a:p>
            <a:r>
              <a:rPr lang="nl-BE"/>
              <a:t>3 official Bekaert R&amp;D centers: Deerlijk – </a:t>
            </a:r>
            <a:r>
              <a:rPr lang="nl-BE" err="1"/>
              <a:t>Jiangyin</a:t>
            </a:r>
            <a:r>
              <a:rPr lang="nl-BE"/>
              <a:t> – </a:t>
            </a:r>
            <a:r>
              <a:rPr lang="nl-BE" err="1"/>
              <a:t>Doncaster</a:t>
            </a:r>
            <a:endParaRPr lang="nl-BE"/>
          </a:p>
          <a:p>
            <a:r>
              <a:rPr lang="nl-BE"/>
              <a:t>2 </a:t>
            </a:r>
            <a:r>
              <a:rPr lang="nl-BE" err="1"/>
              <a:t>Subsidiary</a:t>
            </a:r>
            <a:r>
              <a:rPr lang="nl-BE"/>
              <a:t> R&amp;D offices in Germany </a:t>
            </a:r>
            <a:r>
              <a:rPr lang="nl-BE" err="1"/>
              <a:t>Anspach</a:t>
            </a:r>
            <a:r>
              <a:rPr lang="nl-BE"/>
              <a:t> (Falconix) –UK Dundee - </a:t>
            </a:r>
            <a:r>
              <a:rPr lang="nl-BE" err="1"/>
              <a:t>Flintstone</a:t>
            </a:r>
            <a:endParaRPr lang="en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36331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526677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e have a clear ambition across all 3 ESG dimensions</a:t>
            </a:r>
          </a:p>
          <a:p>
            <a:endParaRPr lang="en-US"/>
          </a:p>
          <a:p>
            <a:r>
              <a:rPr lang="en-US"/>
              <a:t>Environment: Protect the planet.</a:t>
            </a:r>
          </a:p>
          <a:p>
            <a:r>
              <a:rPr lang="en-US"/>
              <a:t>We offer products and solutions that embed sustainable practices across their lifecycle and our value chain.</a:t>
            </a:r>
          </a:p>
          <a:p>
            <a:endParaRPr lang="en-US"/>
          </a:p>
          <a:p>
            <a:r>
              <a:rPr lang="en-US"/>
              <a:t>Social: Put people first. </a:t>
            </a:r>
          </a:p>
          <a:p>
            <a:r>
              <a:rPr lang="en-US"/>
              <a:t>We create a diverse, inclusive and safe environment for our employees and make a positive impact in the communities where we operate. </a:t>
            </a:r>
          </a:p>
          <a:p>
            <a:endParaRPr lang="en-US"/>
          </a:p>
          <a:p>
            <a:r>
              <a:rPr lang="en-US"/>
              <a:t>Act with integrity</a:t>
            </a:r>
          </a:p>
          <a:p>
            <a:r>
              <a:rPr lang="en-US"/>
              <a:t>We embed transparency and accountability in our collaborative business practices.</a:t>
            </a:r>
            <a:endParaRPr lang="en-BE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Tijdelijke aanduiding voor koptekst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666489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Tijdelijke aanduiding voor koptekst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971497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480409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CC3BC4-FD86-856E-763F-2C2BB4D655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233A14-D6D3-D5BF-6910-0A452F41E8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B134AF0-38D5-3343-1CC9-AE803EFA27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BE"/>
              <a:t>You can find the latest ratings on this website: </a:t>
            </a:r>
            <a:r>
              <a:rPr lang="en-US"/>
              <a:t>https://www.bekaert.com/en/sustainability/sustainability-standards</a:t>
            </a:r>
            <a:r>
              <a:rPr lang="en-BE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834AC2-64A7-B240-95D8-51ABDA6CBE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01E0DC-3DA0-F669-3C1A-DA195FF245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D757313-12FA-65EF-C628-2C146A58D63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A258AA09-48DA-5470-E944-901163DDE5A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95286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6C57D2-E623-A536-FD8D-960D7EEB2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C7EA50-1423-FC7D-5B5F-C2B05FAE24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4DBED9-3906-82FC-02CF-D3A3C385A6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D9BC27-98C2-1C0F-5E29-43D2BDA748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E6E05B-2BCD-2EA7-B48C-5CDEA2CC34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1253719-28FE-1E80-4723-61B1704BC15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6A4D6A0E-A793-91B6-8351-1D7C423BA84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403219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EC5EF9-9997-18CF-E6BE-4E97474F95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6D76D4-7CA5-D910-F314-707E3D1DC4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93B70F-6FE2-6643-3D8B-AD30EF3C13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893E0D-023D-BAA0-20CC-F99232DCDA8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086B53-D237-7871-2439-ABD35CD700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040461E-8082-0E65-90F2-7E4BA89FEBD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E2EC18FB-B3A2-9963-4775-5EAD49C9A65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269636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94B031-C27D-9CC6-0EC7-8ACF14F0ED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542CA7-CE9F-C502-CADF-D9D2348EB2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50838" y="788988"/>
            <a:ext cx="5129212" cy="28844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AA400B-5E19-708E-44F8-D2024C298B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NAM: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1 622 (employe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9 (sit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LAM: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3 441 (employe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12 (production sit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1 (main research &amp; engineering sit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Brazil circle (JV):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3365 (employe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10 (production sit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EMEA: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8 187 (employe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23 (production sit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5 (main research &amp; engineering </a:t>
            </a:r>
            <a:r>
              <a:rPr lang="en-BE" sz="1900" err="1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centers</a:t>
            </a: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ASIA PACIFIC: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10 365 (employe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21 (production sit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4 (main research &amp; engineering sites)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Subsidiaries: 23 615 employees – 65 production sites – 10 main research &amp; engineering sites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Joint ventures in Latin America: 3365 employees – 10 manufacturing plants</a:t>
            </a:r>
            <a:endParaRPr lang="en-BE" sz="1900">
              <a:latin typeface="Arial" panose="020B0604020202020204" pitchFamily="34" charset="0"/>
            </a:endParaRPr>
          </a:p>
          <a:p>
            <a:pPr fontAlgn="b">
              <a:spcBef>
                <a:spcPts val="0"/>
              </a:spcBef>
            </a:pPr>
            <a:r>
              <a:rPr lang="en-BE" sz="1900">
                <a:solidFill>
                  <a:srgbClr val="000000"/>
                </a:solidFill>
                <a:latin typeface="Bekaert Text" panose="020B0503030203020203" pitchFamily="34" charset="0"/>
                <a:ea typeface="Calibri" panose="020F0502020204030204" pitchFamily="34" charset="0"/>
              </a:rPr>
              <a:t>Combined: 26980 employees – 75 production sites – 10 main research &amp; engineering sites</a:t>
            </a:r>
            <a:endParaRPr lang="en-BE" sz="1900">
              <a:latin typeface="Arial" panose="020B0604020202020204" pitchFamily="34" charset="0"/>
            </a:endParaRPr>
          </a:p>
          <a:p>
            <a:endParaRPr lang="nl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E4F1E5-6143-1655-B96C-D736412517D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DD36AF-F209-9624-3349-F956984055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EB8638C-C823-2098-568F-80B5707B476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4B09441-F85E-4F3C-8496-7BAD94653C98}" type="datetime1">
              <a:rPr lang="de-DE" smtClean="0"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FEA2A9FA-E183-1279-61F7-5144C2970D6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346953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87A98-D57F-8BA1-2FEC-B9139D6A9F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04534C-C92D-7DB3-61C1-4597897AE1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50838" y="788988"/>
            <a:ext cx="5129212" cy="28844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A2729B5-4B43-B76A-33C1-0F532762CB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9CC07-15E8-2F16-41CE-99F10340068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589F0C-F652-6B2A-3FAF-3069EF2456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E27AEDE-042F-3AA7-784A-BFA7DCE4E4B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4B09441-F85E-4F3C-8496-7BAD94653C98}" type="datetime1">
              <a:rPr lang="de-DE" smtClean="0"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BB032003-723D-E4D4-F120-DE1CA49AF16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165257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D411DE-928D-3270-7B2D-6799E9ECA4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2FFACAB-7F07-BEED-7A6B-93C01AED79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1625" y="765175"/>
            <a:ext cx="4975225" cy="27987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DF9D7BA-9785-9B9B-3099-79653792EA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EBF74F-6F84-752E-A38E-1243F9F02B9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A15384-2FAC-F608-6326-212F7A2776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052C23-B717-48D0-A2BC-5D5360726626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9F2843C-D141-8DE6-E0B0-7B0086CFEC84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3AD14-C14C-43C1-90DB-7E7FAEDB04C8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20.10.2025</a:t>
            </a:fld>
            <a:endParaRPr kumimoji="0" lang="nl-B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07FF1985-8672-FF62-6AE8-C77C6C98DE6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400" b="0" i="0" u="none" strike="noStrike" kern="1200" cap="none" spc="0" normalizeH="0" baseline="0" noProof="0">
              <a:ln>
                <a:noFill/>
              </a:ln>
              <a:solidFill>
                <a:srgbClr val="FF602C"/>
              </a:solidFill>
              <a:effectLst/>
              <a:uLnTx/>
              <a:uFillTx/>
              <a:latin typeface="Bekaert Headlin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2071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8C6995-10F3-4136-11C1-1296D6BC35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12F839-10DF-1C70-8CB1-51112ABBB1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1625" y="765175"/>
            <a:ext cx="4975225" cy="27987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665095-B806-D602-543B-09965524D0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9F7CA7-1CF7-DAC4-429F-06B24D8DA2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F3CFF5-BF08-66F2-C94E-4E23530886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052C23-B717-48D0-A2BC-5D5360726626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CE215E1-2045-6DA3-E4BC-0CCEEC86C2E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3AD14-C14C-43C1-90DB-7E7FAEDB04C8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20.10.2025</a:t>
            </a:fld>
            <a:endParaRPr kumimoji="0" lang="nl-B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C5C65E67-1AA3-D04A-392D-C5A7E275A2E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400" b="0" i="0" u="none" strike="noStrike" kern="1200" cap="none" spc="0" normalizeH="0" baseline="0" noProof="0">
              <a:ln>
                <a:noFill/>
              </a:ln>
              <a:solidFill>
                <a:srgbClr val="FF602C"/>
              </a:solidFill>
              <a:effectLst/>
              <a:uLnTx/>
              <a:uFillTx/>
              <a:latin typeface="Bekaert Headlin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49841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27EB6-81AF-12C2-C8C0-F5E36D3E0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ECED06-85B3-7964-702F-CFC33FAEF9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C1A483-CAE6-DCD4-7F44-B601166B61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altLang="zh-CN" sz="1000">
                <a:solidFill>
                  <a:schemeClr val="tx1"/>
                </a:solidFill>
                <a:latin typeface="+mn-lt"/>
              </a:rPr>
              <a:t>Our focuses: children's education, safety, and environmental protection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zh-CN" altLang="en-US" sz="1000">
                <a:solidFill>
                  <a:schemeClr val="tx1"/>
                </a:solidFill>
                <a:latin typeface="+mn-lt"/>
              </a:rPr>
              <a:t>重点关注儿童教育、安全和环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D1A8EC-792C-33CE-7CC1-41EE8A7C35B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F04622-530C-4355-07EC-D1653D3004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5FC148D-8BF3-5DE7-8D2A-FDA5A305E29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78B85A7-BDF0-480C-B97E-42DC3441A3DE}" type="datetime1">
              <a:rPr lang="de-DE" smtClean="0"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2C26EBAF-D587-BB2A-6203-F05EBD61D19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239753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69804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Tijdelijke aanduiding voor koptekst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99063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Tijdelijke aanduiding voor koptekst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517408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A474D2-ED4B-5598-D115-AAA4C55894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297A10-3419-8C87-936B-5881EA1EE9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382AC4-F1BA-8E57-BB35-1FA2EF953C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nl-BE"/>
              <a:t>3 official Bekaert R&amp;D centers: Deerlijk – Jiangyin – Doncaster</a:t>
            </a:r>
            <a:r>
              <a:rPr lang="en-BE"/>
              <a:t>, but 10 research &amp; engineering sites in total</a:t>
            </a:r>
            <a:endParaRPr lang="nl-BE"/>
          </a:p>
          <a:p>
            <a:endParaRPr lang="nl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CFE16F-0A02-8450-B3E1-99A9B1DE45A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5A1753-D22A-79F9-130A-AB71B1AAC9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6C95D-B602-022C-D756-CA9208C0817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4FF398B-B416-4949-A892-47BBBCD0EE7A}" type="datetime1">
              <a:rPr lang="de-DE" smtClean="0"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00882595-B052-643C-FFB1-5701208FF8B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718796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Tijdelijke aanduiding voor koptekst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734150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670969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152324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888049-025B-07BD-3EDE-5F4E3060B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E53369-2343-9BA7-4DEA-9383ADA522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3213" y="765175"/>
            <a:ext cx="4972050" cy="27971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ABA71E-19EF-5FEF-44AB-02167ABC17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8F916D-C744-9CAC-19AF-A4E6DDADC1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3FF36-EE9B-CA15-59B5-CBC79E9896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2C23-B717-48D0-A2BC-5D5360726626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EFDD2C-ED59-F396-40F4-8827A7B6E61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5A158C-90D7-49DC-BA2D-2BAD34037B44}" type="datetime1">
              <a:rPr lang="de-DE" smtClean="0"/>
              <a:pPr/>
              <a:t>20.10.2025</a:t>
            </a:fld>
            <a:endParaRPr lang="nl-BE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9E1D718B-A471-2BBB-37F9-EB79C549CF2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03496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hyperlink" Target="https://bekaert.com/" TargetMode="Externa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Image">
    <p:bg bwMode="auto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7979C1-87F4-EC23-6D64-D5ABCE865C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2407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7979C1-87F4-EC23-6D64-D5ABCE865C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BD7E4688-3C3E-F162-D60A-C5C44875C7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143999" cy="5143501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6" y="2921863"/>
            <a:ext cx="6471062" cy="345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here to edit the subtitle</a:t>
            </a:r>
            <a:endParaRPr lang="nl-BE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4425662"/>
            <a:ext cx="4552722" cy="193707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buNone/>
              <a:defRPr sz="1100" b="0" baseline="0"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 of the presentation</a:t>
            </a:r>
            <a:endParaRPr lang="nl-BE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50825" y="2324790"/>
            <a:ext cx="6471062" cy="493920"/>
          </a:xfrm>
          <a:prstGeom prst="rect">
            <a:avLst/>
          </a:prstGeom>
        </p:spPr>
        <p:txBody>
          <a:bodyPr vert="horz" wrap="square" anchor="b" anchorCtr="0">
            <a:noAutofit/>
          </a:bodyPr>
          <a:lstStyle>
            <a:lvl1pPr algn="l">
              <a:lnSpc>
                <a:spcPts val="4000"/>
              </a:lnSpc>
              <a:defRPr sz="4000" b="0" i="0" spc="-11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4716423"/>
            <a:ext cx="4552722" cy="1761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  <a:endParaRPr lang="nl-B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5FB7633-57B0-AA09-9956-906C8456780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604375" y="4639841"/>
            <a:ext cx="1288800" cy="301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442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|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4732BD8-418C-4BDF-A10E-549E10120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282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4732BD8-418C-4BDF-A10E-549E101203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74486D7A-9D19-9FA8-79ED-E6A2947E3C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22726" y="268288"/>
            <a:ext cx="4870450" cy="4606924"/>
          </a:xfrm>
          <a:prstGeom prst="rect">
            <a:avLst/>
          </a:prstGeom>
          <a:solidFill>
            <a:schemeClr val="tx2"/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499DE"/>
              </a:buClr>
              <a:buSzTx/>
              <a:buFont typeface="Wingdings" panose="05000000000000000000" pitchFamily="2" charset="2"/>
              <a:buNone/>
              <a:tabLst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hoose a color or picture</a:t>
            </a:r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075651-1227-F5A8-0981-F428D4E815B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50825" y="2074863"/>
            <a:ext cx="3546475" cy="2366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6BFABB6-FD36-750D-41A1-ACBE1E15893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5D9A9D8-75A7-3789-06E1-808A20D4CDA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58954" y="4669639"/>
            <a:ext cx="3538346" cy="205573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542A26E-4336-768F-1380-A3743DCF236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CB3C8D-A744-E98E-01C3-82F14216F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282072"/>
            <a:ext cx="3538346" cy="208511"/>
          </a:xfrm>
        </p:spPr>
        <p:txBody>
          <a:bodyPr vert="horz" wrap="square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FDFCC05-0F8B-7FF4-106B-7D06C77D5E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825" y="518400"/>
            <a:ext cx="3546475" cy="2397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nl-BE"/>
              <a:t>[</a:t>
            </a:r>
            <a:r>
              <a:rPr lang="nl-BE" err="1"/>
              <a:t>Subtitle</a:t>
            </a:r>
            <a:r>
              <a:rPr lang="nl-BE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62480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| 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284EA97-31E5-8E78-A6FA-A4543A6C7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360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284EA97-31E5-8E78-A6FA-A4543A6C7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5DB2EE2-D21B-5E2A-B800-A2D2D07CABB9}"/>
              </a:ext>
            </a:extLst>
          </p:cNvPr>
          <p:cNvSpPr/>
          <p:nvPr userDrawn="1"/>
        </p:nvSpPr>
        <p:spPr bwMode="ltGray">
          <a:xfrm>
            <a:off x="3132000" y="987425"/>
            <a:ext cx="2880000" cy="40349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BE" sz="14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8CECE0C-95D2-B1D5-670D-867A72066883}"/>
              </a:ext>
            </a:extLst>
          </p:cNvPr>
          <p:cNvSpPr/>
          <p:nvPr userDrawn="1"/>
        </p:nvSpPr>
        <p:spPr bwMode="ltGray">
          <a:xfrm>
            <a:off x="6138000" y="987425"/>
            <a:ext cx="2880000" cy="40349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BE" sz="14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92DC11-924E-95A3-7240-E7AA5E633226}"/>
              </a:ext>
            </a:extLst>
          </p:cNvPr>
          <p:cNvSpPr/>
          <p:nvPr userDrawn="1"/>
        </p:nvSpPr>
        <p:spPr bwMode="ltGray">
          <a:xfrm>
            <a:off x="126001" y="987425"/>
            <a:ext cx="2880000" cy="40349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BE" sz="14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458359B-F342-2E8E-AEEA-5DDCA0973F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650" y="2177063"/>
            <a:ext cx="2628000" cy="819150"/>
          </a:xfrm>
        </p:spPr>
        <p:txBody>
          <a:bodyPr wrap="square" anchor="b" anchorCtr="0">
            <a:noAutofit/>
          </a:bodyPr>
          <a:lstStyle>
            <a:lvl1pPr marL="0" indent="0" algn="ctr">
              <a:lnSpc>
                <a:spcPct val="90000"/>
              </a:lnSpc>
              <a:buNone/>
              <a:defRPr sz="3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nl-BE"/>
              <a:t>##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9B7D41A8-129E-CB23-2AC8-B9A8865BA0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58000" y="2177698"/>
            <a:ext cx="2628000" cy="819150"/>
          </a:xfrm>
        </p:spPr>
        <p:txBody>
          <a:bodyPr wrap="square" anchor="b" anchorCtr="0">
            <a:noAutofit/>
          </a:bodyPr>
          <a:lstStyle>
            <a:lvl1pPr marL="0" indent="0" algn="ctr">
              <a:lnSpc>
                <a:spcPct val="90000"/>
              </a:lnSpc>
              <a:buNone/>
              <a:defRPr sz="3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nl-BE"/>
              <a:t>##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00D20DAF-0C30-0FB3-5C15-CB68510D42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64000" y="2185318"/>
            <a:ext cx="2628000" cy="819150"/>
          </a:xfrm>
        </p:spPr>
        <p:txBody>
          <a:bodyPr wrap="square" anchor="b" anchorCtr="0">
            <a:noAutofit/>
          </a:bodyPr>
          <a:lstStyle>
            <a:lvl1pPr marL="0" indent="0" algn="ctr">
              <a:lnSpc>
                <a:spcPct val="90000"/>
              </a:lnSpc>
              <a:buNone/>
              <a:defRPr sz="3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nl-BE"/>
              <a:t>##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6248D52-243C-1683-707C-64B5E7637D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8763" y="3082403"/>
            <a:ext cx="2628000" cy="123476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nl-BE"/>
              <a:t>Click </a:t>
            </a:r>
            <a:r>
              <a:rPr lang="nl-BE" err="1"/>
              <a:t>to</a:t>
            </a:r>
            <a:r>
              <a:rPr lang="nl-BE"/>
              <a:t> </a:t>
            </a:r>
            <a:r>
              <a:rPr lang="nl-BE" err="1"/>
              <a:t>edit</a:t>
            </a:r>
            <a:r>
              <a:rPr lang="nl-BE"/>
              <a:t> </a:t>
            </a:r>
            <a:r>
              <a:rPr lang="nl-BE" err="1"/>
              <a:t>text</a:t>
            </a:r>
            <a:endParaRPr lang="nl-BE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6DBEEAB-9227-BE0B-5967-27E3F3EB12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58000" y="3082403"/>
            <a:ext cx="2628000" cy="123476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nl-BE"/>
              <a:t>Click </a:t>
            </a:r>
            <a:r>
              <a:rPr lang="nl-BE" err="1"/>
              <a:t>to</a:t>
            </a:r>
            <a:r>
              <a:rPr lang="nl-BE"/>
              <a:t> </a:t>
            </a:r>
            <a:r>
              <a:rPr lang="nl-BE" err="1"/>
              <a:t>edit</a:t>
            </a:r>
            <a:r>
              <a:rPr lang="nl-BE"/>
              <a:t> </a:t>
            </a:r>
            <a:r>
              <a:rPr lang="nl-BE" err="1"/>
              <a:t>text</a:t>
            </a:r>
            <a:endParaRPr lang="nl-BE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AE8654C9-5EC0-273A-D29E-8F13C50DF7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64000" y="3082403"/>
            <a:ext cx="2628000" cy="123476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nl-BE"/>
              <a:t>Click </a:t>
            </a:r>
            <a:r>
              <a:rPr lang="nl-BE" err="1"/>
              <a:t>to</a:t>
            </a:r>
            <a:r>
              <a:rPr lang="nl-BE"/>
              <a:t> </a:t>
            </a:r>
            <a:r>
              <a:rPr lang="nl-BE" err="1"/>
              <a:t>edit</a:t>
            </a:r>
            <a:r>
              <a:rPr lang="nl-BE"/>
              <a:t> </a:t>
            </a:r>
            <a:r>
              <a:rPr lang="nl-BE" err="1"/>
              <a:t>text</a:t>
            </a:r>
            <a:endParaRPr lang="nl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B2818B-3240-A16A-2DE8-554F41A86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282072"/>
            <a:ext cx="5753046" cy="208511"/>
          </a:xfrm>
        </p:spPr>
        <p:txBody>
          <a:bodyPr vert="horz" wrap="square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FA463D96-E439-5538-39A8-93FD184D8F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44824" y="278131"/>
            <a:ext cx="2736000" cy="574675"/>
          </a:xfrm>
        </p:spPr>
        <p:txBody>
          <a:bodyPr wrap="square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/>
              <a:t>Click to edit content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0DE541C-C5CD-D3BC-5DCF-52CCED418C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0825" y="518400"/>
            <a:ext cx="5761175" cy="2397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nl-BE"/>
              <a:t>[</a:t>
            </a:r>
            <a:r>
              <a:rPr lang="nl-BE" err="1"/>
              <a:t>Subtitle</a:t>
            </a:r>
            <a:r>
              <a:rPr lang="nl-BE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40372729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age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3B4A5C-3738-482B-B4BF-4B2A973BF4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1216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3B4A5C-3738-482B-B4BF-4B2A973BF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FDE64330-A74E-9142-A6C6-53DB50D2805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264379" y="1012197"/>
            <a:ext cx="2864152" cy="3669821"/>
          </a:xfrm>
          <a:prstGeom prst="rect">
            <a:avLst/>
          </a:prstGeom>
          <a:solidFill>
            <a:srgbClr val="D7D2CB"/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499DE"/>
              </a:buClr>
              <a:buSzTx/>
              <a:buFont typeface="Wingdings" panose="05000000000000000000" pitchFamily="2" charset="2"/>
              <a:buNone/>
              <a:tabLst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hoose a color or picture</a:t>
            </a:r>
            <a:endParaRPr lang="nl-BE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2CE6BAAE-8C75-7440-B6FC-2AAE2E19B3A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3142083" y="1012197"/>
            <a:ext cx="2864152" cy="3669821"/>
          </a:xfrm>
          <a:prstGeom prst="rect">
            <a:avLst/>
          </a:prstGeom>
          <a:solidFill>
            <a:srgbClr val="D7D2CB"/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499DE"/>
              </a:buClr>
              <a:buSzTx/>
              <a:buFont typeface="Wingdings" panose="05000000000000000000" pitchFamily="2" charset="2"/>
              <a:buNone/>
              <a:tabLst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hoose a color or picture</a:t>
            </a:r>
            <a:endParaRPr lang="nl-BE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45183C9D-2170-C242-B222-1DBEAE2B2DD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ltGray">
          <a:xfrm>
            <a:off x="6015471" y="1012197"/>
            <a:ext cx="2864152" cy="3669821"/>
          </a:xfrm>
          <a:prstGeom prst="rect">
            <a:avLst/>
          </a:prstGeom>
          <a:solidFill>
            <a:srgbClr val="D7D2CB"/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499DE"/>
              </a:buClr>
              <a:buSzTx/>
              <a:buFont typeface="Wingdings" panose="05000000000000000000" pitchFamily="2" charset="2"/>
              <a:buNone/>
              <a:tabLst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hoose a color or picture</a:t>
            </a:r>
            <a:endParaRPr lang="nl-B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62AC35A-CB62-0EC7-4577-B7049B787E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48316" y="278131"/>
            <a:ext cx="2736000" cy="574675"/>
          </a:xfrm>
        </p:spPr>
        <p:txBody>
          <a:bodyPr wrap="square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/>
              <a:t>Click to edit conten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3A9B6F-1B71-F022-EC9D-60A5A778E1EF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7ADDF4-1038-7A79-02D8-DBA4913770F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3065647-D073-4A53-7318-D8E7620761C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215FF2-D74F-AE00-CD70-2B0A0649B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282072"/>
            <a:ext cx="5747281" cy="208511"/>
          </a:xfrm>
        </p:spPr>
        <p:txBody>
          <a:bodyPr vert="horz" wrap="square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21119C6-249A-E5C5-214C-56ECC3003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0825" y="518400"/>
            <a:ext cx="5768129" cy="2397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nl-BE"/>
              <a:t>[</a:t>
            </a:r>
            <a:r>
              <a:rPr lang="nl-BE" err="1"/>
              <a:t>Subtitle</a:t>
            </a:r>
            <a:r>
              <a:rPr lang="nl-BE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9685840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age | full size 3 image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A71D556-58B4-5D7F-82BE-2B2BF2C2FC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975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A71D556-58B4-5D7F-82BE-2B2BF2C2FC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6CDA396-1A60-DE7F-24CF-F5975A8C1F9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0"/>
            <a:ext cx="3059113" cy="5143500"/>
          </a:xfrm>
          <a:solidFill>
            <a:schemeClr val="bg2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BE" err="1"/>
              <a:t>Insert</a:t>
            </a:r>
            <a:r>
              <a:rPr lang="nl-BE"/>
              <a:t> a picture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FDDB2645-EC03-47EF-BF4A-27154B6C03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53822" y="0"/>
            <a:ext cx="3059113" cy="5146676"/>
          </a:xfrm>
          <a:solidFill>
            <a:schemeClr val="accent6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BE" err="1"/>
              <a:t>Insert</a:t>
            </a:r>
            <a:r>
              <a:rPr lang="nl-BE"/>
              <a:t> a pictu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6C07204E-A4FB-B0D8-796F-4F2D437122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084887" y="0"/>
            <a:ext cx="3059113" cy="5146676"/>
          </a:xfrm>
          <a:solidFill>
            <a:schemeClr val="bg2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BE" err="1"/>
              <a:t>Insert</a:t>
            </a:r>
            <a:r>
              <a:rPr lang="nl-BE"/>
              <a:t> a pictur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43C5413-9372-CA95-DFED-6E12C85CB9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850" y="2080902"/>
            <a:ext cx="2901414" cy="32945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BE"/>
              <a:t>[</a:t>
            </a:r>
            <a:r>
              <a:rPr lang="nl-BE" err="1"/>
              <a:t>Title</a:t>
            </a:r>
            <a:r>
              <a:rPr lang="nl-BE"/>
              <a:t>]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9D26C239-DFFE-8B2C-A0E3-7731CC2D52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718" y="2080902"/>
            <a:ext cx="2901414" cy="32945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BE"/>
              <a:t>[</a:t>
            </a:r>
            <a:r>
              <a:rPr lang="nl-BE" err="1"/>
              <a:t>Title</a:t>
            </a:r>
            <a:r>
              <a:rPr lang="nl-BE"/>
              <a:t>]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DEC1025E-8A29-A020-4EC8-F394F116D7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9097" y="2080902"/>
            <a:ext cx="2901414" cy="32945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BE"/>
              <a:t>[</a:t>
            </a:r>
            <a:r>
              <a:rPr lang="nl-BE" err="1"/>
              <a:t>Title</a:t>
            </a:r>
            <a:r>
              <a:rPr lang="nl-BE"/>
              <a:t>]</a:t>
            </a:r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3B21781C-D9EE-051A-F677-B8F20D4A9B6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53325188-B742-A880-91CE-1260E8DB6E5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35E9B3EE-980D-F243-C416-B70A93638F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E3A42E-1EEA-A4BF-D405-8C05148E2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38990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927" userDrawn="1">
          <p15:clr>
            <a:srgbClr val="FBAE40"/>
          </p15:clr>
        </p15:guide>
        <p15:guide id="2" pos="385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page | standout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005290D-31C2-0E08-4FAF-9A0C6753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9177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005290D-31C2-0E08-4FAF-9A0C6753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DBC5A7-C787-34CB-A4E6-E306A29E05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5A13C8-D02F-979A-175F-75BB6B03BC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4721C3-8B55-2B6E-1E30-6408C776C744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black"/>
        <p:txBody>
          <a:bodyPr/>
          <a:lstStyle/>
          <a:p>
            <a:endParaRPr lang="nl-BE"/>
          </a:p>
        </p:txBody>
      </p:sp>
      <p:sp>
        <p:nvSpPr>
          <p:cNvPr id="15" name="Content Placeholder 13">
            <a:extLst>
              <a:ext uri="{FF2B5EF4-FFF2-40B4-BE49-F238E27FC236}">
                <a16:creationId xmlns:a16="http://schemas.microsoft.com/office/drawing/2014/main" id="{B2ECA8FE-0CA0-0A3B-0C86-5BC6748C461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blackGray">
          <a:xfrm>
            <a:off x="4572000" y="2966565"/>
            <a:ext cx="4087504" cy="140518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[Paragraph or bullets]</a:t>
            </a:r>
            <a:endParaRPr lang="nl-B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D9FA4F-AB03-B080-CB7B-02E3B231C70C}"/>
              </a:ext>
            </a:extLst>
          </p:cNvPr>
          <p:cNvSpPr txBox="1"/>
          <p:nvPr userDrawn="1"/>
        </p:nvSpPr>
        <p:spPr>
          <a:xfrm>
            <a:off x="9273540" y="3176"/>
            <a:ext cx="937260" cy="1901824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an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image and push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back (right-click &gt;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send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to back)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so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appears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behind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Aft>
                <a:spcPts val="600"/>
              </a:spcAft>
              <a:buClr>
                <a:schemeClr val="accent1"/>
              </a:buClr>
            </a:pPr>
            <a:endParaRPr lang="nl-BE" sz="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BE" sz="800" i="1" err="1">
                <a:latin typeface="Arial" panose="020B0604020202020204" pitchFamily="34" charset="0"/>
                <a:cs typeface="Arial" panose="020B0604020202020204" pitchFamily="34" charset="0"/>
              </a:rPr>
              <a:t>Don’t</a:t>
            </a:r>
            <a:r>
              <a:rPr lang="nl-BE" sz="800" i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i="1" err="1">
                <a:latin typeface="Arial" panose="020B0604020202020204" pitchFamily="34" charset="0"/>
                <a:cs typeface="Arial" panose="020B0604020202020204" pitchFamily="34" charset="0"/>
              </a:rPr>
              <a:t>worry</a:t>
            </a:r>
            <a:r>
              <a:rPr lang="nl-BE" sz="800" i="1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nl-BE" sz="800" i="1" err="1"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nl-BE" sz="800" i="1">
                <a:latin typeface="Arial" panose="020B0604020202020204" pitchFamily="34" charset="0"/>
                <a:cs typeface="Arial" panose="020B0604020202020204" pitchFamily="34" charset="0"/>
              </a:rPr>
              <a:t> box </a:t>
            </a:r>
            <a:r>
              <a:rPr lang="nl-BE" sz="800" i="1" err="1">
                <a:latin typeface="Arial" panose="020B0604020202020204" pitchFamily="34" charset="0"/>
                <a:cs typeface="Arial" panose="020B0604020202020204" pitchFamily="34" charset="0"/>
              </a:rPr>
              <a:t>won’t</a:t>
            </a:r>
            <a:r>
              <a:rPr lang="nl-BE" sz="800" i="1">
                <a:latin typeface="Arial" panose="020B0604020202020204" pitchFamily="34" charset="0"/>
                <a:cs typeface="Arial" panose="020B0604020202020204" pitchFamily="34" charset="0"/>
              </a:rPr>
              <a:t> print or display in Slide Show view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697F08-DD6D-022C-B76E-16E37FD28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1370974"/>
            <a:ext cx="4872603" cy="860435"/>
          </a:xfrm>
        </p:spPr>
        <p:txBody>
          <a:bodyPr vert="horz" wrap="square"/>
          <a:lstStyle>
            <a:lvl1pPr>
              <a:lnSpc>
                <a:spcPct val="9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EE4D921-C531-AC59-0229-1102D9DA39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8763" y="288000"/>
            <a:ext cx="521878" cy="194756"/>
          </a:xfrm>
          <a:prstGeom prst="roundRect">
            <a:avLst>
              <a:gd name="adj" fmla="val 50000"/>
            </a:avLst>
          </a:prstGeom>
          <a:ln w="12700">
            <a:solidFill>
              <a:schemeClr val="accent6"/>
            </a:solidFill>
          </a:ln>
        </p:spPr>
        <p:txBody>
          <a:bodyPr wrap="none" lIns="72000" tIns="0" rIns="72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nl-BE"/>
              <a:t>Topic</a:t>
            </a:r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5B147E53-8612-6ADC-FDF7-A1BA32D8C8B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blackGray">
          <a:xfrm>
            <a:off x="258954" y="2966565"/>
            <a:ext cx="4087504" cy="140518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[Paragraph or bullets]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04003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1D2CDF7-AA1B-CC22-AF43-FD26F94F78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401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1D2CDF7-AA1B-CC22-AF43-FD26F94F78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1912A3-F966-DD84-6A44-A3C8572A72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266DFC-63A2-2B80-8F3C-ECF57E8D60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EA9E13-38DC-F296-02D3-1F47A5B1F60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659EA2-914C-0229-2104-9D0D0D7419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6081" y="1842757"/>
            <a:ext cx="8139776" cy="1002347"/>
          </a:xfrm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buNone/>
              <a:defRPr sz="3600">
                <a:latin typeface="+mj-lt"/>
              </a:defRPr>
            </a:lvl1pPr>
          </a:lstStyle>
          <a:p>
            <a:pPr lvl="0"/>
            <a:r>
              <a:rPr lang="nl-BE"/>
              <a:t>[</a:t>
            </a:r>
            <a:r>
              <a:rPr lang="nl-BE" err="1"/>
              <a:t>Insert</a:t>
            </a:r>
            <a:r>
              <a:rPr lang="nl-BE"/>
              <a:t> quote here]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2A41AD4-7D09-0491-CB4F-BD46A005CD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1371" y="3630613"/>
            <a:ext cx="4481258" cy="320414"/>
          </a:xfrm>
        </p:spPr>
        <p:txBody>
          <a:bodyPr wrap="square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nl-BE"/>
              <a:t>[Author]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F40A4D-8900-EA7B-0E1E-0C3E3DE64F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954" y="278263"/>
            <a:ext cx="504746" cy="194756"/>
          </a:xfrm>
          <a:prstGeom prst="roundRect">
            <a:avLst>
              <a:gd name="adj" fmla="val 50000"/>
            </a:avLst>
          </a:prstGeom>
          <a:ln w="12700">
            <a:solidFill>
              <a:schemeClr val="tx1"/>
            </a:solidFill>
          </a:ln>
        </p:spPr>
        <p:txBody>
          <a:bodyPr vert="horz" wrap="none" lIns="72000" rIns="72000" anchor="ctr" anchorCtr="0">
            <a:spAutoFit/>
          </a:bodyPr>
          <a:lstStyle>
            <a:lvl1pPr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Topic</a:t>
            </a:r>
            <a:endParaRPr lang="nl-BE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61B3A4E-BDB7-53DE-F13F-3E5C0151CDFB}"/>
              </a:ext>
            </a:extLst>
          </p:cNvPr>
          <p:cNvSpPr txBox="1"/>
          <p:nvPr userDrawn="1"/>
        </p:nvSpPr>
        <p:spPr>
          <a:xfrm>
            <a:off x="9273540" y="3176"/>
            <a:ext cx="937260" cy="233910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If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want to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a picture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inside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of a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solid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color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dark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, full-slide image and push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back (right-click &gt;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send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to back)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so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appears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behind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err="1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Aft>
                <a:spcPts val="600"/>
              </a:spcAft>
              <a:buClr>
                <a:schemeClr val="accent1"/>
              </a:buClr>
            </a:pPr>
            <a:endParaRPr lang="nl-BE" sz="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BE" sz="800" i="1" err="1">
                <a:latin typeface="Arial" panose="020B0604020202020204" pitchFamily="34" charset="0"/>
                <a:cs typeface="Arial" panose="020B0604020202020204" pitchFamily="34" charset="0"/>
              </a:rPr>
              <a:t>Don’t</a:t>
            </a:r>
            <a:r>
              <a:rPr lang="nl-BE" sz="800" i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800" i="1" err="1">
                <a:latin typeface="Arial" panose="020B0604020202020204" pitchFamily="34" charset="0"/>
                <a:cs typeface="Arial" panose="020B0604020202020204" pitchFamily="34" charset="0"/>
              </a:rPr>
              <a:t>worry</a:t>
            </a:r>
            <a:r>
              <a:rPr lang="nl-BE" sz="800" i="1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nl-BE" sz="800" i="1" err="1"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nl-BE" sz="800" i="1">
                <a:latin typeface="Arial" panose="020B0604020202020204" pitchFamily="34" charset="0"/>
                <a:cs typeface="Arial" panose="020B0604020202020204" pitchFamily="34" charset="0"/>
              </a:rPr>
              <a:t> box </a:t>
            </a:r>
            <a:r>
              <a:rPr lang="nl-BE" sz="800" i="1" err="1">
                <a:latin typeface="Arial" panose="020B0604020202020204" pitchFamily="34" charset="0"/>
                <a:cs typeface="Arial" panose="020B0604020202020204" pitchFamily="34" charset="0"/>
              </a:rPr>
              <a:t>won’t</a:t>
            </a:r>
            <a:r>
              <a:rPr lang="nl-BE" sz="800" i="1">
                <a:latin typeface="Arial" panose="020B0604020202020204" pitchFamily="34" charset="0"/>
                <a:cs typeface="Arial" panose="020B0604020202020204" pitchFamily="34" charset="0"/>
              </a:rPr>
              <a:t> print or display in Slide Show view.</a:t>
            </a:r>
          </a:p>
        </p:txBody>
      </p:sp>
    </p:spTree>
    <p:extLst>
      <p:ext uri="{BB962C8B-B14F-4D97-AF65-F5344CB8AC3E}">
        <p14:creationId xmlns:p14="http://schemas.microsoft.com/office/powerpoint/2010/main" val="200989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page with imag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56845F-2F69-EE11-AE5A-9C85268897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873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56845F-2F69-EE11-AE5A-9C85268897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3CE3A68D-4C3B-6C9C-7860-923F9EEA007B}"/>
              </a:ext>
            </a:extLst>
          </p:cNvPr>
          <p:cNvSpPr/>
          <p:nvPr userDrawn="1"/>
        </p:nvSpPr>
        <p:spPr bwMode="white">
          <a:xfrm>
            <a:off x="0" y="3176"/>
            <a:ext cx="5261213" cy="513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BE" sz="14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5FB9B-2BF1-BB82-610C-178E2A062C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552" y="627063"/>
            <a:ext cx="4285397" cy="3822107"/>
          </a:xfrm>
        </p:spPr>
        <p:txBody>
          <a:bodyPr vert="horz" wrap="square" anchor="ctr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[Insert quote here]</a:t>
            </a:r>
            <a:endParaRPr lang="nl-BE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9DF7F77-0453-11DD-F01E-616B9FFC8D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5261212" y="3176"/>
            <a:ext cx="3882788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950196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4CDC82-9C34-C96C-E1B8-8255EEEF6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2873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4CDC82-9C34-C96C-E1B8-8255EEEF6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C9C74EE-AA4D-E422-E0BE-05E7DCA24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6B20CF2-5EE2-BD6A-9F27-8C1AE4CA43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8954" y="3146981"/>
            <a:ext cx="1440000" cy="415498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None/>
              <a:defRPr sz="800" b="0"/>
            </a:lvl1pPr>
          </a:lstStyle>
          <a:p>
            <a:pPr lvl="0"/>
            <a:r>
              <a:rPr lang="nl-BE" err="1"/>
              <a:t>Function</a:t>
            </a:r>
            <a:r>
              <a:rPr lang="nl-BE"/>
              <a:t> </a:t>
            </a:r>
            <a:r>
              <a:rPr lang="nl-BE" err="1"/>
              <a:t>title</a:t>
            </a:r>
            <a:endParaRPr lang="nl-BE"/>
          </a:p>
          <a:p>
            <a:pPr lvl="0"/>
            <a:endParaRPr lang="nl-BE"/>
          </a:p>
          <a:p>
            <a:pPr lvl="0"/>
            <a:r>
              <a:rPr lang="nl-BE"/>
              <a:t>(Company name)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935601D3-6A09-989E-0B84-CD5621B879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8954" y="2900409"/>
            <a:ext cx="1440000" cy="138499"/>
          </a:xfrm>
        </p:spPr>
        <p:txBody>
          <a:bodyPr wrap="square" anchor="b">
            <a:noAutofit/>
          </a:bodyPr>
          <a:lstStyle>
            <a:lvl1pPr marL="0" indent="0">
              <a:lnSpc>
                <a:spcPct val="100000"/>
              </a:lnSpc>
              <a:buNone/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BE"/>
              <a:t>Name of person</a:t>
            </a:r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185DFCC5-83FB-497A-3892-E29C92DE71F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8952" y="1280548"/>
            <a:ext cx="1440000" cy="1440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1B78FB-A229-72A4-1418-B20FEFA0CB1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E39BDC-635F-7D2F-5CD2-DDC1C473684E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F3D2268-6FEE-8DB8-6573-C54638352226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D5028307-7A03-2237-E31A-550FAC4FF5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84257" y="3146981"/>
            <a:ext cx="1440000" cy="415498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None/>
              <a:defRPr sz="800" b="0"/>
            </a:lvl1pPr>
          </a:lstStyle>
          <a:p>
            <a:pPr lvl="0"/>
            <a:r>
              <a:rPr lang="nl-BE" err="1"/>
              <a:t>Function</a:t>
            </a:r>
            <a:r>
              <a:rPr lang="nl-BE"/>
              <a:t> </a:t>
            </a:r>
            <a:r>
              <a:rPr lang="nl-BE" err="1"/>
              <a:t>title</a:t>
            </a:r>
            <a:endParaRPr lang="nl-BE"/>
          </a:p>
          <a:p>
            <a:pPr lvl="0"/>
            <a:endParaRPr lang="nl-BE"/>
          </a:p>
          <a:p>
            <a:pPr lvl="0"/>
            <a:r>
              <a:rPr lang="nl-BE"/>
              <a:t>(Company name)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0EBBFD8C-0087-D187-CC4A-7528969DD6F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84257" y="2900409"/>
            <a:ext cx="1440000" cy="138499"/>
          </a:xfrm>
        </p:spPr>
        <p:txBody>
          <a:bodyPr wrap="square" anchor="b">
            <a:noAutofit/>
          </a:bodyPr>
          <a:lstStyle>
            <a:lvl1pPr marL="0" indent="0">
              <a:lnSpc>
                <a:spcPct val="100000"/>
              </a:lnSpc>
              <a:buNone/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BE"/>
              <a:t>Name of person</a:t>
            </a:r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D360F96A-6FDE-73C8-C168-F3FE6BD2537C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1984257" y="1280548"/>
            <a:ext cx="1440000" cy="1440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762B66D1-FC42-920F-0C7D-922F1F53CBF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09561" y="3146981"/>
            <a:ext cx="1440000" cy="415498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None/>
              <a:defRPr sz="800" b="0"/>
            </a:lvl1pPr>
          </a:lstStyle>
          <a:p>
            <a:pPr lvl="0"/>
            <a:r>
              <a:rPr lang="nl-BE" err="1"/>
              <a:t>Function</a:t>
            </a:r>
            <a:r>
              <a:rPr lang="nl-BE"/>
              <a:t> </a:t>
            </a:r>
            <a:r>
              <a:rPr lang="nl-BE" err="1"/>
              <a:t>title</a:t>
            </a:r>
            <a:endParaRPr lang="nl-BE"/>
          </a:p>
          <a:p>
            <a:pPr lvl="0"/>
            <a:endParaRPr lang="nl-BE"/>
          </a:p>
          <a:p>
            <a:pPr lvl="0"/>
            <a:r>
              <a:rPr lang="nl-BE"/>
              <a:t>(Company name)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78002292-4E41-2462-17FA-ED89A84A4CC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709561" y="2900409"/>
            <a:ext cx="1440000" cy="138499"/>
          </a:xfrm>
        </p:spPr>
        <p:txBody>
          <a:bodyPr wrap="square" anchor="b">
            <a:noAutofit/>
          </a:bodyPr>
          <a:lstStyle>
            <a:lvl1pPr marL="0" indent="0">
              <a:lnSpc>
                <a:spcPct val="100000"/>
              </a:lnSpc>
              <a:buNone/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BE"/>
              <a:t>Name of person</a:t>
            </a:r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A43EA9FA-111F-4A8B-9DF4-4122652B2E8C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709561" y="1280548"/>
            <a:ext cx="1440000" cy="1440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E5F8CAE2-D5B6-55E2-F6BE-264A734D85E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34865" y="3146981"/>
            <a:ext cx="1440000" cy="415498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None/>
              <a:defRPr sz="800" b="0"/>
            </a:lvl1pPr>
          </a:lstStyle>
          <a:p>
            <a:pPr lvl="0"/>
            <a:r>
              <a:rPr lang="nl-BE" err="1"/>
              <a:t>Function</a:t>
            </a:r>
            <a:r>
              <a:rPr lang="nl-BE"/>
              <a:t> </a:t>
            </a:r>
            <a:r>
              <a:rPr lang="nl-BE" err="1"/>
              <a:t>title</a:t>
            </a:r>
            <a:endParaRPr lang="nl-BE"/>
          </a:p>
          <a:p>
            <a:pPr lvl="0"/>
            <a:endParaRPr lang="nl-BE"/>
          </a:p>
          <a:p>
            <a:pPr lvl="0"/>
            <a:r>
              <a:rPr lang="nl-BE"/>
              <a:t>(Company name)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68B09040-4B85-502D-CCC8-5654195C079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434865" y="2900409"/>
            <a:ext cx="1440000" cy="138499"/>
          </a:xfrm>
        </p:spPr>
        <p:txBody>
          <a:bodyPr wrap="square" anchor="b">
            <a:noAutofit/>
          </a:bodyPr>
          <a:lstStyle>
            <a:lvl1pPr marL="0" indent="0">
              <a:lnSpc>
                <a:spcPct val="100000"/>
              </a:lnSpc>
              <a:buNone/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BE"/>
              <a:t>Name of perso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208CE1AA-5167-936B-5164-1D87EEC426A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5434865" y="1280548"/>
            <a:ext cx="1440000" cy="1440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5DE8EE4-A704-596D-71CB-BBA14A8EA0F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160172" y="3146981"/>
            <a:ext cx="1440000" cy="415498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None/>
              <a:defRPr sz="800" b="0"/>
            </a:lvl1pPr>
          </a:lstStyle>
          <a:p>
            <a:pPr lvl="0"/>
            <a:r>
              <a:rPr lang="nl-BE" err="1"/>
              <a:t>Function</a:t>
            </a:r>
            <a:r>
              <a:rPr lang="nl-BE"/>
              <a:t> </a:t>
            </a:r>
            <a:r>
              <a:rPr lang="nl-BE" err="1"/>
              <a:t>title</a:t>
            </a:r>
            <a:endParaRPr lang="nl-BE"/>
          </a:p>
          <a:p>
            <a:pPr lvl="0"/>
            <a:endParaRPr lang="nl-BE"/>
          </a:p>
          <a:p>
            <a:pPr lvl="0"/>
            <a:r>
              <a:rPr lang="nl-BE"/>
              <a:t>(Company name)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94CC450-0CF1-A33C-ECB9-518B544DD1E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160172" y="2900409"/>
            <a:ext cx="1440000" cy="138499"/>
          </a:xfrm>
        </p:spPr>
        <p:txBody>
          <a:bodyPr wrap="square" anchor="b">
            <a:noAutofit/>
          </a:bodyPr>
          <a:lstStyle>
            <a:lvl1pPr marL="0" indent="0">
              <a:lnSpc>
                <a:spcPct val="100000"/>
              </a:lnSpc>
              <a:buNone/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BE"/>
              <a:t>Name of person</a:t>
            </a:r>
          </a:p>
        </p:txBody>
      </p:sp>
      <p:sp>
        <p:nvSpPr>
          <p:cNvPr id="18" name="Picture Placeholder 13">
            <a:extLst>
              <a:ext uri="{FF2B5EF4-FFF2-40B4-BE49-F238E27FC236}">
                <a16:creationId xmlns:a16="http://schemas.microsoft.com/office/drawing/2014/main" id="{3E30B0CF-ED03-C233-E8A3-BDB2E832E05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160172" y="1280548"/>
            <a:ext cx="1440000" cy="1440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BE31CA9C-BE9E-3585-0102-638AF2FE3C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518400"/>
            <a:ext cx="6698615" cy="2397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nl-BE"/>
              <a:t>[</a:t>
            </a:r>
            <a:r>
              <a:rPr lang="nl-BE" err="1"/>
              <a:t>Subtitle</a:t>
            </a:r>
            <a:r>
              <a:rPr lang="nl-BE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3396906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es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4CDC82-9C34-C96C-E1B8-8255EEEF6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411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4CDC82-9C34-C96C-E1B8-8255EEEF6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9F3116-F61D-569F-C79E-BD6ECAFBAA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6664" y="1854987"/>
            <a:ext cx="4494478" cy="134937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 noProof="0"/>
              <a:t>Function and biography go he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4BC4CF6-0A82-16BF-1752-C31584BECFB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17211" y="998807"/>
            <a:ext cx="1835182" cy="177564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33B8E0B-B116-29CD-1C47-F7AFB5C42FD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4AE14E46-73B7-2F98-FC80-3CC492056D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l-BE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406DFD9-5A6F-BEC8-A366-8FC550027E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E8B57AA4-CC86-403A-9F2D-99B44CA83C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C7C787-B967-7390-3ECB-235D523DC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[Optional title]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A4B0EA4F-2B85-77E7-4D31-0DF0BBB3E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76664" y="1503536"/>
            <a:ext cx="4494478" cy="336651"/>
          </a:xfrm>
        </p:spPr>
        <p:txBody>
          <a:bodyPr wrap="square" anchor="b">
            <a:noAutofit/>
          </a:bodyPr>
          <a:lstStyle>
            <a:lvl1pPr marL="0" indent="0" rtl="0">
              <a:lnSpc>
                <a:spcPct val="100000"/>
              </a:lnSpc>
              <a:buNone/>
              <a:defRPr sz="2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99D9B8-DA7B-9421-3D3E-3CFD71A8BB46}"/>
              </a:ext>
            </a:extLst>
          </p:cNvPr>
          <p:cNvSpPr txBox="1"/>
          <p:nvPr userDrawn="1"/>
        </p:nvSpPr>
        <p:spPr>
          <a:xfrm>
            <a:off x="7271025" y="3448426"/>
            <a:ext cx="72616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>
              <a:spcAft>
                <a:spcPts val="600"/>
              </a:spcAft>
              <a:buClr>
                <a:schemeClr val="accent1"/>
              </a:buClr>
            </a:pPr>
            <a:r>
              <a:rPr lang="en-US" sz="900">
                <a:hlinkClick r:id="rId5"/>
              </a:rPr>
              <a:t>bekaert.com</a:t>
            </a:r>
            <a:endParaRPr lang="en-US" sz="90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361B122-1FD3-E9BB-9EBF-F875FBB484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42786" y="3644315"/>
            <a:ext cx="854400" cy="156966"/>
          </a:xfrm>
          <a:noFill/>
        </p:spPr>
        <p:txBody>
          <a:bodyPr wrap="none" lIns="0" tIns="0" rIns="0" bIns="0" rtlCol="0">
            <a:spAutoFit/>
          </a:bodyPr>
          <a:lstStyle>
            <a:lvl1pPr marL="0" indent="0" algn="r" rtl="0">
              <a:buNone/>
              <a:defRPr lang="en-US" sz="900" smtClean="0"/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cs typeface="+mn-cs"/>
              </a:defRPr>
            </a:lvl4pPr>
            <a:lvl5pPr>
              <a:defRPr lang="nl-BE" sz="1800">
                <a:cs typeface="+mn-cs"/>
              </a:defRPr>
            </a:lvl5pPr>
          </a:lstStyle>
          <a:p>
            <a:pPr marL="0" lvl="0">
              <a:spcAft>
                <a:spcPts val="600"/>
              </a:spcAft>
              <a:buClr>
                <a:schemeClr val="accent1"/>
              </a:buClr>
            </a:pPr>
            <a:r>
              <a:rPr lang="en-US"/>
              <a:t>Phone number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10B8DE4D-4541-463D-6554-5889CA51F0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433" y="3858671"/>
            <a:ext cx="828753" cy="156966"/>
          </a:xfrm>
          <a:noFill/>
        </p:spPr>
        <p:txBody>
          <a:bodyPr wrap="none" lIns="0" tIns="0" rIns="0" bIns="0" rtlCol="0">
            <a:spAutoFit/>
          </a:bodyPr>
          <a:lstStyle>
            <a:lvl1pPr marL="0" indent="0" algn="r" rtl="0">
              <a:buNone/>
              <a:defRPr lang="en-US" sz="900" smtClean="0"/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cs typeface="+mn-cs"/>
              </a:defRPr>
            </a:lvl4pPr>
            <a:lvl5pPr>
              <a:defRPr lang="nl-BE" sz="1800">
                <a:cs typeface="+mn-cs"/>
              </a:defRPr>
            </a:lvl5pPr>
          </a:lstStyle>
          <a:p>
            <a:pPr marL="0" lvl="0">
              <a:spcAft>
                <a:spcPts val="600"/>
              </a:spcAft>
              <a:buClr>
                <a:schemeClr val="accent1"/>
              </a:buClr>
            </a:pPr>
            <a:r>
              <a:rPr lang="en-US"/>
              <a:t>Email address</a:t>
            </a:r>
          </a:p>
        </p:txBody>
      </p:sp>
    </p:spTree>
    <p:extLst>
      <p:ext uri="{BB962C8B-B14F-4D97-AF65-F5344CB8AC3E}">
        <p14:creationId xmlns:p14="http://schemas.microsoft.com/office/powerpoint/2010/main" val="19853912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4D93F2A-D115-29C3-660F-908974DDE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400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4D93F2A-D115-29C3-660F-908974DDE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phic 6">
            <a:extLst>
              <a:ext uri="{FF2B5EF4-FFF2-40B4-BE49-F238E27FC236}">
                <a16:creationId xmlns:a16="http://schemas.microsoft.com/office/drawing/2014/main" id="{AFE34A33-9EBA-C1FE-3993-44C9D8E6BE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3029803" y="2109591"/>
            <a:ext cx="3084394" cy="71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953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 bwMode="lt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7979C1-87F4-EC23-6D64-D5ABCE865C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71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7979C1-87F4-EC23-6D64-D5ABCE865C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6" y="2921863"/>
            <a:ext cx="6478041" cy="345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here to edit the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4425662"/>
            <a:ext cx="4552722" cy="193707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 algn="l" rtl="0">
              <a:buNone/>
              <a:defRPr sz="1100" b="0" baseline="0"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 of the presentation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50825" y="2324790"/>
            <a:ext cx="6478042" cy="493920"/>
          </a:xfrm>
          <a:prstGeom prst="rect">
            <a:avLst/>
          </a:prstGeom>
        </p:spPr>
        <p:txBody>
          <a:bodyPr vert="horz" wrap="square" anchor="b" anchorCtr="0">
            <a:noAutofit/>
          </a:bodyPr>
          <a:lstStyle>
            <a:lvl1pPr algn="l" rtl="0">
              <a:lnSpc>
                <a:spcPts val="4000"/>
              </a:lnSpc>
              <a:defRPr sz="4000" b="0" i="0" spc="-11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4716423"/>
            <a:ext cx="1821904" cy="176138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 rtl="0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5FB7633-57B0-AA09-9956-906C845678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604375" y="4639841"/>
            <a:ext cx="1288800" cy="301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526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3464747-2D62-05FE-187D-E5C9EF8FA5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8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3464747-2D62-05FE-187D-E5C9EF8FA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82601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29D6AE93-DB80-D875-FBA9-5DDF7AFA1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503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29D6AE93-DB80-D875-FBA9-5DDF7AFA1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D0AFEE-B299-EEE7-328F-9D91D8380B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26123" y="4672881"/>
            <a:ext cx="468130" cy="2023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8BBF93-D887-927B-C8D7-BBC082E8A7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7848" y="1077936"/>
            <a:ext cx="3600000" cy="18466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BE"/>
              <a:t>[Item 1]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132E008B-4BF4-CC04-1349-129AC70E4B3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7848" y="1874525"/>
            <a:ext cx="3600000" cy="18466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BE"/>
              <a:t>[Item 1]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813D96D3-F072-B760-070A-98E4CC3F51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7848" y="2671114"/>
            <a:ext cx="3600000" cy="18466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BE"/>
              <a:t>[Item 1]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A34B39A3-2047-5F71-A5D1-7FE5DF09EE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wrap="none"/>
          <a:lstStyle>
            <a:lvl1pPr>
              <a:defRPr/>
            </a:lvl1pPr>
          </a:lstStyle>
          <a:p>
            <a:r>
              <a:rPr lang="en-US"/>
              <a:t>[Agenda]</a:t>
            </a:r>
            <a:endParaRPr lang="nl-BE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A7934EB-70C8-162B-07C1-79B6D9B0250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67848" y="3467704"/>
            <a:ext cx="3600000" cy="18466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BE"/>
              <a:t>[Item 1]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30A05F1A-98C5-C524-8E87-63A09581D9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722130" y="1077936"/>
            <a:ext cx="3600000" cy="18466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BE"/>
              <a:t>[Item 1]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CDAEF535-524D-8E84-00CD-BE4C7CE6F72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722130" y="1874525"/>
            <a:ext cx="3600000" cy="18466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BE"/>
              <a:t>[Item 1]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8340598-2CC3-9A90-75F5-DE4B44AF609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722130" y="2671114"/>
            <a:ext cx="3600000" cy="18466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BE"/>
              <a:t>[Item 1]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077C10B2-AA6E-1788-D297-E19B4B56C18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722130" y="3467704"/>
            <a:ext cx="3600000" cy="18466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BE"/>
              <a:t>[Item 1]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2E814F1E-DF82-AA8E-95E0-75F64E541D2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22130" y="1371646"/>
            <a:ext cx="3600000" cy="23653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err="1"/>
              <a:t>Subitems</a:t>
            </a:r>
            <a:r>
              <a:rPr lang="nl-BE"/>
              <a:t> or presenter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852575C9-AC24-3E4E-5B21-071308F7E97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64473" y="2168375"/>
            <a:ext cx="3600000" cy="23653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err="1"/>
              <a:t>Subitems</a:t>
            </a:r>
            <a:r>
              <a:rPr lang="nl-BE"/>
              <a:t> or presenter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496125DB-3124-15F0-B447-AF4D70EE83F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718755" y="2168375"/>
            <a:ext cx="3600000" cy="23653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err="1"/>
              <a:t>Subitems</a:t>
            </a:r>
            <a:r>
              <a:rPr lang="nl-BE"/>
              <a:t> or presenter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1818CA2D-082E-7AD4-9B46-8E3F5492B77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67848" y="2967868"/>
            <a:ext cx="3600000" cy="23653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err="1"/>
              <a:t>Subitems</a:t>
            </a:r>
            <a:r>
              <a:rPr lang="nl-BE"/>
              <a:t> or presenter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CEA4BF70-A19F-CDCD-4870-FF0B07A6F34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722130" y="2967868"/>
            <a:ext cx="3600000" cy="23653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err="1"/>
              <a:t>Subitems</a:t>
            </a:r>
            <a:r>
              <a:rPr lang="nl-BE"/>
              <a:t> or presenter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137CC8DD-B7AD-A461-8354-010FBB9DEF4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67848" y="3761554"/>
            <a:ext cx="3600000" cy="23653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err="1"/>
              <a:t>Subitems</a:t>
            </a:r>
            <a:r>
              <a:rPr lang="nl-BE"/>
              <a:t> or presenter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1F9498B0-823E-D492-719B-C07A909711B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722130" y="3761554"/>
            <a:ext cx="3600000" cy="23653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err="1"/>
              <a:t>Subitems</a:t>
            </a:r>
            <a:r>
              <a:rPr lang="nl-BE"/>
              <a:t> or presenter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A809151A-A372-A268-260F-1805FF4EF2C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67848" y="1371646"/>
            <a:ext cx="3600000" cy="23653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err="1"/>
              <a:t>Subitems</a:t>
            </a:r>
            <a:r>
              <a:rPr lang="nl-BE"/>
              <a:t> or presenter</a:t>
            </a:r>
          </a:p>
        </p:txBody>
      </p:sp>
      <p:sp>
        <p:nvSpPr>
          <p:cNvPr id="2" name="Fußzeilenplatzhalter 2">
            <a:extLst>
              <a:ext uri="{FF2B5EF4-FFF2-40B4-BE49-F238E27FC236}">
                <a16:creationId xmlns:a16="http://schemas.microsoft.com/office/drawing/2014/main" id="{EB3DD197-9290-F631-1521-D11B921079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8953" y="4669639"/>
            <a:ext cx="5760000" cy="20557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 sz="800" b="0" i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DE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79E611E-3B77-4404-E304-7DE9136CCD6B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black">
          <a:xfrm>
            <a:off x="6333524" y="4672881"/>
            <a:ext cx="2057400" cy="2023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BE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08B79F9-2773-47D7-1E9E-F618B7B2F67C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50825" y="518400"/>
            <a:ext cx="6698615" cy="2397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BE"/>
              <a:t>[</a:t>
            </a:r>
            <a:r>
              <a:rPr lang="nl-BE" err="1"/>
              <a:t>Subtitle</a:t>
            </a:r>
            <a:r>
              <a:rPr lang="nl-BE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147190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| Level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02F9B1-45C3-6A1F-4B59-8491039AC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838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02F9B1-45C3-6A1F-4B59-8491039AC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18">
            <a:extLst>
              <a:ext uri="{FF2B5EF4-FFF2-40B4-BE49-F238E27FC236}">
                <a16:creationId xmlns:a16="http://schemas.microsoft.com/office/drawing/2014/main" id="{4798E501-CF1D-2E4D-A1BF-2FEF378D3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3321546"/>
            <a:ext cx="8634220" cy="997196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lnSpc>
                <a:spcPct val="90000"/>
              </a:lnSpc>
              <a:defRPr sz="7200" b="0" i="0" spc="-11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DBAB9FBC-D1CE-A668-FBDD-49B5DCFAE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8953" y="4669639"/>
            <a:ext cx="5760000" cy="20557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 sz="800" b="0" i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DE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DC5F580-5EDB-4922-989D-0BE2105BAA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5044" y="4672881"/>
            <a:ext cx="468130" cy="202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A83D4BA-1441-880E-48CA-6A49A6D59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8763" y="268288"/>
            <a:ext cx="8634412" cy="3587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Optional: presenter name or topic]</a:t>
            </a:r>
            <a:endParaRPr lang="nl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C9D54-A949-9AE8-D120-C1116D07E0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987425"/>
            <a:ext cx="4151313" cy="71120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[</a:t>
            </a:r>
            <a:r>
              <a:rPr lang="nl-BE" err="1"/>
              <a:t>Optional</a:t>
            </a:r>
            <a:r>
              <a:rPr lang="nl-BE"/>
              <a:t>: more information </a:t>
            </a:r>
            <a:r>
              <a:rPr lang="nl-BE" err="1"/>
              <a:t>about</a:t>
            </a:r>
            <a:r>
              <a:rPr lang="nl-BE"/>
              <a:t> </a:t>
            </a:r>
            <a:r>
              <a:rPr lang="nl-BE" err="1"/>
              <a:t>this</a:t>
            </a:r>
            <a:r>
              <a:rPr lang="nl-BE"/>
              <a:t> </a:t>
            </a:r>
            <a:r>
              <a:rPr lang="nl-BE" err="1"/>
              <a:t>chapter</a:t>
            </a:r>
            <a:r>
              <a:rPr lang="nl-BE"/>
              <a:t>]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1892EBFD-F167-3177-2311-73469A113B26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black">
          <a:xfrm>
            <a:off x="6333524" y="4672881"/>
            <a:ext cx="2057400" cy="2023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381344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| Leve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02F9B1-45C3-6A1F-4B59-8491039AC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370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02F9B1-45C3-6A1F-4B59-8491039AC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18">
            <a:extLst>
              <a:ext uri="{FF2B5EF4-FFF2-40B4-BE49-F238E27FC236}">
                <a16:creationId xmlns:a16="http://schemas.microsoft.com/office/drawing/2014/main" id="{4798E501-CF1D-2E4D-A1BF-2FEF378D3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3764744"/>
            <a:ext cx="5759999" cy="553998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lnSpc>
                <a:spcPct val="90000"/>
              </a:lnSpc>
              <a:defRPr sz="4000" b="0" i="0" spc="-110" baseline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DBAB9FBC-D1CE-A668-FBDD-49B5DCFAE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8953" y="4669639"/>
            <a:ext cx="5760000" cy="20557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 sz="800" b="0" i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DE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DC5F580-5EDB-4922-989D-0BE2105BAA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5044" y="4672881"/>
            <a:ext cx="468130" cy="202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A83D4BA-1441-880E-48CA-6A49A6D59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8763" y="268288"/>
            <a:ext cx="8634412" cy="3587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  <a:endParaRPr lang="nl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C9D54-A949-9AE8-D120-C1116D07E0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987425"/>
            <a:ext cx="4151313" cy="71120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[</a:t>
            </a:r>
            <a:r>
              <a:rPr lang="nl-BE" err="1"/>
              <a:t>Optional</a:t>
            </a:r>
            <a:r>
              <a:rPr lang="nl-BE"/>
              <a:t>: more information </a:t>
            </a:r>
            <a:r>
              <a:rPr lang="nl-BE" err="1"/>
              <a:t>about</a:t>
            </a:r>
            <a:r>
              <a:rPr lang="nl-BE"/>
              <a:t> </a:t>
            </a:r>
            <a:r>
              <a:rPr lang="nl-BE" err="1"/>
              <a:t>this</a:t>
            </a:r>
            <a:r>
              <a:rPr lang="nl-BE"/>
              <a:t> </a:t>
            </a:r>
            <a:r>
              <a:rPr lang="nl-BE" err="1"/>
              <a:t>chapter</a:t>
            </a:r>
            <a:r>
              <a:rPr lang="nl-BE"/>
              <a:t>]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1892EBFD-F167-3177-2311-73469A113B26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black">
          <a:xfrm>
            <a:off x="6333524" y="4672881"/>
            <a:ext cx="2057400" cy="2023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39222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C8C860-C66F-606D-34AF-5DB830BB06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3033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C8C860-C66F-606D-34AF-5DB830BB0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45E6E7F4-0882-BD46-167D-CB49972C398B}"/>
              </a:ext>
            </a:extLst>
          </p:cNvPr>
          <p:cNvSpPr txBox="1"/>
          <p:nvPr userDrawn="1"/>
        </p:nvSpPr>
        <p:spPr>
          <a:xfrm>
            <a:off x="683288" y="411982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endParaRPr lang="en-US" sz="1400" err="1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F397AA07-D572-645E-D231-318AF7385E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8953" y="4669639"/>
            <a:ext cx="5760000" cy="20557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 sz="8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DE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F6D8481-800B-4E45-8479-565B94672B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5044" y="4672881"/>
            <a:ext cx="468130" cy="202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1463994-5D41-7335-4F98-CC10148B8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33D171D-A172-D917-1D5A-6A30A78AEB5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58763" y="987425"/>
            <a:ext cx="8634412" cy="36718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3" name="Date Placeholder 4">
            <a:extLst>
              <a:ext uri="{FF2B5EF4-FFF2-40B4-BE49-F238E27FC236}">
                <a16:creationId xmlns:a16="http://schemas.microsoft.com/office/drawing/2014/main" id="{54993EBD-AB09-1EEF-CC7A-C9A36174A1FD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black">
          <a:xfrm>
            <a:off x="6333524" y="4672881"/>
            <a:ext cx="2057400" cy="202331"/>
          </a:xfrm>
        </p:spPr>
        <p:txBody>
          <a:bodyPr/>
          <a:lstStyle/>
          <a:p>
            <a:endParaRPr lang="nl-B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E543826-3C2A-7C3D-C45E-956D9F9C9D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518400"/>
            <a:ext cx="6698615" cy="2397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nl-BE"/>
              <a:t>[</a:t>
            </a:r>
            <a:r>
              <a:rPr lang="nl-BE" err="1"/>
              <a:t>Subtitle</a:t>
            </a:r>
            <a:r>
              <a:rPr lang="nl-BE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047282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| two 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8EEEA4-68D3-12EF-D3F8-5FC70D0360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017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F8EEEA4-68D3-12EF-D3F8-5FC70D0360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46921B04-CC6F-29C1-B885-0375AC7EC45B}"/>
              </a:ext>
            </a:extLst>
          </p:cNvPr>
          <p:cNvSpPr/>
          <p:nvPr userDrawn="1"/>
        </p:nvSpPr>
        <p:spPr bwMode="ltGray">
          <a:xfrm>
            <a:off x="-1" y="0"/>
            <a:ext cx="3060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4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2F96B6-7977-050D-E44F-22D912942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282072"/>
            <a:ext cx="2542090" cy="344991"/>
          </a:xfrm>
        </p:spPr>
        <p:txBody>
          <a:bodyPr vert="horz" wrap="square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6674CB-30FB-672E-6474-D0C0D4F18A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FEC569-86B5-C9DA-C589-F38D40BBC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A940B5-E797-44D6-A773-FE469687A36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FE97E09-1276-5725-9F66-E090810E52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987425"/>
            <a:ext cx="2549525" cy="36718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6F1E99B-3BF4-5670-6F75-57CBD066B32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82950" y="987425"/>
            <a:ext cx="5610225" cy="36718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1484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00BC233-7327-40DA-A001-7CB47D27E4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27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00BC233-7327-40DA-A001-7CB47D27E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17EC12-2999-D7B8-2F22-5261A4620BC9}"/>
              </a:ext>
            </a:extLst>
          </p:cNvPr>
          <p:cNvSpPr>
            <a:spLocks noGrp="1"/>
          </p:cNvSpPr>
          <p:nvPr>
            <p:ph sz="quarter" idx="27"/>
          </p:nvPr>
        </p:nvSpPr>
        <p:spPr bwMode="ltGray">
          <a:xfrm>
            <a:off x="250825" y="987425"/>
            <a:ext cx="2779713" cy="3683000"/>
          </a:xfrm>
          <a:solidFill>
            <a:schemeClr val="tx2"/>
          </a:solidFill>
        </p:spPr>
        <p:txBody>
          <a:bodyPr lIns="72000" tIns="72000" rIns="72000" b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CF94D30-E574-9178-1D36-0BB1D18E8FB2}"/>
              </a:ext>
            </a:extLst>
          </p:cNvPr>
          <p:cNvSpPr>
            <a:spLocks noGrp="1"/>
          </p:cNvSpPr>
          <p:nvPr>
            <p:ph sz="quarter" idx="28"/>
          </p:nvPr>
        </p:nvSpPr>
        <p:spPr bwMode="ltGray">
          <a:xfrm>
            <a:off x="3182408" y="989881"/>
            <a:ext cx="2779713" cy="3683000"/>
          </a:xfrm>
          <a:solidFill>
            <a:schemeClr val="tx2"/>
          </a:solidFill>
        </p:spPr>
        <p:txBody>
          <a:bodyPr lIns="72000" tIns="72000" rIns="72000" b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8C561CB-A528-4BBB-FE90-869BAE4C87AF}"/>
              </a:ext>
            </a:extLst>
          </p:cNvPr>
          <p:cNvSpPr>
            <a:spLocks noGrp="1"/>
          </p:cNvSpPr>
          <p:nvPr>
            <p:ph sz="quarter" idx="29"/>
          </p:nvPr>
        </p:nvSpPr>
        <p:spPr bwMode="ltGray">
          <a:xfrm>
            <a:off x="6113462" y="989881"/>
            <a:ext cx="2779713" cy="3683000"/>
          </a:xfrm>
          <a:solidFill>
            <a:schemeClr val="tx2"/>
          </a:solidFill>
        </p:spPr>
        <p:txBody>
          <a:bodyPr lIns="72000" tIns="72000" rIns="72000" b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7" name="Fußzeilenplatzhalter 2">
            <a:extLst>
              <a:ext uri="{FF2B5EF4-FFF2-40B4-BE49-F238E27FC236}">
                <a16:creationId xmlns:a16="http://schemas.microsoft.com/office/drawing/2014/main" id="{877D7D67-BFFB-62A6-640D-4F6EF88C9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8953" y="4669639"/>
            <a:ext cx="5760000" cy="20557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 sz="8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DE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A1361890-BCE9-4670-BA98-762E04E2EC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5044" y="4672881"/>
            <a:ext cx="468130" cy="202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D9B346-830F-670F-266E-B4ED5987CB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282072"/>
            <a:ext cx="5703167" cy="208511"/>
          </a:xfrm>
        </p:spPr>
        <p:txBody>
          <a:bodyPr vert="horz" wrap="square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FDAC83-6151-51C4-1E61-A24590E43E2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49540" y="278131"/>
            <a:ext cx="2736000" cy="574675"/>
          </a:xfrm>
        </p:spPr>
        <p:txBody>
          <a:bodyPr wrap="square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/>
              <a:t>Click to edi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2C4051-CEAA-A4B8-19BF-93D8D1877A22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black">
          <a:xfrm>
            <a:off x="6333524" y="4672881"/>
            <a:ext cx="2057400" cy="202331"/>
          </a:xfrm>
        </p:spPr>
        <p:txBody>
          <a:bodyPr/>
          <a:lstStyle/>
          <a:p>
            <a:endParaRPr lang="nl-BE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BC7FB99-96BD-0278-EC27-7D663ABACA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26" y="518400"/>
            <a:ext cx="5711296" cy="2397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nl-BE"/>
              <a:t>[</a:t>
            </a:r>
            <a:r>
              <a:rPr lang="nl-BE" err="1"/>
              <a:t>Subtitle</a:t>
            </a:r>
            <a:r>
              <a:rPr lang="nl-BE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4715305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| 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E3E6F75-3A87-4903-B598-D451C0327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7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E3E6F75-3A87-4903-B598-D451C0327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10">
            <a:extLst>
              <a:ext uri="{FF2B5EF4-FFF2-40B4-BE49-F238E27FC236}">
                <a16:creationId xmlns:a16="http://schemas.microsoft.com/office/drawing/2014/main" id="{60CB8183-26A9-7D08-4553-B1A57210B2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0825" y="1012197"/>
            <a:ext cx="2877706" cy="1659883"/>
          </a:xfrm>
          <a:prstGeom prst="rect">
            <a:avLst/>
          </a:prstGeom>
          <a:solidFill>
            <a:srgbClr val="D7D2CB"/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499DE"/>
              </a:buClr>
              <a:buSzTx/>
              <a:buFont typeface="Wingdings" panose="05000000000000000000" pitchFamily="2" charset="2"/>
              <a:buNone/>
              <a:tabLst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hoose a color or picture</a:t>
            </a:r>
            <a:endParaRPr lang="nl-BE"/>
          </a:p>
        </p:txBody>
      </p:sp>
      <p:sp>
        <p:nvSpPr>
          <p:cNvPr id="32" name="Picture Placeholder 10">
            <a:extLst>
              <a:ext uri="{FF2B5EF4-FFF2-40B4-BE49-F238E27FC236}">
                <a16:creationId xmlns:a16="http://schemas.microsoft.com/office/drawing/2014/main" id="{CEF0E478-B3A9-E9D2-FC5A-0B57FEBAC81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142083" y="1012197"/>
            <a:ext cx="2864152" cy="1659883"/>
          </a:xfrm>
          <a:prstGeom prst="rect">
            <a:avLst/>
          </a:prstGeom>
          <a:solidFill>
            <a:srgbClr val="D7D2CB"/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499DE"/>
              </a:buClr>
              <a:buSzTx/>
              <a:buFont typeface="Wingdings" panose="05000000000000000000" pitchFamily="2" charset="2"/>
              <a:buNone/>
              <a:tabLst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hoose a color or picture</a:t>
            </a:r>
            <a:endParaRPr lang="nl-BE"/>
          </a:p>
        </p:txBody>
      </p:sp>
      <p:sp>
        <p:nvSpPr>
          <p:cNvPr id="33" name="Picture Placeholder 10">
            <a:extLst>
              <a:ext uri="{FF2B5EF4-FFF2-40B4-BE49-F238E27FC236}">
                <a16:creationId xmlns:a16="http://schemas.microsoft.com/office/drawing/2014/main" id="{D266051B-1788-6DC9-DBC1-079C9FD769F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15471" y="1012197"/>
            <a:ext cx="2877704" cy="1659883"/>
          </a:xfrm>
          <a:prstGeom prst="rect">
            <a:avLst/>
          </a:prstGeom>
          <a:solidFill>
            <a:srgbClr val="D7D2CB"/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499DE"/>
              </a:buClr>
              <a:buSzTx/>
              <a:buFont typeface="Wingdings" panose="05000000000000000000" pitchFamily="2" charset="2"/>
              <a:buNone/>
              <a:tabLst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hoose a color or picture</a:t>
            </a:r>
            <a:endParaRPr lang="nl-B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9EF29F-9481-F58F-445E-64302BC5796D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C88D81D-4A50-DE8F-81D5-23FD144744A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E8B57AA4-CC86-403A-9F2D-99B44CA83CE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7A0BB0-4423-8882-9979-41E743B9FA32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264379" y="2685331"/>
            <a:ext cx="2864152" cy="1973982"/>
          </a:xfrm>
        </p:spPr>
        <p:txBody>
          <a:bodyPr lIns="72000" tIns="72000" rIns="72000" b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4A17779-7404-75B6-FD77-2ED3703A3EFE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3131290" y="2685331"/>
            <a:ext cx="2878138" cy="1973982"/>
          </a:xfrm>
        </p:spPr>
        <p:txBody>
          <a:bodyPr lIns="72000" tIns="72000" rIns="72000" b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F5C2DF6-7C6C-F41D-1603-393B637B403C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18953" y="2685331"/>
            <a:ext cx="2865419" cy="1973982"/>
          </a:xfrm>
        </p:spPr>
        <p:txBody>
          <a:bodyPr lIns="72000" tIns="72000" rIns="72000" b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26938-93DD-6EA2-5E4A-2033A2E62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282072"/>
            <a:ext cx="5589112" cy="208511"/>
          </a:xfrm>
        </p:spPr>
        <p:txBody>
          <a:bodyPr vert="horz" wrap="square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1D65CBFC-88BB-54A1-6F5B-100B4CB7B1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49540" y="278131"/>
            <a:ext cx="2736000" cy="574675"/>
          </a:xfrm>
        </p:spPr>
        <p:txBody>
          <a:bodyPr wrap="square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/>
              <a:t>Click to edit content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6B7B0895-974C-C683-C077-D8483237580C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black">
          <a:xfrm>
            <a:off x="6333524" y="4672881"/>
            <a:ext cx="2057400" cy="202331"/>
          </a:xfrm>
        </p:spPr>
        <p:txBody>
          <a:bodyPr/>
          <a:lstStyle/>
          <a:p>
            <a:endParaRPr lang="nl-BE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FFDD3D9-EE6D-BC4D-09D0-D0AFB54AAEF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50826" y="518400"/>
            <a:ext cx="5597240" cy="2397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nl-BE"/>
              <a:t>[</a:t>
            </a:r>
            <a:r>
              <a:rPr lang="nl-BE" err="1"/>
              <a:t>Subtitle</a:t>
            </a:r>
            <a:r>
              <a:rPr lang="nl-BE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4110775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651EA5-DA5F-4D53-AA49-D00D96557B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7593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651EA5-DA5F-4D53-AA49-D00D96557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251519" y="987425"/>
            <a:ext cx="8641655" cy="36718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Level 1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B3B2796-402D-93C3-7A0A-6A0B4C04E4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8954" y="4669639"/>
            <a:ext cx="5760000" cy="20557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lang="en-US" sz="8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nl-BE"/>
          </a:p>
        </p:txBody>
      </p:sp>
      <p:sp>
        <p:nvSpPr>
          <p:cNvPr id="18" name="Titelplatzhalter 17">
            <a:extLst>
              <a:ext uri="{FF2B5EF4-FFF2-40B4-BE49-F238E27FC236}">
                <a16:creationId xmlns:a16="http://schemas.microsoft.com/office/drawing/2014/main" id="{D0B96C90-4EDF-D36F-E73B-E0377F138F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282073"/>
            <a:ext cx="6690486" cy="195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B3D96B-B114-4206-BD47-1FD65CACE8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5044" y="4672881"/>
            <a:ext cx="468130" cy="202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 rtl="0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8B57AA4-CC86-403A-9F2D-99B44CA83C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986F58-1501-6D04-430A-A8E96D01D6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3524" y="4672881"/>
            <a:ext cx="2057400" cy="20233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c" descr="Classification:  Public Information">
            <a:extLst>
              <a:ext uri="{FF2B5EF4-FFF2-40B4-BE49-F238E27FC236}">
                <a16:creationId xmlns:a16="http://schemas.microsoft.com/office/drawing/2014/main" id="{BE86F186-833A-30B3-9686-61E2E320A2A5}"/>
              </a:ext>
            </a:extLst>
          </p:cNvPr>
          <p:cNvSpPr txBox="1"/>
          <p:nvPr userDrawn="1"/>
        </p:nvSpPr>
        <p:spPr>
          <a:xfrm>
            <a:off x="0" y="4802632"/>
            <a:ext cx="9144000" cy="24416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nl-BE" sz="700" b="0" i="0" u="none" baseline="0">
                <a:solidFill>
                  <a:srgbClr val="000000"/>
                </a:solidFill>
                <a:latin typeface="bekaert text" panose="020B0503030203020203" pitchFamily="34" charset="0"/>
              </a:rPr>
              <a:t>Classification: </a:t>
            </a:r>
            <a:r>
              <a:rPr lang="nl-BE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</a:t>
            </a:r>
            <a:r>
              <a:rPr lang="nl-BE" sz="700" b="0" i="0" u="none" baseline="0">
                <a:solidFill>
                  <a:srgbClr val="008000"/>
                </a:solidFill>
                <a:latin typeface="bekaert text" panose="020B0503030203020203" pitchFamily="34" charset="0"/>
              </a:rPr>
              <a:t>Public Information</a:t>
            </a:r>
            <a:endParaRPr lang="en-BE" sz="700" b="0" i="0" u="none" baseline="0" err="1">
              <a:solidFill>
                <a:srgbClr val="008000"/>
              </a:solidFill>
              <a:latin typeface="bekaert text" panose="020B0503030203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049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880" r:id="rId2"/>
    <p:sldLayoutId id="2147483857" r:id="rId3"/>
    <p:sldLayoutId id="2147483883" r:id="rId4"/>
    <p:sldLayoutId id="2147483844" r:id="rId5"/>
    <p:sldLayoutId id="2147483853" r:id="rId6"/>
    <p:sldLayoutId id="2147483881" r:id="rId7"/>
    <p:sldLayoutId id="2147483828" r:id="rId8"/>
    <p:sldLayoutId id="2147483850" r:id="rId9"/>
    <p:sldLayoutId id="2147483849" r:id="rId10"/>
    <p:sldLayoutId id="2147483872" r:id="rId11"/>
    <p:sldLayoutId id="2147483650" r:id="rId12"/>
    <p:sldLayoutId id="2147483861" r:id="rId13"/>
    <p:sldLayoutId id="2147483859" r:id="rId14"/>
    <p:sldLayoutId id="2147483858" r:id="rId15"/>
    <p:sldLayoutId id="2147483878" r:id="rId16"/>
    <p:sldLayoutId id="2147483882" r:id="rId17"/>
    <p:sldLayoutId id="2147483876" r:id="rId18"/>
    <p:sldLayoutId id="2147483873" r:id="rId19"/>
    <p:sldLayoutId id="2147483855" r:id="rId2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nl-BE" sz="1400" b="0" i="0" kern="1200" spc="-30" baseline="0" dirty="0">
          <a:solidFill>
            <a:schemeClr val="accent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182563" marR="0" indent="-182563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800"/>
        </a:spcAft>
        <a:buClr>
          <a:schemeClr val="accent2"/>
        </a:buClr>
        <a:buSzTx/>
        <a:buFont typeface="Symbol" panose="05050102010706020507" pitchFamily="18" charset="2"/>
        <a:buChar char="-"/>
        <a:tabLst/>
        <a:defRPr lang="en-US" sz="1200" b="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marR="0" indent="-1800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600"/>
        </a:spcAft>
        <a:buClr>
          <a:schemeClr val="accent2"/>
        </a:buClr>
        <a:buSzTx/>
        <a:buFont typeface="Symbol" panose="05050102010706020507" pitchFamily="18" charset="2"/>
        <a:buChar char="-"/>
        <a:tabLst/>
        <a:defRPr lang="en-US" sz="1200" b="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marR="0" indent="-1800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600"/>
        </a:spcAft>
        <a:buClr>
          <a:schemeClr val="accent2"/>
        </a:buClr>
        <a:buSzTx/>
        <a:buFont typeface="Symbol" panose="05050102010706020507" pitchFamily="18" charset="2"/>
        <a:buChar char="-"/>
        <a:tabLst/>
        <a:defRPr lang="en-US" sz="1100" b="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1440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500"/>
        </a:spcAft>
        <a:buClr>
          <a:schemeClr val="accent2"/>
        </a:buClr>
        <a:buSzTx/>
        <a:buFont typeface="Symbol" panose="05050102010706020507" pitchFamily="18" charset="2"/>
        <a:buChar char="-"/>
        <a:tabLst/>
        <a:defRPr sz="10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00000" marR="0" indent="-1440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500"/>
        </a:spcAft>
        <a:buClr>
          <a:schemeClr val="accent2"/>
        </a:buClr>
        <a:buSzTx/>
        <a:buFont typeface="Symbol" pitchFamily="2" charset="2"/>
        <a:buChar char="-"/>
        <a:tabLst/>
        <a:defRPr sz="9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0000" marR="0" indent="-1440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400"/>
        </a:spcAft>
        <a:buClr>
          <a:schemeClr val="accent2"/>
        </a:buClr>
        <a:buSzTx/>
        <a:buFont typeface="Symbol" panose="05050102010706020507" pitchFamily="18" charset="2"/>
        <a:buChar char="-"/>
        <a:tabLst/>
        <a:defRPr sz="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255713" indent="-1397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Symbol" panose="05050102010706020507" pitchFamily="18" charset="2"/>
        <a:buChar char="-"/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3513" indent="-1397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Symbol" panose="05050102010706020507" pitchFamily="18" charset="2"/>
        <a:buChar char="-"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7663" indent="-1397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Symbol" panose="05050102010706020507" pitchFamily="18" charset="2"/>
        <a:buChar char="-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9" userDrawn="1">
          <p15:clr>
            <a:srgbClr val="A4A3A4"/>
          </p15:clr>
        </p15:guide>
        <p15:guide id="2" pos="158" userDrawn="1">
          <p15:clr>
            <a:srgbClr val="A4A3A4"/>
          </p15:clr>
        </p15:guide>
        <p15:guide id="4" pos="5602" userDrawn="1">
          <p15:clr>
            <a:srgbClr val="A4A3A4"/>
          </p15:clr>
        </p15:guide>
        <p15:guide id="5" orient="horz" pos="2935" userDrawn="1">
          <p15:clr>
            <a:srgbClr val="A4A3A4"/>
          </p15:clr>
        </p15:guide>
        <p15:guide id="11" orient="horz" pos="395" userDrawn="1">
          <p15:clr>
            <a:srgbClr val="A4A3A4"/>
          </p15:clr>
        </p15:guide>
        <p15:guide id="12" orient="horz" pos="622" userDrawn="1">
          <p15:clr>
            <a:srgbClr val="A4A3A4"/>
          </p15:clr>
        </p15:guide>
        <p15:guide id="13" orient="horz" pos="3072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" Target="slide11.xml"/><Relationship Id="rId7" Type="http://schemas.openxmlformats.org/officeDocument/2006/relationships/slide" Target="slide15.xml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4.png"/><Relationship Id="rId11" Type="http://schemas.openxmlformats.org/officeDocument/2006/relationships/slide" Target="slide12.xml"/><Relationship Id="rId5" Type="http://schemas.openxmlformats.org/officeDocument/2006/relationships/slide" Target="slide13.xml"/><Relationship Id="rId10" Type="http://schemas.openxmlformats.org/officeDocument/2006/relationships/image" Target="../media/image36.jpeg"/><Relationship Id="rId4" Type="http://schemas.openxmlformats.org/officeDocument/2006/relationships/image" Target="../media/image33.jpeg"/><Relationship Id="rId9" Type="http://schemas.openxmlformats.org/officeDocument/2006/relationships/slide" Target="slide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slide" Target="slide13.xml"/><Relationship Id="rId7" Type="http://schemas.openxmlformats.org/officeDocument/2006/relationships/image" Target="../media/image40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9.png"/><Relationship Id="rId5" Type="http://schemas.openxmlformats.org/officeDocument/2006/relationships/slide" Target="slide11.xml"/><Relationship Id="rId10" Type="http://schemas.openxmlformats.org/officeDocument/2006/relationships/slide" Target="slide15.xml"/><Relationship Id="rId4" Type="http://schemas.openxmlformats.org/officeDocument/2006/relationships/image" Target="../media/image38.jpeg"/><Relationship Id="rId9" Type="http://schemas.openxmlformats.org/officeDocument/2006/relationships/slide" Target="slide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" Target="slide15.xml"/><Relationship Id="rId3" Type="http://schemas.openxmlformats.org/officeDocument/2006/relationships/image" Target="../media/image41.jpeg"/><Relationship Id="rId7" Type="http://schemas.openxmlformats.org/officeDocument/2006/relationships/slide" Target="slide1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6" Type="http://schemas.openxmlformats.org/officeDocument/2006/relationships/slide" Target="slide13.xml"/><Relationship Id="rId5" Type="http://schemas.openxmlformats.org/officeDocument/2006/relationships/slide" Target="slide12.xml"/><Relationship Id="rId10" Type="http://schemas.openxmlformats.org/officeDocument/2006/relationships/image" Target="../media/image43.svg"/><Relationship Id="rId4" Type="http://schemas.openxmlformats.org/officeDocument/2006/relationships/slide" Target="slide11.xml"/><Relationship Id="rId9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15.xml"/><Relationship Id="rId3" Type="http://schemas.openxmlformats.org/officeDocument/2006/relationships/image" Target="../media/image44.jpeg"/><Relationship Id="rId7" Type="http://schemas.openxmlformats.org/officeDocument/2006/relationships/slide" Target="slide1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6" Type="http://schemas.openxmlformats.org/officeDocument/2006/relationships/slide" Target="slide13.xml"/><Relationship Id="rId5" Type="http://schemas.openxmlformats.org/officeDocument/2006/relationships/slide" Target="slide12.xml"/><Relationship Id="rId10" Type="http://schemas.openxmlformats.org/officeDocument/2006/relationships/image" Target="../media/image46.svg"/><Relationship Id="rId4" Type="http://schemas.openxmlformats.org/officeDocument/2006/relationships/slide" Target="slide11.xml"/><Relationship Id="rId9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" Target="slide15.xml"/><Relationship Id="rId3" Type="http://schemas.openxmlformats.org/officeDocument/2006/relationships/image" Target="../media/image47.jpeg"/><Relationship Id="rId7" Type="http://schemas.openxmlformats.org/officeDocument/2006/relationships/slide" Target="slide1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6" Type="http://schemas.openxmlformats.org/officeDocument/2006/relationships/slide" Target="slide13.xml"/><Relationship Id="rId5" Type="http://schemas.openxmlformats.org/officeDocument/2006/relationships/slide" Target="slide12.xml"/><Relationship Id="rId10" Type="http://schemas.openxmlformats.org/officeDocument/2006/relationships/image" Target="../media/image49.svg"/><Relationship Id="rId4" Type="http://schemas.openxmlformats.org/officeDocument/2006/relationships/slide" Target="slide11.xml"/><Relationship Id="rId9" Type="http://schemas.openxmlformats.org/officeDocument/2006/relationships/image" Target="../media/image4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" Target="slide15.xml"/><Relationship Id="rId3" Type="http://schemas.openxmlformats.org/officeDocument/2006/relationships/image" Target="../media/image50.jpeg"/><Relationship Id="rId7" Type="http://schemas.openxmlformats.org/officeDocument/2006/relationships/slide" Target="slide1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Relationship Id="rId6" Type="http://schemas.openxmlformats.org/officeDocument/2006/relationships/slide" Target="slide13.xml"/><Relationship Id="rId5" Type="http://schemas.openxmlformats.org/officeDocument/2006/relationships/slide" Target="slide12.xml"/><Relationship Id="rId10" Type="http://schemas.openxmlformats.org/officeDocument/2006/relationships/image" Target="../media/image52.svg"/><Relationship Id="rId4" Type="http://schemas.openxmlformats.org/officeDocument/2006/relationships/slide" Target="slide11.xml"/><Relationship Id="rId9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jpeg"/><Relationship Id="rId7" Type="http://schemas.openxmlformats.org/officeDocument/2006/relationships/image" Target="../media/image64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3.png"/><Relationship Id="rId5" Type="http://schemas.openxmlformats.org/officeDocument/2006/relationships/image" Target="../media/image62.svg"/><Relationship Id="rId4" Type="http://schemas.openxmlformats.org/officeDocument/2006/relationships/image" Target="../media/image61.png"/><Relationship Id="rId9" Type="http://schemas.openxmlformats.org/officeDocument/2006/relationships/image" Target="../media/image6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8.svg"/><Relationship Id="rId4" Type="http://schemas.openxmlformats.org/officeDocument/2006/relationships/image" Target="../media/image6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4.svg"/><Relationship Id="rId4" Type="http://schemas.openxmlformats.org/officeDocument/2006/relationships/image" Target="../media/image6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66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1.png"/><Relationship Id="rId7" Type="http://schemas.openxmlformats.org/officeDocument/2006/relationships/image" Target="../media/image75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4.png"/><Relationship Id="rId11" Type="http://schemas.openxmlformats.org/officeDocument/2006/relationships/hyperlink" Target="https://www.bekaert.com/en/sustainability/sustainability-standards" TargetMode="External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openxmlformats.org/officeDocument/2006/relationships/image" Target="../media/image88.sv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82.svg"/><Relationship Id="rId12" Type="http://schemas.openxmlformats.org/officeDocument/2006/relationships/image" Target="../media/image8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6" Type="http://schemas.openxmlformats.org/officeDocument/2006/relationships/image" Target="../media/image81.png"/><Relationship Id="rId11" Type="http://schemas.openxmlformats.org/officeDocument/2006/relationships/image" Target="../media/image86.svg"/><Relationship Id="rId5" Type="http://schemas.openxmlformats.org/officeDocument/2006/relationships/image" Target="../media/image80.emf"/><Relationship Id="rId10" Type="http://schemas.openxmlformats.org/officeDocument/2006/relationships/image" Target="../media/image85.pn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84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svg"/><Relationship Id="rId13" Type="http://schemas.openxmlformats.org/officeDocument/2006/relationships/image" Target="../media/image95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89.png"/><Relationship Id="rId12" Type="http://schemas.openxmlformats.org/officeDocument/2006/relationships/image" Target="../media/image94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5.xml"/><Relationship Id="rId6" Type="http://schemas.openxmlformats.org/officeDocument/2006/relationships/image" Target="../media/image80.emf"/><Relationship Id="rId11" Type="http://schemas.openxmlformats.org/officeDocument/2006/relationships/image" Target="../media/image93.pn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92.svg"/><Relationship Id="rId4" Type="http://schemas.openxmlformats.org/officeDocument/2006/relationships/hyperlink" Target="http://www.xingyich.com.cn/" TargetMode="External"/><Relationship Id="rId9" Type="http://schemas.openxmlformats.org/officeDocument/2006/relationships/image" Target="../media/image91.png"/><Relationship Id="rId14" Type="http://schemas.openxmlformats.org/officeDocument/2006/relationships/image" Target="../media/image96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1.pn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7" Type="http://schemas.openxmlformats.org/officeDocument/2006/relationships/image" Target="../media/image107.png"/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6.jpeg"/><Relationship Id="rId5" Type="http://schemas.openxmlformats.org/officeDocument/2006/relationships/image" Target="../media/image105.jpeg"/><Relationship Id="rId4" Type="http://schemas.openxmlformats.org/officeDocument/2006/relationships/image" Target="../media/image104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6" Type="http://schemas.openxmlformats.org/officeDocument/2006/relationships/image" Target="../media/image108.jpe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4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21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110.jpeg"/><Relationship Id="rId4" Type="http://schemas.openxmlformats.org/officeDocument/2006/relationships/image" Target="../media/image109.jpeg"/><Relationship Id="rId9" Type="http://schemas.openxmlformats.org/officeDocument/2006/relationships/image" Target="../media/image112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jpe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114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8.xml"/><Relationship Id="rId6" Type="http://schemas.openxmlformats.org/officeDocument/2006/relationships/image" Target="../media/image11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116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jpeg"/><Relationship Id="rId3" Type="http://schemas.openxmlformats.org/officeDocument/2006/relationships/image" Target="../media/image117.jpeg"/><Relationship Id="rId7" Type="http://schemas.openxmlformats.org/officeDocument/2006/relationships/image" Target="../media/image121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20.jpeg"/><Relationship Id="rId5" Type="http://schemas.openxmlformats.org/officeDocument/2006/relationships/image" Target="../media/image119.jpeg"/><Relationship Id="rId4" Type="http://schemas.openxmlformats.org/officeDocument/2006/relationships/image" Target="../media/image118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8.jpeg"/><Relationship Id="rId5" Type="http://schemas.openxmlformats.org/officeDocument/2006/relationships/image" Target="../media/image127.jpeg"/><Relationship Id="rId4" Type="http://schemas.openxmlformats.org/officeDocument/2006/relationships/image" Target="../media/image126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30.png"/><Relationship Id="rId4" Type="http://schemas.openxmlformats.org/officeDocument/2006/relationships/image" Target="../media/image12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24C31C-9903-2CD6-28D4-DB16BED77F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Full image" descr="Landscape terraced rice field">
            <a:extLst>
              <a:ext uri="{FF2B5EF4-FFF2-40B4-BE49-F238E27FC236}">
                <a16:creationId xmlns:a16="http://schemas.microsoft.com/office/drawing/2014/main" id="{4A26E600-4569-929A-3538-42334D16A06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9144000" cy="5143500"/>
          </a:xfrm>
          <a:prstGeom prst="rect">
            <a:avLst/>
          </a:prstGeom>
        </p:spPr>
      </p:pic>
      <p:sp>
        <p:nvSpPr>
          <p:cNvPr id="6" name="Safe, smart, sustainable">
            <a:extLst>
              <a:ext uri="{FF2B5EF4-FFF2-40B4-BE49-F238E27FC236}">
                <a16:creationId xmlns:a16="http://schemas.microsoft.com/office/drawing/2014/main" id="{38885CFD-1176-0CE1-E17B-D05E69EE63C0}"/>
              </a:ext>
            </a:extLst>
          </p:cNvPr>
          <p:cNvSpPr txBox="1">
            <a:spLocks/>
          </p:cNvSpPr>
          <p:nvPr/>
        </p:nvSpPr>
        <p:spPr>
          <a:xfrm>
            <a:off x="362501" y="3971997"/>
            <a:ext cx="7413201" cy="1632359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nl-BE" sz="3200" b="1">
                <a:solidFill>
                  <a:schemeClr val="bg1"/>
                </a:solidFill>
                <a:latin typeface="+mj-lt"/>
              </a:rPr>
              <a:t>Bekaert in brief </a:t>
            </a:r>
            <a:r>
              <a:rPr lang="zh-CN" altLang="en-US" sz="3200" b="1">
                <a:solidFill>
                  <a:schemeClr val="bg1"/>
                </a:solidFill>
                <a:latin typeface="+mj-lt"/>
              </a:rPr>
              <a:t>贝卡尔特简介</a:t>
            </a:r>
            <a:endParaRPr lang="nl-BE" sz="3200" b="1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851363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E2F974-7C69-979F-1307-229C109570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8046" y="146413"/>
            <a:ext cx="8847908" cy="48506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6B100B-4D4A-94C1-E182-BC50BB4652F5}"/>
              </a:ext>
            </a:extLst>
          </p:cNvPr>
          <p:cNvSpPr txBox="1">
            <a:spLocks/>
          </p:cNvSpPr>
          <p:nvPr/>
        </p:nvSpPr>
        <p:spPr>
          <a:xfrm>
            <a:off x="8425044" y="4672881"/>
            <a:ext cx="468130" cy="202331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BE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336DE9C-4B74-EE55-5B6A-13040E3DEFD8}"/>
              </a:ext>
            </a:extLst>
          </p:cNvPr>
          <p:cNvSpPr txBox="1"/>
          <p:nvPr/>
        </p:nvSpPr>
        <p:spPr>
          <a:xfrm>
            <a:off x="365818" y="137483"/>
            <a:ext cx="7566895" cy="124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BE" sz="2800">
                <a:solidFill>
                  <a:schemeClr val="accent2"/>
                </a:solidFill>
                <a:latin typeface="+mj-lt"/>
              </a:rPr>
              <a:t>Markets </a:t>
            </a:r>
            <a:r>
              <a:rPr lang="en-GB" sz="2800">
                <a:solidFill>
                  <a:schemeClr val="accent2"/>
                </a:solidFill>
                <a:latin typeface="+mj-lt"/>
              </a:rPr>
              <a:t>w</a:t>
            </a:r>
            <a:r>
              <a:rPr lang="en-BE" sz="2800">
                <a:solidFill>
                  <a:schemeClr val="accent2"/>
                </a:solidFill>
                <a:latin typeface="+mj-lt"/>
              </a:rPr>
              <a:t>e serve</a:t>
            </a:r>
            <a:r>
              <a:rPr lang="en-US" sz="2800">
                <a:solidFill>
                  <a:schemeClr val="accent2"/>
                </a:solidFill>
                <a:latin typeface="+mj-lt"/>
              </a:rPr>
              <a:t> </a:t>
            </a:r>
            <a:r>
              <a:rPr lang="zh-CN" altLang="en-US" sz="2400">
                <a:solidFill>
                  <a:schemeClr val="accent2"/>
                </a:solidFill>
                <a:latin typeface="+mj-lt"/>
              </a:rPr>
              <a:t>我们专注的市场领域</a:t>
            </a:r>
            <a:endParaRPr lang="en-BE" sz="2400">
              <a:solidFill>
                <a:schemeClr val="accent2"/>
              </a:solidFill>
              <a:latin typeface="+mj-lt"/>
            </a:endParaRPr>
          </a:p>
          <a:p>
            <a:pPr algn="l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endParaRPr lang="en-BE" sz="28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" name="Oval 4">
            <a:hlinkClick r:id="rId3" action="ppaction://hlinksldjump"/>
            <a:extLst>
              <a:ext uri="{FF2B5EF4-FFF2-40B4-BE49-F238E27FC236}">
                <a16:creationId xmlns:a16="http://schemas.microsoft.com/office/drawing/2014/main" id="{CB1827CD-C5D5-A7B1-7B0C-BD64C7E1E9C3}"/>
              </a:ext>
            </a:extLst>
          </p:cNvPr>
          <p:cNvSpPr/>
          <p:nvPr/>
        </p:nvSpPr>
        <p:spPr>
          <a:xfrm>
            <a:off x="387409" y="2100798"/>
            <a:ext cx="1428205" cy="1428205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7" name="TextBox 36">
            <a:hlinkClick r:id="rId3" action="ppaction://hlinksldjump"/>
            <a:extLst>
              <a:ext uri="{FF2B5EF4-FFF2-40B4-BE49-F238E27FC236}">
                <a16:creationId xmlns:a16="http://schemas.microsoft.com/office/drawing/2014/main" id="{2D5B342D-47F1-49A4-F142-B6B678126926}"/>
              </a:ext>
            </a:extLst>
          </p:cNvPr>
          <p:cNvSpPr txBox="1"/>
          <p:nvPr/>
        </p:nvSpPr>
        <p:spPr>
          <a:xfrm>
            <a:off x="239705" y="3765823"/>
            <a:ext cx="157590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en-GB" sz="1000" b="1">
                <a:solidFill>
                  <a:schemeClr val="accent2"/>
                </a:solidFill>
                <a:latin typeface="Bekaert Headline" panose="020B0503030203020203" pitchFamily="34" charset="77"/>
              </a:rPr>
              <a:t>Tire reinforcement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zh-CN" altLang="en-US" sz="1000" b="1">
                <a:solidFill>
                  <a:schemeClr val="accent2"/>
                </a:solidFill>
                <a:latin typeface="Bekaert Headline" panose="020B0503030203020203" pitchFamily="34" charset="77"/>
              </a:rPr>
              <a:t>轮胎骨架材料</a:t>
            </a:r>
            <a:endParaRPr lang="en-BE" sz="1000" b="1">
              <a:solidFill>
                <a:schemeClr val="accent2"/>
              </a:solidFill>
              <a:latin typeface="Bekaert Headline" panose="020B0503030203020203" pitchFamily="34" charset="77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B701AA6-8F80-9AEC-7DED-BE6C6A1E6951}"/>
              </a:ext>
            </a:extLst>
          </p:cNvPr>
          <p:cNvCxnSpPr>
            <a:cxnSpLocks/>
          </p:cNvCxnSpPr>
          <p:nvPr/>
        </p:nvCxnSpPr>
        <p:spPr>
          <a:xfrm>
            <a:off x="1035587" y="3575479"/>
            <a:ext cx="0" cy="216000"/>
          </a:xfrm>
          <a:prstGeom prst="line">
            <a:avLst/>
          </a:prstGeom>
          <a:ln w="158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Oval 7">
            <a:hlinkClick r:id="rId5" action="ppaction://hlinksldjump"/>
            <a:extLst>
              <a:ext uri="{FF2B5EF4-FFF2-40B4-BE49-F238E27FC236}">
                <a16:creationId xmlns:a16="http://schemas.microsoft.com/office/drawing/2014/main" id="{0BDB38A6-F5B7-E717-2BFD-F18937CA24D0}"/>
              </a:ext>
            </a:extLst>
          </p:cNvPr>
          <p:cNvSpPr/>
          <p:nvPr/>
        </p:nvSpPr>
        <p:spPr>
          <a:xfrm>
            <a:off x="3870449" y="2100798"/>
            <a:ext cx="1428205" cy="1428205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8C0E7AE-8198-B69F-BD62-590AAE4F86A6}"/>
              </a:ext>
            </a:extLst>
          </p:cNvPr>
          <p:cNvSpPr txBox="1"/>
          <p:nvPr/>
        </p:nvSpPr>
        <p:spPr>
          <a:xfrm>
            <a:off x="3870449" y="3768239"/>
            <a:ext cx="148336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en-GB" sz="1000" b="1">
                <a:solidFill>
                  <a:schemeClr val="accent2"/>
                </a:solidFill>
                <a:latin typeface="Bekaert Headline" panose="020B0503030203020203" pitchFamily="34" charset="77"/>
              </a:rPr>
              <a:t>Advanced lifting and mooring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zh-CN" altLang="en-US" sz="1000" b="1">
                <a:solidFill>
                  <a:schemeClr val="accent2"/>
                </a:solidFill>
                <a:latin typeface="Bekaert Headline" panose="020B0503030203020203" pitchFamily="34" charset="77"/>
              </a:rPr>
              <a:t>先进的起重和系泊系统</a:t>
            </a:r>
            <a:endParaRPr lang="en-BE" sz="1000" b="1">
              <a:solidFill>
                <a:schemeClr val="accent2"/>
              </a:solidFill>
              <a:latin typeface="Bekaert Headline" panose="020B0503030203020203" pitchFamily="34" charset="77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8B4E5306-51DF-A1F3-01EE-0D7DFA3FA6C9}"/>
              </a:ext>
            </a:extLst>
          </p:cNvPr>
          <p:cNvCxnSpPr>
            <a:cxnSpLocks/>
          </p:cNvCxnSpPr>
          <p:nvPr/>
        </p:nvCxnSpPr>
        <p:spPr>
          <a:xfrm>
            <a:off x="4584551" y="3575479"/>
            <a:ext cx="0" cy="216000"/>
          </a:xfrm>
          <a:prstGeom prst="line">
            <a:avLst/>
          </a:prstGeom>
          <a:ln w="158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Oval 5">
            <a:hlinkClick r:id="rId7" action="ppaction://hlinksldjump"/>
            <a:extLst>
              <a:ext uri="{FF2B5EF4-FFF2-40B4-BE49-F238E27FC236}">
                <a16:creationId xmlns:a16="http://schemas.microsoft.com/office/drawing/2014/main" id="{6C31C9F8-29E2-CCBA-BA37-8EA3E06E4E18}"/>
              </a:ext>
            </a:extLst>
          </p:cNvPr>
          <p:cNvSpPr/>
          <p:nvPr/>
        </p:nvSpPr>
        <p:spPr>
          <a:xfrm>
            <a:off x="7353488" y="2100798"/>
            <a:ext cx="1428205" cy="1428205"/>
          </a:xfrm>
          <a:prstGeom prst="ellipse">
            <a:avLst/>
          </a:prstGeom>
          <a:blipFill>
            <a:blip r:embed="rId8"/>
            <a:stretch>
              <a:fillRect/>
            </a:stretch>
          </a:blip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536F788-72D2-C957-86CA-2914D2E68BF6}"/>
              </a:ext>
            </a:extLst>
          </p:cNvPr>
          <p:cNvSpPr txBox="1"/>
          <p:nvPr/>
        </p:nvSpPr>
        <p:spPr>
          <a:xfrm>
            <a:off x="7328731" y="3815413"/>
            <a:ext cx="149263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en-GB" sz="1000" b="1">
                <a:solidFill>
                  <a:schemeClr val="accent2"/>
                </a:solidFill>
                <a:latin typeface="Bekaert Headline" panose="020B0503030203020203" pitchFamily="34" charset="77"/>
              </a:rPr>
              <a:t>Sustainable construction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zh-CN" altLang="en-US" sz="1000" b="1">
                <a:solidFill>
                  <a:schemeClr val="accent2"/>
                </a:solidFill>
                <a:latin typeface="Bekaert Headline" panose="020B0503030203020203" pitchFamily="34" charset="77"/>
              </a:rPr>
              <a:t>可持续建筑</a:t>
            </a:r>
            <a:endParaRPr lang="en-BE" sz="1000" b="1">
              <a:solidFill>
                <a:schemeClr val="accent2"/>
              </a:solidFill>
              <a:latin typeface="Bekaert Headline" panose="020B0503030203020203" pitchFamily="34" charset="77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2080E85-EA28-E5DF-CD1A-ECECD2B93666}"/>
              </a:ext>
            </a:extLst>
          </p:cNvPr>
          <p:cNvCxnSpPr>
            <a:cxnSpLocks/>
          </p:cNvCxnSpPr>
          <p:nvPr/>
        </p:nvCxnSpPr>
        <p:spPr>
          <a:xfrm>
            <a:off x="8075046" y="3587710"/>
            <a:ext cx="0" cy="216000"/>
          </a:xfrm>
          <a:prstGeom prst="line">
            <a:avLst/>
          </a:prstGeom>
          <a:ln w="158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Oval 3">
            <a:hlinkClick r:id="rId9" action="ppaction://hlinksldjump"/>
            <a:extLst>
              <a:ext uri="{FF2B5EF4-FFF2-40B4-BE49-F238E27FC236}">
                <a16:creationId xmlns:a16="http://schemas.microsoft.com/office/drawing/2014/main" id="{A6251EDF-8785-E793-5FFC-DC6D0EE3DA6A}"/>
              </a:ext>
            </a:extLst>
          </p:cNvPr>
          <p:cNvSpPr/>
          <p:nvPr/>
        </p:nvSpPr>
        <p:spPr>
          <a:xfrm>
            <a:off x="5611969" y="2076632"/>
            <a:ext cx="1428205" cy="1428205"/>
          </a:xfrm>
          <a:prstGeom prst="ellipse">
            <a:avLst/>
          </a:prstGeom>
          <a:blipFill>
            <a:blip r:embed="rId10"/>
            <a:stretch>
              <a:fillRect/>
            </a:stretch>
          </a:blipFill>
          <a:ln w="19050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C2CBE08-BCF6-C408-7A77-832526C9EED7}"/>
              </a:ext>
            </a:extLst>
          </p:cNvPr>
          <p:cNvSpPr txBox="1"/>
          <p:nvPr/>
        </p:nvSpPr>
        <p:spPr>
          <a:xfrm>
            <a:off x="5620116" y="1150628"/>
            <a:ext cx="142820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en-GB" sz="1000" b="1">
                <a:solidFill>
                  <a:schemeClr val="accent2"/>
                </a:solidFill>
                <a:latin typeface="Bekaert Headline" panose="020B0503030203020203" pitchFamily="34" charset="77"/>
              </a:rPr>
              <a:t>Energy transition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zh-CN" altLang="en-US" sz="1000" b="1">
                <a:solidFill>
                  <a:schemeClr val="accent2"/>
                </a:solidFill>
                <a:latin typeface="Bekaert Headline" panose="020B0503030203020203" pitchFamily="34" charset="77"/>
              </a:rPr>
              <a:t>能源转型</a:t>
            </a:r>
            <a:endParaRPr lang="en-BE" sz="1000" b="1">
              <a:solidFill>
                <a:schemeClr val="accent2"/>
              </a:solidFill>
              <a:latin typeface="Bekaert Headline" panose="020B0503030203020203" pitchFamily="34" charset="77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24E4126-2A9B-D5A4-FCEC-0D0D9DF57947}"/>
              </a:ext>
            </a:extLst>
          </p:cNvPr>
          <p:cNvCxnSpPr>
            <a:cxnSpLocks/>
          </p:cNvCxnSpPr>
          <p:nvPr/>
        </p:nvCxnSpPr>
        <p:spPr>
          <a:xfrm>
            <a:off x="6342625" y="1784711"/>
            <a:ext cx="0" cy="216000"/>
          </a:xfrm>
          <a:prstGeom prst="line">
            <a:avLst/>
          </a:prstGeom>
          <a:ln w="158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Oval 6">
            <a:hlinkClick r:id="rId11" action="ppaction://hlinksldjump"/>
            <a:extLst>
              <a:ext uri="{FF2B5EF4-FFF2-40B4-BE49-F238E27FC236}">
                <a16:creationId xmlns:a16="http://schemas.microsoft.com/office/drawing/2014/main" id="{7FDFC5E4-B20C-044E-7541-4FC9B3E80C96}"/>
              </a:ext>
            </a:extLst>
          </p:cNvPr>
          <p:cNvSpPr/>
          <p:nvPr/>
        </p:nvSpPr>
        <p:spPr>
          <a:xfrm>
            <a:off x="2128929" y="2076632"/>
            <a:ext cx="1428205" cy="1428205"/>
          </a:xfrm>
          <a:prstGeom prst="ellipse">
            <a:avLst/>
          </a:prstGeom>
          <a:blipFill>
            <a:blip r:embed="rId12"/>
            <a:stretch>
              <a:fillRect/>
            </a:stretch>
          </a:blip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F864907-7600-5570-E30D-88C04697538F}"/>
              </a:ext>
            </a:extLst>
          </p:cNvPr>
          <p:cNvSpPr txBox="1"/>
          <p:nvPr/>
        </p:nvSpPr>
        <p:spPr>
          <a:xfrm>
            <a:off x="2055075" y="971092"/>
            <a:ext cx="1575909" cy="810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en-GB" sz="1000" b="1">
                <a:solidFill>
                  <a:schemeClr val="accent2"/>
                </a:solidFill>
                <a:latin typeface="Bekaert Headline" panose="020B0503030203020203" pitchFamily="34" charset="77"/>
              </a:rPr>
              <a:t>Transmission and performance wires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zh-CN" altLang="en-US" sz="1000" b="1">
                <a:solidFill>
                  <a:schemeClr val="accent2"/>
                </a:solidFill>
                <a:latin typeface="Bekaert Headline" panose="020B0503030203020203" pitchFamily="34" charset="77"/>
              </a:rPr>
              <a:t>传输和高性能钢丝</a:t>
            </a:r>
            <a:endParaRPr lang="en-BE" sz="1000" b="1">
              <a:solidFill>
                <a:schemeClr val="accent2"/>
              </a:solidFill>
              <a:latin typeface="Bekaert Headline" panose="020B0503030203020203" pitchFamily="34" charset="77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690872C-4752-D342-01E7-BCB09DF91B25}"/>
              </a:ext>
            </a:extLst>
          </p:cNvPr>
          <p:cNvCxnSpPr>
            <a:cxnSpLocks/>
          </p:cNvCxnSpPr>
          <p:nvPr/>
        </p:nvCxnSpPr>
        <p:spPr>
          <a:xfrm>
            <a:off x="2843030" y="1746751"/>
            <a:ext cx="0" cy="216000"/>
          </a:xfrm>
          <a:prstGeom prst="line">
            <a:avLst/>
          </a:prstGeom>
          <a:ln w="158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3" name="Rectangle 62">
            <a:hlinkClick r:id="rId3" action="ppaction://hlinksldjump"/>
            <a:extLst>
              <a:ext uri="{FF2B5EF4-FFF2-40B4-BE49-F238E27FC236}">
                <a16:creationId xmlns:a16="http://schemas.microsoft.com/office/drawing/2014/main" id="{EA90A3B3-A60C-C21B-09C1-FD595CD139A7}"/>
              </a:ext>
            </a:extLst>
          </p:cNvPr>
          <p:cNvSpPr/>
          <p:nvPr/>
        </p:nvSpPr>
        <p:spPr>
          <a:xfrm>
            <a:off x="349657" y="3778546"/>
            <a:ext cx="1483360" cy="6265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64" name="Rectangle 63">
            <a:hlinkClick r:id="rId11" action="ppaction://hlinksldjump"/>
            <a:extLst>
              <a:ext uri="{FF2B5EF4-FFF2-40B4-BE49-F238E27FC236}">
                <a16:creationId xmlns:a16="http://schemas.microsoft.com/office/drawing/2014/main" id="{B98EF9E0-93B2-D79A-A74F-5FFBF6196EBA}"/>
              </a:ext>
            </a:extLst>
          </p:cNvPr>
          <p:cNvSpPr/>
          <p:nvPr/>
        </p:nvSpPr>
        <p:spPr>
          <a:xfrm>
            <a:off x="1932688" y="1023952"/>
            <a:ext cx="1793240" cy="71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65" name="Rectangle 64">
            <a:hlinkClick r:id="rId5" action="ppaction://hlinksldjump"/>
            <a:extLst>
              <a:ext uri="{FF2B5EF4-FFF2-40B4-BE49-F238E27FC236}">
                <a16:creationId xmlns:a16="http://schemas.microsoft.com/office/drawing/2014/main" id="{53216908-296C-ACE9-1D90-2C6FF7841664}"/>
              </a:ext>
            </a:extLst>
          </p:cNvPr>
          <p:cNvSpPr/>
          <p:nvPr/>
        </p:nvSpPr>
        <p:spPr>
          <a:xfrm>
            <a:off x="3870448" y="3791479"/>
            <a:ext cx="1428205" cy="6842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66" name="Rectangle 65">
            <a:hlinkClick r:id="rId9" action="ppaction://hlinksldjump"/>
            <a:extLst>
              <a:ext uri="{FF2B5EF4-FFF2-40B4-BE49-F238E27FC236}">
                <a16:creationId xmlns:a16="http://schemas.microsoft.com/office/drawing/2014/main" id="{B4BDD4F9-7DBA-5406-5DF5-E7D9C108B95A}"/>
              </a:ext>
            </a:extLst>
          </p:cNvPr>
          <p:cNvSpPr/>
          <p:nvPr/>
        </p:nvSpPr>
        <p:spPr>
          <a:xfrm>
            <a:off x="5632957" y="1216800"/>
            <a:ext cx="1542169" cy="5299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Rectangle 66">
            <a:hlinkClick r:id="rId7" action="ppaction://hlinksldjump"/>
            <a:extLst>
              <a:ext uri="{FF2B5EF4-FFF2-40B4-BE49-F238E27FC236}">
                <a16:creationId xmlns:a16="http://schemas.microsoft.com/office/drawing/2014/main" id="{33615B2A-AEDF-9714-F574-560CBEE8C3CF}"/>
              </a:ext>
            </a:extLst>
          </p:cNvPr>
          <p:cNvSpPr/>
          <p:nvPr/>
        </p:nvSpPr>
        <p:spPr>
          <a:xfrm>
            <a:off x="7245765" y="3833795"/>
            <a:ext cx="1658561" cy="556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9284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hlinkClick r:id="rId3" action="ppaction://hlinksldjump"/>
            <a:extLst>
              <a:ext uri="{FF2B5EF4-FFF2-40B4-BE49-F238E27FC236}">
                <a16:creationId xmlns:a16="http://schemas.microsoft.com/office/drawing/2014/main" id="{E8FE24BA-1E29-B33B-4E8E-49408484D165}"/>
              </a:ext>
            </a:extLst>
          </p:cNvPr>
          <p:cNvSpPr/>
          <p:nvPr/>
        </p:nvSpPr>
        <p:spPr>
          <a:xfrm>
            <a:off x="3694269" y="2217679"/>
            <a:ext cx="172910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7" name="Picture 46" descr="A person holding a tire&#10;&#10;AI-generated content may be incorrect.">
            <a:extLst>
              <a:ext uri="{FF2B5EF4-FFF2-40B4-BE49-F238E27FC236}">
                <a16:creationId xmlns:a16="http://schemas.microsoft.com/office/drawing/2014/main" id="{9068187B-84E7-3A8D-29C7-4994EE2D65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7" y="-11179"/>
            <a:ext cx="9136562" cy="2850632"/>
          </a:xfrm>
          <a:prstGeom prst="rect">
            <a:avLst/>
          </a:prstGeom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CECBE077-AB4C-72D9-4277-92241211E3C4}"/>
              </a:ext>
            </a:extLst>
          </p:cNvPr>
          <p:cNvSpPr/>
          <p:nvPr/>
        </p:nvSpPr>
        <p:spPr>
          <a:xfrm>
            <a:off x="1881000" y="2355694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690D10F4-78F7-D6B4-E864-BB39FA102B89}"/>
              </a:ext>
            </a:extLst>
          </p:cNvPr>
          <p:cNvSpPr/>
          <p:nvPr/>
        </p:nvSpPr>
        <p:spPr>
          <a:xfrm>
            <a:off x="3690000" y="2355694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2B16F66E-B6E3-5B38-E38B-3910DAF7FAD2}"/>
              </a:ext>
            </a:extLst>
          </p:cNvPr>
          <p:cNvSpPr/>
          <p:nvPr/>
        </p:nvSpPr>
        <p:spPr>
          <a:xfrm>
            <a:off x="5499000" y="2355693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FEF4D376-611D-D8DD-4B2F-24C0EF1E19A8}"/>
              </a:ext>
            </a:extLst>
          </p:cNvPr>
          <p:cNvSpPr/>
          <p:nvPr/>
        </p:nvSpPr>
        <p:spPr>
          <a:xfrm>
            <a:off x="7308000" y="2355693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CEC06B1-A486-E9B6-AF4D-7DC7DA762EED}"/>
              </a:ext>
            </a:extLst>
          </p:cNvPr>
          <p:cNvGrpSpPr/>
          <p:nvPr/>
        </p:nvGrpSpPr>
        <p:grpSpPr>
          <a:xfrm>
            <a:off x="-1" y="2355695"/>
            <a:ext cx="9144000" cy="2787805"/>
            <a:chOff x="-1" y="2355695"/>
            <a:chExt cx="9144000" cy="2787805"/>
          </a:xfrm>
        </p:grpSpPr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5BAF3909-C781-9B2E-41E2-4055ACB3A4A9}"/>
                </a:ext>
              </a:extLst>
            </p:cNvPr>
            <p:cNvSpPr/>
            <p:nvPr/>
          </p:nvSpPr>
          <p:spPr>
            <a:xfrm>
              <a:off x="-1" y="2355695"/>
              <a:ext cx="9144000" cy="2787805"/>
            </a:xfrm>
            <a:custGeom>
              <a:avLst/>
              <a:gdLst>
                <a:gd name="connsiteX0" fmla="*/ 111051 w 9144000"/>
                <a:gd name="connsiteY0" fmla="*/ 0 h 2787805"/>
                <a:gd name="connsiteX1" fmla="*/ 1724950 w 9144000"/>
                <a:gd name="connsiteY1" fmla="*/ 0 h 2787805"/>
                <a:gd name="connsiteX2" fmla="*/ 1836000 w 9144000"/>
                <a:gd name="connsiteY2" fmla="*/ 111050 h 2787805"/>
                <a:gd name="connsiteX3" fmla="*/ 1836000 w 9144000"/>
                <a:gd name="connsiteY3" fmla="*/ 432109 h 2787805"/>
                <a:gd name="connsiteX4" fmla="*/ 9144000 w 9144000"/>
                <a:gd name="connsiteY4" fmla="*/ 432109 h 2787805"/>
                <a:gd name="connsiteX5" fmla="*/ 9144000 w 9144000"/>
                <a:gd name="connsiteY5" fmla="*/ 2787805 h 2787805"/>
                <a:gd name="connsiteX6" fmla="*/ 0 w 9144000"/>
                <a:gd name="connsiteY6" fmla="*/ 2787805 h 2787805"/>
                <a:gd name="connsiteX7" fmla="*/ 0 w 9144000"/>
                <a:gd name="connsiteY7" fmla="*/ 432109 h 2787805"/>
                <a:gd name="connsiteX8" fmla="*/ 1 w 9144000"/>
                <a:gd name="connsiteY8" fmla="*/ 432109 h 2787805"/>
                <a:gd name="connsiteX9" fmla="*/ 1 w 9144000"/>
                <a:gd name="connsiteY9" fmla="*/ 111050 h 2787805"/>
                <a:gd name="connsiteX10" fmla="*/ 111051 w 9144000"/>
                <a:gd name="connsiteY10" fmla="*/ 0 h 2787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2787805">
                  <a:moveTo>
                    <a:pt x="111051" y="0"/>
                  </a:moveTo>
                  <a:lnTo>
                    <a:pt x="1724950" y="0"/>
                  </a:lnTo>
                  <a:cubicBezTo>
                    <a:pt x="1786281" y="0"/>
                    <a:pt x="1836000" y="49719"/>
                    <a:pt x="1836000" y="111050"/>
                  </a:cubicBezTo>
                  <a:lnTo>
                    <a:pt x="1836000" y="432109"/>
                  </a:lnTo>
                  <a:lnTo>
                    <a:pt x="9144000" y="432109"/>
                  </a:lnTo>
                  <a:lnTo>
                    <a:pt x="9144000" y="2787805"/>
                  </a:lnTo>
                  <a:lnTo>
                    <a:pt x="0" y="2787805"/>
                  </a:lnTo>
                  <a:lnTo>
                    <a:pt x="0" y="432109"/>
                  </a:lnTo>
                  <a:lnTo>
                    <a:pt x="1" y="432109"/>
                  </a:lnTo>
                  <a:lnTo>
                    <a:pt x="1" y="111050"/>
                  </a:lnTo>
                  <a:cubicBezTo>
                    <a:pt x="1" y="49719"/>
                    <a:pt x="49720" y="0"/>
                    <a:pt x="111051" y="0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F98B8F3-1923-4DCD-C1ED-9EBC9376C1FB}"/>
                </a:ext>
              </a:extLst>
            </p:cNvPr>
            <p:cNvSpPr txBox="1"/>
            <p:nvPr/>
          </p:nvSpPr>
          <p:spPr>
            <a:xfrm>
              <a:off x="417710" y="2376152"/>
              <a:ext cx="969403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BE" sz="700" b="1">
                  <a:solidFill>
                    <a:srgbClr val="764930"/>
                  </a:solidFill>
                  <a:latin typeface="Bekaert Headline" panose="020B0503030203020203" pitchFamily="34" charset="77"/>
                </a:rPr>
                <a:t>Tire </a:t>
              </a:r>
              <a:br>
                <a:rPr lang="en-BE" sz="700" b="1">
                  <a:solidFill>
                    <a:srgbClr val="764930"/>
                  </a:solidFill>
                  <a:latin typeface="Bekaert Headline" panose="020B0503030203020203" pitchFamily="34" charset="77"/>
                </a:rPr>
              </a:br>
              <a:r>
                <a:rPr lang="en-BE" sz="700" b="1">
                  <a:solidFill>
                    <a:srgbClr val="764930"/>
                  </a:solidFill>
                  <a:latin typeface="Bekaert Headline" panose="020B0503030203020203" pitchFamily="34" charset="77"/>
                </a:rPr>
                <a:t>reinforcement</a:t>
              </a:r>
              <a:endParaRPr lang="en-US" sz="700" b="1">
                <a:solidFill>
                  <a:srgbClr val="764930"/>
                </a:solidFill>
                <a:latin typeface="Bekaert Headline" panose="020B0503030203020203" pitchFamily="34" charset="77"/>
              </a:endParaRPr>
            </a:p>
            <a:p>
              <a:pPr algn="ctr">
                <a:buClr>
                  <a:schemeClr val="accent1"/>
                </a:buClr>
              </a:pPr>
              <a:r>
                <a:rPr lang="zh-CN" altLang="en-US" sz="700" b="1">
                  <a:solidFill>
                    <a:srgbClr val="764930"/>
                  </a:solidFill>
                  <a:latin typeface="Bekaert Headline" panose="020B0503030203020203" pitchFamily="34" charset="77"/>
                </a:rPr>
                <a:t>轮胎骨架材料</a:t>
              </a:r>
              <a:endParaRPr lang="en-BE" sz="700" b="1">
                <a:solidFill>
                  <a:srgbClr val="764930"/>
                </a:solidFill>
                <a:latin typeface="Bekaert Headline" panose="020B0503030203020203" pitchFamily="34" charset="77"/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001971CF-B8FC-733C-1CD4-33458616EFE9}"/>
              </a:ext>
            </a:extLst>
          </p:cNvPr>
          <p:cNvSpPr/>
          <p:nvPr/>
        </p:nvSpPr>
        <p:spPr>
          <a:xfrm>
            <a:off x="7437" y="2355693"/>
            <a:ext cx="1814488" cy="6662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8" name="Rectangle 57">
            <a:hlinkClick r:id="rId5" action="ppaction://hlinksldjump"/>
            <a:extLst>
              <a:ext uri="{FF2B5EF4-FFF2-40B4-BE49-F238E27FC236}">
                <a16:creationId xmlns:a16="http://schemas.microsoft.com/office/drawing/2014/main" id="{A5DF78DD-E393-B449-B88C-D77C82124B44}"/>
              </a:ext>
            </a:extLst>
          </p:cNvPr>
          <p:cNvSpPr/>
          <p:nvPr/>
        </p:nvSpPr>
        <p:spPr>
          <a:xfrm>
            <a:off x="132448" y="2098784"/>
            <a:ext cx="1636295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4" name="Graphic 63">
            <a:extLst>
              <a:ext uri="{FF2B5EF4-FFF2-40B4-BE49-F238E27FC236}">
                <a16:creationId xmlns:a16="http://schemas.microsoft.com/office/drawing/2014/main" id="{E230999D-5F07-DABF-68ED-BC9F340537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06195" y="2925822"/>
            <a:ext cx="897178" cy="897178"/>
          </a:xfrm>
          <a:prstGeom prst="rect">
            <a:avLst/>
          </a:prstGeom>
        </p:spPr>
      </p:pic>
      <p:sp>
        <p:nvSpPr>
          <p:cNvPr id="3" name="TextBox 40">
            <a:extLst>
              <a:ext uri="{FF2B5EF4-FFF2-40B4-BE49-F238E27FC236}">
                <a16:creationId xmlns:a16="http://schemas.microsoft.com/office/drawing/2014/main" id="{014D9A2B-FAA9-61D3-0EC9-C6434B253F9A}"/>
              </a:ext>
            </a:extLst>
          </p:cNvPr>
          <p:cNvSpPr txBox="1"/>
          <p:nvPr/>
        </p:nvSpPr>
        <p:spPr>
          <a:xfrm>
            <a:off x="1826194" y="2398733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ransmission and performance wires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传输和高性能钢丝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9DF4464-5871-C29B-2ED7-3D597CBBD746}"/>
              </a:ext>
            </a:extLst>
          </p:cNvPr>
          <p:cNvSpPr txBox="1"/>
          <p:nvPr/>
        </p:nvSpPr>
        <p:spPr>
          <a:xfrm>
            <a:off x="198000" y="2977200"/>
            <a:ext cx="70444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  <a:buClr>
                <a:schemeClr val="accent1"/>
              </a:buClr>
            </a:pPr>
            <a:r>
              <a:rPr lang="en-GB" sz="1600" b="1">
                <a:solidFill>
                  <a:schemeClr val="accent2"/>
                </a:solidFill>
                <a:latin typeface="Bekaert Headline" panose="020B0503030203020203" pitchFamily="34" charset="77"/>
              </a:rPr>
              <a:t>Tire reinforcement </a:t>
            </a:r>
            <a:r>
              <a:rPr lang="zh-CN" altLang="en-US" sz="1600" b="1">
                <a:solidFill>
                  <a:schemeClr val="accent2"/>
                </a:solidFill>
                <a:latin typeface="Bekaert Headline" panose="020B0503030203020203" pitchFamily="34" charset="77"/>
              </a:rPr>
              <a:t>轮胎骨架材料</a:t>
            </a:r>
            <a:endParaRPr lang="en-BE" sz="1600" b="1">
              <a:solidFill>
                <a:schemeClr val="accent2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4" name="TextBox 39">
            <a:extLst>
              <a:ext uri="{FF2B5EF4-FFF2-40B4-BE49-F238E27FC236}">
                <a16:creationId xmlns:a16="http://schemas.microsoft.com/office/drawing/2014/main" id="{5D4B9CF1-D402-6330-4EA3-47A71760E270}"/>
              </a:ext>
            </a:extLst>
          </p:cNvPr>
          <p:cNvSpPr txBox="1"/>
          <p:nvPr/>
        </p:nvSpPr>
        <p:spPr>
          <a:xfrm>
            <a:off x="3653371" y="2392250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Advanced lifting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and mooring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先进的起重和系泊解决方案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5" name="TextBox 38">
            <a:extLst>
              <a:ext uri="{FF2B5EF4-FFF2-40B4-BE49-F238E27FC236}">
                <a16:creationId xmlns:a16="http://schemas.microsoft.com/office/drawing/2014/main" id="{1CE51AC4-88BD-DBB4-48E8-4973652F25F5}"/>
              </a:ext>
            </a:extLst>
          </p:cNvPr>
          <p:cNvSpPr txBox="1"/>
          <p:nvPr/>
        </p:nvSpPr>
        <p:spPr>
          <a:xfrm>
            <a:off x="5497544" y="2391431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Energy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ransi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能源转型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6" name="TextBox 37">
            <a:extLst>
              <a:ext uri="{FF2B5EF4-FFF2-40B4-BE49-F238E27FC236}">
                <a16:creationId xmlns:a16="http://schemas.microsoft.com/office/drawing/2014/main" id="{08D4FC1E-9920-E4C6-9BC7-CB7CF4432972}"/>
              </a:ext>
            </a:extLst>
          </p:cNvPr>
          <p:cNvSpPr txBox="1"/>
          <p:nvPr/>
        </p:nvSpPr>
        <p:spPr>
          <a:xfrm>
            <a:off x="7317806" y="2391431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Sustainable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construc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可持续建筑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59" name="Rectangle 58">
            <a:hlinkClick r:id="rId8" action="ppaction://hlinksldjump"/>
            <a:extLst>
              <a:ext uri="{FF2B5EF4-FFF2-40B4-BE49-F238E27FC236}">
                <a16:creationId xmlns:a16="http://schemas.microsoft.com/office/drawing/2014/main" id="{33659D2D-3099-5F22-708C-60B15E55F60D}"/>
              </a:ext>
            </a:extLst>
          </p:cNvPr>
          <p:cNvSpPr/>
          <p:nvPr/>
        </p:nvSpPr>
        <p:spPr>
          <a:xfrm>
            <a:off x="1958488" y="2098475"/>
            <a:ext cx="1693950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Rectangle 60">
            <a:hlinkClick r:id="rId3" action="ppaction://hlinksldjump"/>
            <a:extLst>
              <a:ext uri="{FF2B5EF4-FFF2-40B4-BE49-F238E27FC236}">
                <a16:creationId xmlns:a16="http://schemas.microsoft.com/office/drawing/2014/main" id="{1AE4A1C7-926D-5F52-E74D-E82C80328A34}"/>
              </a:ext>
            </a:extLst>
          </p:cNvPr>
          <p:cNvSpPr/>
          <p:nvPr/>
        </p:nvSpPr>
        <p:spPr>
          <a:xfrm>
            <a:off x="3754425" y="2044660"/>
            <a:ext cx="170701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1" name="Rectangle 60">
            <a:hlinkClick r:id="rId9" action="ppaction://hlinksldjump"/>
            <a:extLst>
              <a:ext uri="{FF2B5EF4-FFF2-40B4-BE49-F238E27FC236}">
                <a16:creationId xmlns:a16="http://schemas.microsoft.com/office/drawing/2014/main" id="{E527639A-B7DE-AF3C-46A5-6308F8F235FA}"/>
              </a:ext>
            </a:extLst>
          </p:cNvPr>
          <p:cNvSpPr/>
          <p:nvPr/>
        </p:nvSpPr>
        <p:spPr>
          <a:xfrm>
            <a:off x="5573705" y="2083505"/>
            <a:ext cx="170701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2" name="Rectangle 61">
            <a:hlinkClick r:id="rId10" action="ppaction://hlinksldjump"/>
            <a:extLst>
              <a:ext uri="{FF2B5EF4-FFF2-40B4-BE49-F238E27FC236}">
                <a16:creationId xmlns:a16="http://schemas.microsoft.com/office/drawing/2014/main" id="{918BFB69-7E5A-C9C6-DF91-2E18056355E2}"/>
              </a:ext>
            </a:extLst>
          </p:cNvPr>
          <p:cNvSpPr/>
          <p:nvPr/>
        </p:nvSpPr>
        <p:spPr>
          <a:xfrm>
            <a:off x="7270438" y="2118992"/>
            <a:ext cx="170701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TextBox 16">
            <a:extLst>
              <a:ext uri="{FF2B5EF4-FFF2-40B4-BE49-F238E27FC236}">
                <a16:creationId xmlns:a16="http://schemas.microsoft.com/office/drawing/2014/main" id="{CB230351-28A2-6AB3-48AD-558A705DB752}"/>
              </a:ext>
            </a:extLst>
          </p:cNvPr>
          <p:cNvSpPr txBox="1"/>
          <p:nvPr/>
        </p:nvSpPr>
        <p:spPr>
          <a:xfrm>
            <a:off x="914400" y="3384000"/>
            <a:ext cx="7407078" cy="117410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US" sz="800" dirty="0"/>
              <a:t>Bekaert reinforces </a:t>
            </a:r>
            <a:r>
              <a:rPr lang="en-US" sz="800" b="1" dirty="0"/>
              <a:t>1 in 4 tires </a:t>
            </a:r>
            <a:r>
              <a:rPr lang="en-US" sz="800" dirty="0"/>
              <a:t>worldwide, setting industry standards for 70+ years.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800"/>
              <a:t>贝卡尔特为全球</a:t>
            </a:r>
            <a:r>
              <a:rPr lang="zh-CN" altLang="en-US" sz="800" b="1"/>
              <a:t>四分之一</a:t>
            </a:r>
            <a:r>
              <a:rPr lang="zh-CN" altLang="en-US" sz="800"/>
              <a:t>的轮胎提供高性能骨架材料，</a:t>
            </a:r>
            <a:r>
              <a:rPr lang="en-US" altLang="zh-CN" sz="800" dirty="0"/>
              <a:t>70</a:t>
            </a:r>
            <a:r>
              <a:rPr lang="zh-CN" altLang="en-US" sz="800"/>
              <a:t>多年来持续引领行业标准。</a:t>
            </a:r>
            <a:endParaRPr lang="en-US" altLang="zh-CN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endParaRPr lang="en-US" sz="800"/>
          </a:p>
          <a:p>
            <a:r>
              <a:rPr lang="en-US" sz="800"/>
              <a:t>Elyta™: innovative next-gen tire reinforcement for stronger, lighter and more sustainable tires.</a:t>
            </a:r>
            <a:endParaRPr lang="en-US"/>
          </a:p>
          <a:p>
            <a:r>
              <a:rPr lang="zh-CN" altLang="en-US" sz="800">
                <a:ea typeface="+mn-lt"/>
                <a:cs typeface="+mn-lt"/>
              </a:rPr>
              <a:t>优迈特</a:t>
            </a:r>
            <a:r>
              <a:rPr lang="en-US" altLang="zh-CN" sz="800" dirty="0">
                <a:ea typeface="+mn-lt"/>
                <a:cs typeface="+mn-lt"/>
              </a:rPr>
              <a:t>™</a:t>
            </a:r>
            <a:r>
              <a:rPr lang="zh-CN" altLang="en-US" sz="800">
                <a:ea typeface="+mn-lt"/>
                <a:cs typeface="+mn-lt"/>
              </a:rPr>
              <a:t>：新一代创新轮胎骨架材料，打造更强、更轻、更可持续的轮胎。</a:t>
            </a:r>
            <a:endParaRPr lang="en-US" altLang="zh-CN">
              <a:ea typeface="+mn-lt"/>
              <a:cs typeface="+mn-lt"/>
            </a:endParaRPr>
          </a:p>
          <a:p>
            <a:pPr>
              <a:lnSpc>
                <a:spcPct val="110000"/>
              </a:lnSpc>
            </a:pPr>
            <a:endParaRPr lang="en-US" sz="800" dirty="0"/>
          </a:p>
          <a:p>
            <a:pPr>
              <a:lnSpc>
                <a:spcPct val="11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US" sz="800" dirty="0"/>
              <a:t>The only supplier with a global footprint and expert technical support for seamless customer success.                                                                              </a:t>
            </a:r>
            <a:r>
              <a:rPr lang="zh-CN" altLang="en-US" sz="800"/>
              <a:t>拥有全球业务布局与专业技术支持体系，我们致力于为客户提供无缝衔接的全方位服务，助力其实现商业成功</a:t>
            </a:r>
            <a:r>
              <a:rPr lang="zh-CN" altLang="en-US" sz="1050"/>
              <a:t>。</a:t>
            </a:r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4056170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E76D4BE-E09C-4754-1EE8-502CC1660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ower lines in a forest&#10;&#10;AI-generated content may be incorrect.">
            <a:extLst>
              <a:ext uri="{FF2B5EF4-FFF2-40B4-BE49-F238E27FC236}">
                <a16:creationId xmlns:a16="http://schemas.microsoft.com/office/drawing/2014/main" id="{F2D36E58-5832-2593-7C95-AE40A88860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8413"/>
            <a:ext cx="9165393" cy="2861616"/>
          </a:xfrm>
          <a:prstGeom prst="rect">
            <a:avLst/>
          </a:prstGeom>
        </p:spPr>
      </p:pic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4C177F7F-C4D0-E705-1A9D-F0730C148920}"/>
              </a:ext>
            </a:extLst>
          </p:cNvPr>
          <p:cNvSpPr/>
          <p:nvPr/>
        </p:nvSpPr>
        <p:spPr>
          <a:xfrm>
            <a:off x="3690000" y="2355694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2613B6FA-8D5E-154B-D53E-DF217C38317C}"/>
              </a:ext>
            </a:extLst>
          </p:cNvPr>
          <p:cNvSpPr/>
          <p:nvPr/>
        </p:nvSpPr>
        <p:spPr>
          <a:xfrm>
            <a:off x="5499000" y="2355693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48DCB9EE-0E26-110D-B4FB-B258CF135751}"/>
              </a:ext>
            </a:extLst>
          </p:cNvPr>
          <p:cNvSpPr/>
          <p:nvPr/>
        </p:nvSpPr>
        <p:spPr>
          <a:xfrm>
            <a:off x="7308000" y="2355693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1594AE68-4F00-2C3F-CDCD-ED3CA8CF1610}"/>
              </a:ext>
            </a:extLst>
          </p:cNvPr>
          <p:cNvSpPr/>
          <p:nvPr/>
        </p:nvSpPr>
        <p:spPr>
          <a:xfrm>
            <a:off x="1" y="2355695"/>
            <a:ext cx="1835999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B9C5AA2-A276-5982-C4B1-F80F50264DFC}"/>
              </a:ext>
            </a:extLst>
          </p:cNvPr>
          <p:cNvSpPr/>
          <p:nvPr/>
        </p:nvSpPr>
        <p:spPr>
          <a:xfrm>
            <a:off x="0" y="2355693"/>
            <a:ext cx="9144000" cy="2787806"/>
          </a:xfrm>
          <a:custGeom>
            <a:avLst/>
            <a:gdLst>
              <a:gd name="connsiteX0" fmla="*/ 1992050 w 9144000"/>
              <a:gd name="connsiteY0" fmla="*/ 0 h 2787806"/>
              <a:gd name="connsiteX1" fmla="*/ 3533950 w 9144000"/>
              <a:gd name="connsiteY1" fmla="*/ 0 h 2787806"/>
              <a:gd name="connsiteX2" fmla="*/ 3645000 w 9144000"/>
              <a:gd name="connsiteY2" fmla="*/ 111050 h 2787806"/>
              <a:gd name="connsiteX3" fmla="*/ 3645000 w 9144000"/>
              <a:gd name="connsiteY3" fmla="*/ 432110 h 2787806"/>
              <a:gd name="connsiteX4" fmla="*/ 9144000 w 9144000"/>
              <a:gd name="connsiteY4" fmla="*/ 432110 h 2787806"/>
              <a:gd name="connsiteX5" fmla="*/ 9144000 w 9144000"/>
              <a:gd name="connsiteY5" fmla="*/ 2787806 h 2787806"/>
              <a:gd name="connsiteX6" fmla="*/ 0 w 9144000"/>
              <a:gd name="connsiteY6" fmla="*/ 2787806 h 2787806"/>
              <a:gd name="connsiteX7" fmla="*/ 0 w 9144000"/>
              <a:gd name="connsiteY7" fmla="*/ 432110 h 2787806"/>
              <a:gd name="connsiteX8" fmla="*/ 1881000 w 9144000"/>
              <a:gd name="connsiteY8" fmla="*/ 432110 h 2787806"/>
              <a:gd name="connsiteX9" fmla="*/ 1881000 w 9144000"/>
              <a:gd name="connsiteY9" fmla="*/ 111050 h 2787806"/>
              <a:gd name="connsiteX10" fmla="*/ 1992050 w 9144000"/>
              <a:gd name="connsiteY10" fmla="*/ 0 h 2787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2787806">
                <a:moveTo>
                  <a:pt x="1992050" y="0"/>
                </a:moveTo>
                <a:lnTo>
                  <a:pt x="3533950" y="0"/>
                </a:lnTo>
                <a:cubicBezTo>
                  <a:pt x="3595281" y="0"/>
                  <a:pt x="3645000" y="49719"/>
                  <a:pt x="3645000" y="111050"/>
                </a:cubicBezTo>
                <a:lnTo>
                  <a:pt x="3645000" y="432110"/>
                </a:lnTo>
                <a:lnTo>
                  <a:pt x="9144000" y="432110"/>
                </a:lnTo>
                <a:lnTo>
                  <a:pt x="9144000" y="2787806"/>
                </a:lnTo>
                <a:lnTo>
                  <a:pt x="0" y="2787806"/>
                </a:lnTo>
                <a:lnTo>
                  <a:pt x="0" y="432110"/>
                </a:lnTo>
                <a:lnTo>
                  <a:pt x="1881000" y="432110"/>
                </a:lnTo>
                <a:lnTo>
                  <a:pt x="1881000" y="111050"/>
                </a:lnTo>
                <a:cubicBezTo>
                  <a:pt x="1881000" y="49719"/>
                  <a:pt x="1930719" y="0"/>
                  <a:pt x="1992050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Rectangle 9">
            <a:hlinkClick r:id="rId4" action="ppaction://hlinksldjump"/>
            <a:extLst>
              <a:ext uri="{FF2B5EF4-FFF2-40B4-BE49-F238E27FC236}">
                <a16:creationId xmlns:a16="http://schemas.microsoft.com/office/drawing/2014/main" id="{7EC0E01C-9AAE-5003-2D57-F0CC95E98DBE}"/>
              </a:ext>
            </a:extLst>
          </p:cNvPr>
          <p:cNvSpPr/>
          <p:nvPr/>
        </p:nvSpPr>
        <p:spPr>
          <a:xfrm>
            <a:off x="117899" y="2106086"/>
            <a:ext cx="1636295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Rectangle 10">
            <a:hlinkClick r:id="rId5" action="ppaction://hlinksldjump"/>
            <a:extLst>
              <a:ext uri="{FF2B5EF4-FFF2-40B4-BE49-F238E27FC236}">
                <a16:creationId xmlns:a16="http://schemas.microsoft.com/office/drawing/2014/main" id="{DF04D600-F928-BF14-FF1E-6B0012AECD30}"/>
              </a:ext>
            </a:extLst>
          </p:cNvPr>
          <p:cNvSpPr/>
          <p:nvPr/>
        </p:nvSpPr>
        <p:spPr>
          <a:xfrm>
            <a:off x="1930393" y="2139566"/>
            <a:ext cx="1693950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Rectangle 11">
            <a:hlinkClick r:id="rId6" action="ppaction://hlinksldjump"/>
            <a:extLst>
              <a:ext uri="{FF2B5EF4-FFF2-40B4-BE49-F238E27FC236}">
                <a16:creationId xmlns:a16="http://schemas.microsoft.com/office/drawing/2014/main" id="{A7DAD489-E365-C791-4A86-5D98FF83A5CA}"/>
              </a:ext>
            </a:extLst>
          </p:cNvPr>
          <p:cNvSpPr/>
          <p:nvPr/>
        </p:nvSpPr>
        <p:spPr>
          <a:xfrm>
            <a:off x="3698538" y="2139566"/>
            <a:ext cx="172910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Rectangle 12">
            <a:hlinkClick r:id="rId7" action="ppaction://hlinksldjump"/>
            <a:extLst>
              <a:ext uri="{FF2B5EF4-FFF2-40B4-BE49-F238E27FC236}">
                <a16:creationId xmlns:a16="http://schemas.microsoft.com/office/drawing/2014/main" id="{4C10DDD5-1050-5083-6B77-8126748649BC}"/>
              </a:ext>
            </a:extLst>
          </p:cNvPr>
          <p:cNvSpPr/>
          <p:nvPr/>
        </p:nvSpPr>
        <p:spPr>
          <a:xfrm>
            <a:off x="5521928" y="2145058"/>
            <a:ext cx="170701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Rectangle 13">
            <a:hlinkClick r:id="rId8" action="ppaction://hlinksldjump"/>
            <a:extLst>
              <a:ext uri="{FF2B5EF4-FFF2-40B4-BE49-F238E27FC236}">
                <a16:creationId xmlns:a16="http://schemas.microsoft.com/office/drawing/2014/main" id="{770DD246-FB0F-C747-D185-2CD05284EFB7}"/>
              </a:ext>
            </a:extLst>
          </p:cNvPr>
          <p:cNvSpPr/>
          <p:nvPr/>
        </p:nvSpPr>
        <p:spPr>
          <a:xfrm>
            <a:off x="7279278" y="2106086"/>
            <a:ext cx="170701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FCC9C26-16F5-DC41-0063-6768627249B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730124" y="2818771"/>
            <a:ext cx="1015164" cy="101516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0A5DF9E-8D7D-7892-6AF3-498B235BBFB6}"/>
              </a:ext>
            </a:extLst>
          </p:cNvPr>
          <p:cNvSpPr txBox="1"/>
          <p:nvPr/>
        </p:nvSpPr>
        <p:spPr>
          <a:xfrm>
            <a:off x="914400" y="3384000"/>
            <a:ext cx="5874356" cy="1165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GB" sz="800"/>
              <a:t>Overhead and sub-sea power and data transmission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800"/>
              <a:t>架空与海底电力及数据传输解决方案</a:t>
            </a:r>
            <a:endParaRPr lang="en-US" altLang="zh-CN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endParaRPr lang="en-BE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nl-BE" sz="800"/>
              <a:t>Solutions for automotive sector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800"/>
              <a:t>面向汽车行业的创新解决方案</a:t>
            </a:r>
            <a:endParaRPr lang="en-US" altLang="zh-CN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endParaRPr lang="en-US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BE" sz="800" b="1"/>
              <a:t>Ampact™</a:t>
            </a:r>
            <a:r>
              <a:rPr lang="nl-BE" sz="800"/>
              <a:t> to optimize driving range and charging time of Evs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BE" sz="800" b="1"/>
              <a:t>Ampact™</a:t>
            </a:r>
            <a:r>
              <a:rPr lang="zh-CN" altLang="en-US" sz="800"/>
              <a:t>：优化电动汽车续航里程和充电时间</a:t>
            </a:r>
            <a:endParaRPr lang="en-US" sz="8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1581BF-96BB-E394-EA02-0D3BDDD669F9}"/>
              </a:ext>
            </a:extLst>
          </p:cNvPr>
          <p:cNvSpPr txBox="1"/>
          <p:nvPr/>
        </p:nvSpPr>
        <p:spPr>
          <a:xfrm>
            <a:off x="199356" y="2977200"/>
            <a:ext cx="75281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  <a:buClr>
                <a:schemeClr val="accent1"/>
              </a:buClr>
            </a:pPr>
            <a:r>
              <a:rPr lang="en-GB" sz="1600" b="1">
                <a:solidFill>
                  <a:schemeClr val="accent2"/>
                </a:solidFill>
                <a:latin typeface="Bekaert Headline" panose="020B0503030203020203" pitchFamily="34" charset="77"/>
              </a:rPr>
              <a:t>Transmission and performance wires </a:t>
            </a:r>
            <a:r>
              <a:rPr lang="zh-CN" altLang="en-US" sz="1600" b="1">
                <a:solidFill>
                  <a:schemeClr val="accent2"/>
                </a:solidFill>
                <a:latin typeface="Bekaert Headline" panose="020B0503030203020203" pitchFamily="34" charset="77"/>
              </a:rPr>
              <a:t>传输与高性能钢丝</a:t>
            </a:r>
            <a:endParaRPr lang="en-BE" sz="1600" b="1">
              <a:solidFill>
                <a:schemeClr val="accent2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7D1068-7407-94F7-6A8A-2C8DC7645928}"/>
              </a:ext>
            </a:extLst>
          </p:cNvPr>
          <p:cNvSpPr txBox="1"/>
          <p:nvPr/>
        </p:nvSpPr>
        <p:spPr>
          <a:xfrm>
            <a:off x="417710" y="2376152"/>
            <a:ext cx="9694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ire </a:t>
            </a:r>
            <a:b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  <a:t>reinforcement</a:t>
            </a:r>
            <a:endParaRPr lang="en-US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轮胎骨架材料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8" name="TextBox 40">
            <a:extLst>
              <a:ext uri="{FF2B5EF4-FFF2-40B4-BE49-F238E27FC236}">
                <a16:creationId xmlns:a16="http://schemas.microsoft.com/office/drawing/2014/main" id="{D754052C-C428-E469-8BBF-D865A228D09E}"/>
              </a:ext>
            </a:extLst>
          </p:cNvPr>
          <p:cNvSpPr txBox="1"/>
          <p:nvPr/>
        </p:nvSpPr>
        <p:spPr>
          <a:xfrm>
            <a:off x="1826194" y="2398733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rgbClr val="764930"/>
                </a:solidFill>
                <a:latin typeface="Bekaert Headline" panose="020B0503030203020203" pitchFamily="34" charset="77"/>
              </a:rPr>
              <a:t>Transmission and performance wires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rgbClr val="764930"/>
                </a:solidFill>
                <a:latin typeface="Bekaert Headline" panose="020B0503030203020203" pitchFamily="34" charset="77"/>
              </a:rPr>
              <a:t>传输和高性能钢丝</a:t>
            </a:r>
            <a:endParaRPr lang="en-BE" sz="700" b="1">
              <a:solidFill>
                <a:srgbClr val="764930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9" name="TextBox 39">
            <a:extLst>
              <a:ext uri="{FF2B5EF4-FFF2-40B4-BE49-F238E27FC236}">
                <a16:creationId xmlns:a16="http://schemas.microsoft.com/office/drawing/2014/main" id="{9784DEB1-04BA-1734-97C5-E02A0CA1C7F3}"/>
              </a:ext>
            </a:extLst>
          </p:cNvPr>
          <p:cNvSpPr txBox="1"/>
          <p:nvPr/>
        </p:nvSpPr>
        <p:spPr>
          <a:xfrm>
            <a:off x="3653371" y="2392250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Advanced lifting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and mooring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先进的起重和系泊解决方案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15" name="TextBox 38">
            <a:extLst>
              <a:ext uri="{FF2B5EF4-FFF2-40B4-BE49-F238E27FC236}">
                <a16:creationId xmlns:a16="http://schemas.microsoft.com/office/drawing/2014/main" id="{1DA880C6-C8C0-CF77-1CD1-7B74B1DF5C97}"/>
              </a:ext>
            </a:extLst>
          </p:cNvPr>
          <p:cNvSpPr txBox="1"/>
          <p:nvPr/>
        </p:nvSpPr>
        <p:spPr>
          <a:xfrm>
            <a:off x="5497544" y="2391431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Energy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ransi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能源转型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20" name="TextBox 37">
            <a:extLst>
              <a:ext uri="{FF2B5EF4-FFF2-40B4-BE49-F238E27FC236}">
                <a16:creationId xmlns:a16="http://schemas.microsoft.com/office/drawing/2014/main" id="{6E379191-C905-7F92-FA9D-5CC03EE42BB0}"/>
              </a:ext>
            </a:extLst>
          </p:cNvPr>
          <p:cNvSpPr txBox="1"/>
          <p:nvPr/>
        </p:nvSpPr>
        <p:spPr>
          <a:xfrm>
            <a:off x="7317806" y="2391431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Sustainable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construc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可持续建筑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9755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295E343-2A44-9C8C-B8AD-B5FA1072E1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large industrial area with lots of containers&#10;&#10;AI-generated content may be incorrect.">
            <a:extLst>
              <a:ext uri="{FF2B5EF4-FFF2-40B4-BE49-F238E27FC236}">
                <a16:creationId xmlns:a16="http://schemas.microsoft.com/office/drawing/2014/main" id="{F30A1BC2-E660-43B8-7C60-EBE78423EE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23903"/>
            <a:ext cx="9148695" cy="2856480"/>
          </a:xfrm>
          <a:prstGeom prst="rect">
            <a:avLst/>
          </a:prstGeom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D97EFA0-173F-A11A-C642-3E9A38792AF8}"/>
              </a:ext>
            </a:extLst>
          </p:cNvPr>
          <p:cNvSpPr/>
          <p:nvPr/>
        </p:nvSpPr>
        <p:spPr>
          <a:xfrm>
            <a:off x="1881000" y="2355694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EA1B67B9-CCD9-F7AA-1831-E251F84BC967}"/>
              </a:ext>
            </a:extLst>
          </p:cNvPr>
          <p:cNvSpPr/>
          <p:nvPr/>
        </p:nvSpPr>
        <p:spPr>
          <a:xfrm>
            <a:off x="5499000" y="2355693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C800B23C-2F23-E6DC-180F-817E22B26CB3}"/>
              </a:ext>
            </a:extLst>
          </p:cNvPr>
          <p:cNvSpPr/>
          <p:nvPr/>
        </p:nvSpPr>
        <p:spPr>
          <a:xfrm>
            <a:off x="7308000" y="2355693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2D7B853-92E3-228C-E312-94F569CE3F01}"/>
              </a:ext>
            </a:extLst>
          </p:cNvPr>
          <p:cNvSpPr/>
          <p:nvPr/>
        </p:nvSpPr>
        <p:spPr>
          <a:xfrm>
            <a:off x="1" y="2355695"/>
            <a:ext cx="1835999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433E4DB9-77A8-BC21-BD10-73C4EFAB4604}"/>
              </a:ext>
            </a:extLst>
          </p:cNvPr>
          <p:cNvSpPr/>
          <p:nvPr/>
        </p:nvSpPr>
        <p:spPr>
          <a:xfrm>
            <a:off x="0" y="2334474"/>
            <a:ext cx="9144000" cy="2787806"/>
          </a:xfrm>
          <a:custGeom>
            <a:avLst/>
            <a:gdLst>
              <a:gd name="connsiteX0" fmla="*/ 3801050 w 9144000"/>
              <a:gd name="connsiteY0" fmla="*/ 0 h 2787806"/>
              <a:gd name="connsiteX1" fmla="*/ 5342950 w 9144000"/>
              <a:gd name="connsiteY1" fmla="*/ 0 h 2787806"/>
              <a:gd name="connsiteX2" fmla="*/ 5454000 w 9144000"/>
              <a:gd name="connsiteY2" fmla="*/ 111050 h 2787806"/>
              <a:gd name="connsiteX3" fmla="*/ 5454000 w 9144000"/>
              <a:gd name="connsiteY3" fmla="*/ 432110 h 2787806"/>
              <a:gd name="connsiteX4" fmla="*/ 9144000 w 9144000"/>
              <a:gd name="connsiteY4" fmla="*/ 432110 h 2787806"/>
              <a:gd name="connsiteX5" fmla="*/ 9144000 w 9144000"/>
              <a:gd name="connsiteY5" fmla="*/ 2787806 h 2787806"/>
              <a:gd name="connsiteX6" fmla="*/ 0 w 9144000"/>
              <a:gd name="connsiteY6" fmla="*/ 2787806 h 2787806"/>
              <a:gd name="connsiteX7" fmla="*/ 0 w 9144000"/>
              <a:gd name="connsiteY7" fmla="*/ 432110 h 2787806"/>
              <a:gd name="connsiteX8" fmla="*/ 3690000 w 9144000"/>
              <a:gd name="connsiteY8" fmla="*/ 432110 h 2787806"/>
              <a:gd name="connsiteX9" fmla="*/ 3690000 w 9144000"/>
              <a:gd name="connsiteY9" fmla="*/ 111050 h 2787806"/>
              <a:gd name="connsiteX10" fmla="*/ 3801050 w 9144000"/>
              <a:gd name="connsiteY10" fmla="*/ 0 h 2787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2787806">
                <a:moveTo>
                  <a:pt x="3801050" y="0"/>
                </a:moveTo>
                <a:lnTo>
                  <a:pt x="5342950" y="0"/>
                </a:lnTo>
                <a:cubicBezTo>
                  <a:pt x="5404281" y="0"/>
                  <a:pt x="5454000" y="49719"/>
                  <a:pt x="5454000" y="111050"/>
                </a:cubicBezTo>
                <a:lnTo>
                  <a:pt x="5454000" y="432110"/>
                </a:lnTo>
                <a:lnTo>
                  <a:pt x="9144000" y="432110"/>
                </a:lnTo>
                <a:lnTo>
                  <a:pt x="9144000" y="2787806"/>
                </a:lnTo>
                <a:lnTo>
                  <a:pt x="0" y="2787806"/>
                </a:lnTo>
                <a:lnTo>
                  <a:pt x="0" y="432110"/>
                </a:lnTo>
                <a:lnTo>
                  <a:pt x="3690000" y="432110"/>
                </a:lnTo>
                <a:lnTo>
                  <a:pt x="3690000" y="111050"/>
                </a:lnTo>
                <a:cubicBezTo>
                  <a:pt x="3690000" y="49719"/>
                  <a:pt x="3739719" y="0"/>
                  <a:pt x="3801050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Rectangle 12">
            <a:hlinkClick r:id="rId4" action="ppaction://hlinksldjump"/>
            <a:extLst>
              <a:ext uri="{FF2B5EF4-FFF2-40B4-BE49-F238E27FC236}">
                <a16:creationId xmlns:a16="http://schemas.microsoft.com/office/drawing/2014/main" id="{758F0722-B605-8D80-7FCA-58B4960966A3}"/>
              </a:ext>
            </a:extLst>
          </p:cNvPr>
          <p:cNvSpPr/>
          <p:nvPr/>
        </p:nvSpPr>
        <p:spPr>
          <a:xfrm>
            <a:off x="198000" y="2106354"/>
            <a:ext cx="1636295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Rectangle 13">
            <a:hlinkClick r:id="rId5" action="ppaction://hlinksldjump"/>
            <a:extLst>
              <a:ext uri="{FF2B5EF4-FFF2-40B4-BE49-F238E27FC236}">
                <a16:creationId xmlns:a16="http://schemas.microsoft.com/office/drawing/2014/main" id="{447163D2-9E8F-A037-375E-3AF65BF0074D}"/>
              </a:ext>
            </a:extLst>
          </p:cNvPr>
          <p:cNvSpPr/>
          <p:nvPr/>
        </p:nvSpPr>
        <p:spPr>
          <a:xfrm>
            <a:off x="1971845" y="2124432"/>
            <a:ext cx="1693950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Rectangle 14">
            <a:hlinkClick r:id="rId6" action="ppaction://hlinksldjump"/>
            <a:extLst>
              <a:ext uri="{FF2B5EF4-FFF2-40B4-BE49-F238E27FC236}">
                <a16:creationId xmlns:a16="http://schemas.microsoft.com/office/drawing/2014/main" id="{9F0DAC60-42AB-2218-CCCB-3FCCACFE3971}"/>
              </a:ext>
            </a:extLst>
          </p:cNvPr>
          <p:cNvSpPr/>
          <p:nvPr/>
        </p:nvSpPr>
        <p:spPr>
          <a:xfrm>
            <a:off x="3743563" y="2094913"/>
            <a:ext cx="172910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ctangle 15">
            <a:hlinkClick r:id="rId7" action="ppaction://hlinksldjump"/>
            <a:extLst>
              <a:ext uri="{FF2B5EF4-FFF2-40B4-BE49-F238E27FC236}">
                <a16:creationId xmlns:a16="http://schemas.microsoft.com/office/drawing/2014/main" id="{9EF62B23-3B59-CD2A-A215-7EFD1936E7E2}"/>
              </a:ext>
            </a:extLst>
          </p:cNvPr>
          <p:cNvSpPr/>
          <p:nvPr/>
        </p:nvSpPr>
        <p:spPr>
          <a:xfrm>
            <a:off x="5587426" y="2099093"/>
            <a:ext cx="170701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Rectangle 16">
            <a:hlinkClick r:id="rId8" action="ppaction://hlinksldjump"/>
            <a:extLst>
              <a:ext uri="{FF2B5EF4-FFF2-40B4-BE49-F238E27FC236}">
                <a16:creationId xmlns:a16="http://schemas.microsoft.com/office/drawing/2014/main" id="{C09479D6-BC71-5D13-8C36-7F124CFE262F}"/>
              </a:ext>
            </a:extLst>
          </p:cNvPr>
          <p:cNvSpPr/>
          <p:nvPr/>
        </p:nvSpPr>
        <p:spPr>
          <a:xfrm>
            <a:off x="7365713" y="2119959"/>
            <a:ext cx="170701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B452052E-EA27-7693-DF9F-160CBC2E14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41748">
            <a:off x="7867118" y="2846875"/>
            <a:ext cx="947844" cy="94784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2364CD7-919C-4DB7-914F-FC0313E40456}"/>
              </a:ext>
            </a:extLst>
          </p:cNvPr>
          <p:cNvSpPr txBox="1"/>
          <p:nvPr/>
        </p:nvSpPr>
        <p:spPr>
          <a:xfrm>
            <a:off x="914400" y="3384000"/>
            <a:ext cx="6380043" cy="10647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GB" sz="1000" b="1"/>
              <a:t>Bridon® </a:t>
            </a:r>
            <a:r>
              <a:rPr lang="zh-CN" altLang="en-US" sz="1000" b="1"/>
              <a:t>布顿</a:t>
            </a:r>
            <a:r>
              <a:rPr lang="en-GB" sz="1000" b="1"/>
              <a:t>®</a:t>
            </a:r>
            <a:br>
              <a:rPr lang="en-GB" sz="800"/>
            </a:br>
            <a:r>
              <a:rPr lang="en-GB" sz="800"/>
              <a:t>steel ropes for use under the harshest conditions</a:t>
            </a:r>
            <a:br>
              <a:rPr lang="en-GB" sz="800"/>
            </a:br>
            <a:r>
              <a:rPr lang="zh-CN" altLang="en-US" sz="800"/>
              <a:t>高性能钢丝绳，无惧极端工况考验</a:t>
            </a:r>
            <a:endParaRPr lang="en-GB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GB" sz="1000" b="1" err="1"/>
              <a:t>Bexco</a:t>
            </a:r>
            <a:r>
              <a:rPr lang="en-GB" sz="1000" b="1"/>
              <a:t>®</a:t>
            </a:r>
            <a:r>
              <a:rPr lang="en-GB" sz="1000"/>
              <a:t> </a:t>
            </a:r>
            <a:br>
              <a:rPr lang="en-GB" sz="800"/>
            </a:br>
            <a:r>
              <a:rPr lang="en-GB" sz="800"/>
              <a:t>synthetic ropes </a:t>
            </a:r>
            <a:r>
              <a:rPr lang="en-US" sz="800"/>
              <a:t>for offshore energy and marine applications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800"/>
              <a:t>合成纤维绳， 为海上能源与海洋应用领域提供专业支持</a:t>
            </a:r>
            <a:endParaRPr lang="en-US" sz="8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48D51D8-C3D2-9992-3217-09BCB3D15A1A}"/>
              </a:ext>
            </a:extLst>
          </p:cNvPr>
          <p:cNvSpPr txBox="1"/>
          <p:nvPr/>
        </p:nvSpPr>
        <p:spPr>
          <a:xfrm>
            <a:off x="198000" y="2975805"/>
            <a:ext cx="71269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  <a:buClr>
                <a:schemeClr val="accent1"/>
              </a:buClr>
            </a:pPr>
            <a:r>
              <a:rPr lang="en-GB" sz="1600" b="1">
                <a:solidFill>
                  <a:schemeClr val="accent2"/>
                </a:solidFill>
                <a:latin typeface="Bekaert Headline" panose="020B0503030203020203" pitchFamily="34" charset="77"/>
              </a:rPr>
              <a:t>Advanced lifting and mooring </a:t>
            </a:r>
            <a:r>
              <a:rPr lang="zh-CN" altLang="en-US" sz="1600" b="1">
                <a:solidFill>
                  <a:schemeClr val="accent2"/>
                </a:solidFill>
                <a:latin typeface="Bekaert Headline" panose="020B0503030203020203" pitchFamily="34" charset="77"/>
              </a:rPr>
              <a:t>先进的起重和系泊解决方案</a:t>
            </a:r>
            <a:endParaRPr lang="en-BE" sz="1600" b="1">
              <a:solidFill>
                <a:schemeClr val="accent2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16307A-C2DA-0E2D-46F3-CE08D36F9CBE}"/>
              </a:ext>
            </a:extLst>
          </p:cNvPr>
          <p:cNvSpPr txBox="1"/>
          <p:nvPr/>
        </p:nvSpPr>
        <p:spPr>
          <a:xfrm>
            <a:off x="417710" y="2376152"/>
            <a:ext cx="9694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ire </a:t>
            </a:r>
            <a:b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  <a:t>reinforcement</a:t>
            </a:r>
            <a:endParaRPr lang="en-US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轮胎骨架材料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5" name="TextBox 40">
            <a:extLst>
              <a:ext uri="{FF2B5EF4-FFF2-40B4-BE49-F238E27FC236}">
                <a16:creationId xmlns:a16="http://schemas.microsoft.com/office/drawing/2014/main" id="{1B6307D5-9081-7E28-89A9-D6E6910DA90E}"/>
              </a:ext>
            </a:extLst>
          </p:cNvPr>
          <p:cNvSpPr txBox="1"/>
          <p:nvPr/>
        </p:nvSpPr>
        <p:spPr>
          <a:xfrm>
            <a:off x="1826194" y="2398733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ransmission and performance wires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传输和高性能钢丝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8" name="TextBox 39">
            <a:extLst>
              <a:ext uri="{FF2B5EF4-FFF2-40B4-BE49-F238E27FC236}">
                <a16:creationId xmlns:a16="http://schemas.microsoft.com/office/drawing/2014/main" id="{875591C2-07AD-ED22-0F97-FEABF03C09AD}"/>
              </a:ext>
            </a:extLst>
          </p:cNvPr>
          <p:cNvSpPr txBox="1"/>
          <p:nvPr/>
        </p:nvSpPr>
        <p:spPr>
          <a:xfrm>
            <a:off x="3653371" y="2392250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rgbClr val="764930"/>
                </a:solidFill>
                <a:latin typeface="Bekaert Headline" panose="020B0503030203020203" pitchFamily="34" charset="77"/>
              </a:rPr>
              <a:t>Advanced lifting </a:t>
            </a:r>
            <a:br>
              <a:rPr lang="en-GB" sz="700" b="1">
                <a:solidFill>
                  <a:srgbClr val="764930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rgbClr val="764930"/>
                </a:solidFill>
                <a:latin typeface="Bekaert Headline" panose="020B0503030203020203" pitchFamily="34" charset="77"/>
              </a:rPr>
              <a:t>and mooring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rgbClr val="764930"/>
                </a:solidFill>
                <a:latin typeface="Bekaert Headline" panose="020B0503030203020203" pitchFamily="34" charset="77"/>
              </a:rPr>
              <a:t>先进的起重和系泊解决方案</a:t>
            </a:r>
            <a:endParaRPr lang="en-BE" sz="700" b="1">
              <a:solidFill>
                <a:srgbClr val="764930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9" name="TextBox 38">
            <a:extLst>
              <a:ext uri="{FF2B5EF4-FFF2-40B4-BE49-F238E27FC236}">
                <a16:creationId xmlns:a16="http://schemas.microsoft.com/office/drawing/2014/main" id="{C8D94259-E0B0-107E-F22E-49AEC04FC5D0}"/>
              </a:ext>
            </a:extLst>
          </p:cNvPr>
          <p:cNvSpPr txBox="1"/>
          <p:nvPr/>
        </p:nvSpPr>
        <p:spPr>
          <a:xfrm>
            <a:off x="5497544" y="2391431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Energy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ransi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能源转型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10" name="TextBox 37">
            <a:extLst>
              <a:ext uri="{FF2B5EF4-FFF2-40B4-BE49-F238E27FC236}">
                <a16:creationId xmlns:a16="http://schemas.microsoft.com/office/drawing/2014/main" id="{58DCC767-9D71-5901-9DC6-4B91B668B0E1}"/>
              </a:ext>
            </a:extLst>
          </p:cNvPr>
          <p:cNvSpPr txBox="1"/>
          <p:nvPr/>
        </p:nvSpPr>
        <p:spPr>
          <a:xfrm>
            <a:off x="7317806" y="2391431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Sustainable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construc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可持续建筑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43935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7E3BAAB-1107-8C17-8BDA-9B11697A7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wind turbine&#10;&#10;AI-generated content may be incorrect.">
            <a:extLst>
              <a:ext uri="{FF2B5EF4-FFF2-40B4-BE49-F238E27FC236}">
                <a16:creationId xmlns:a16="http://schemas.microsoft.com/office/drawing/2014/main" id="{C48F1375-9ED9-D423-0721-2BFA52F92E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8003"/>
            <a:ext cx="9154979" cy="2860931"/>
          </a:xfrm>
          <a:prstGeom prst="rect">
            <a:avLst/>
          </a:prstGeom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1B1B774F-42B1-00D9-53E7-EB8881B7AC30}"/>
              </a:ext>
            </a:extLst>
          </p:cNvPr>
          <p:cNvSpPr/>
          <p:nvPr/>
        </p:nvSpPr>
        <p:spPr>
          <a:xfrm>
            <a:off x="1881000" y="2355694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3A73FB6B-84C8-769D-4FED-7F6AA071AB0E}"/>
              </a:ext>
            </a:extLst>
          </p:cNvPr>
          <p:cNvSpPr/>
          <p:nvPr/>
        </p:nvSpPr>
        <p:spPr>
          <a:xfrm>
            <a:off x="3690000" y="2355694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FB5310EB-6E21-180D-2839-F7D203954A89}"/>
              </a:ext>
            </a:extLst>
          </p:cNvPr>
          <p:cNvSpPr/>
          <p:nvPr/>
        </p:nvSpPr>
        <p:spPr>
          <a:xfrm>
            <a:off x="7308000" y="2355693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4550A7C8-9970-1FC5-8344-13A549A7CC7E}"/>
              </a:ext>
            </a:extLst>
          </p:cNvPr>
          <p:cNvSpPr/>
          <p:nvPr/>
        </p:nvSpPr>
        <p:spPr>
          <a:xfrm>
            <a:off x="1" y="2355695"/>
            <a:ext cx="1835999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C45CAF3B-FAA2-6183-EB40-0587A9AAD5DD}"/>
              </a:ext>
            </a:extLst>
          </p:cNvPr>
          <p:cNvSpPr/>
          <p:nvPr/>
        </p:nvSpPr>
        <p:spPr>
          <a:xfrm>
            <a:off x="0" y="2355693"/>
            <a:ext cx="9144000" cy="2787807"/>
          </a:xfrm>
          <a:custGeom>
            <a:avLst/>
            <a:gdLst>
              <a:gd name="connsiteX0" fmla="*/ 5610050 w 9144000"/>
              <a:gd name="connsiteY0" fmla="*/ 0 h 2787807"/>
              <a:gd name="connsiteX1" fmla="*/ 7151950 w 9144000"/>
              <a:gd name="connsiteY1" fmla="*/ 0 h 2787807"/>
              <a:gd name="connsiteX2" fmla="*/ 7263000 w 9144000"/>
              <a:gd name="connsiteY2" fmla="*/ 111050 h 2787807"/>
              <a:gd name="connsiteX3" fmla="*/ 7263000 w 9144000"/>
              <a:gd name="connsiteY3" fmla="*/ 432111 h 2787807"/>
              <a:gd name="connsiteX4" fmla="*/ 9144000 w 9144000"/>
              <a:gd name="connsiteY4" fmla="*/ 432111 h 2787807"/>
              <a:gd name="connsiteX5" fmla="*/ 9144000 w 9144000"/>
              <a:gd name="connsiteY5" fmla="*/ 2787807 h 2787807"/>
              <a:gd name="connsiteX6" fmla="*/ 0 w 9144000"/>
              <a:gd name="connsiteY6" fmla="*/ 2787807 h 2787807"/>
              <a:gd name="connsiteX7" fmla="*/ 0 w 9144000"/>
              <a:gd name="connsiteY7" fmla="*/ 432111 h 2787807"/>
              <a:gd name="connsiteX8" fmla="*/ 5499000 w 9144000"/>
              <a:gd name="connsiteY8" fmla="*/ 432111 h 2787807"/>
              <a:gd name="connsiteX9" fmla="*/ 5499000 w 9144000"/>
              <a:gd name="connsiteY9" fmla="*/ 111050 h 2787807"/>
              <a:gd name="connsiteX10" fmla="*/ 5610050 w 9144000"/>
              <a:gd name="connsiteY10" fmla="*/ 0 h 2787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2787807">
                <a:moveTo>
                  <a:pt x="5610050" y="0"/>
                </a:moveTo>
                <a:lnTo>
                  <a:pt x="7151950" y="0"/>
                </a:lnTo>
                <a:cubicBezTo>
                  <a:pt x="7213281" y="0"/>
                  <a:pt x="7263000" y="49719"/>
                  <a:pt x="7263000" y="111050"/>
                </a:cubicBezTo>
                <a:lnTo>
                  <a:pt x="7263000" y="432111"/>
                </a:lnTo>
                <a:lnTo>
                  <a:pt x="9144000" y="432111"/>
                </a:lnTo>
                <a:lnTo>
                  <a:pt x="9144000" y="2787807"/>
                </a:lnTo>
                <a:lnTo>
                  <a:pt x="0" y="2787807"/>
                </a:lnTo>
                <a:lnTo>
                  <a:pt x="0" y="432111"/>
                </a:lnTo>
                <a:lnTo>
                  <a:pt x="5499000" y="432111"/>
                </a:lnTo>
                <a:lnTo>
                  <a:pt x="5499000" y="111050"/>
                </a:lnTo>
                <a:cubicBezTo>
                  <a:pt x="5499000" y="49719"/>
                  <a:pt x="5548719" y="0"/>
                  <a:pt x="5610050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Rectangle 12">
            <a:hlinkClick r:id="rId4" action="ppaction://hlinksldjump"/>
            <a:extLst>
              <a:ext uri="{FF2B5EF4-FFF2-40B4-BE49-F238E27FC236}">
                <a16:creationId xmlns:a16="http://schemas.microsoft.com/office/drawing/2014/main" id="{3478E62B-29EB-6BF6-994B-4CDD2FABEB48}"/>
              </a:ext>
            </a:extLst>
          </p:cNvPr>
          <p:cNvSpPr/>
          <p:nvPr/>
        </p:nvSpPr>
        <p:spPr>
          <a:xfrm>
            <a:off x="123099" y="2063316"/>
            <a:ext cx="1636295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Rectangle 13">
            <a:hlinkClick r:id="rId5" action="ppaction://hlinksldjump"/>
            <a:extLst>
              <a:ext uri="{FF2B5EF4-FFF2-40B4-BE49-F238E27FC236}">
                <a16:creationId xmlns:a16="http://schemas.microsoft.com/office/drawing/2014/main" id="{60D628A3-AE21-49FE-DF5D-DA1BC3EAC489}"/>
              </a:ext>
            </a:extLst>
          </p:cNvPr>
          <p:cNvSpPr/>
          <p:nvPr/>
        </p:nvSpPr>
        <p:spPr>
          <a:xfrm>
            <a:off x="1916025" y="2105952"/>
            <a:ext cx="1693950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Rectangle 14">
            <a:hlinkClick r:id="rId6" action="ppaction://hlinksldjump"/>
            <a:extLst>
              <a:ext uri="{FF2B5EF4-FFF2-40B4-BE49-F238E27FC236}">
                <a16:creationId xmlns:a16="http://schemas.microsoft.com/office/drawing/2014/main" id="{D414D8D0-918F-2C32-77E0-8827EAB1227B}"/>
              </a:ext>
            </a:extLst>
          </p:cNvPr>
          <p:cNvSpPr/>
          <p:nvPr/>
        </p:nvSpPr>
        <p:spPr>
          <a:xfrm>
            <a:off x="3757463" y="2157244"/>
            <a:ext cx="172910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ctangle 15">
            <a:hlinkClick r:id="rId7" action="ppaction://hlinksldjump"/>
            <a:extLst>
              <a:ext uri="{FF2B5EF4-FFF2-40B4-BE49-F238E27FC236}">
                <a16:creationId xmlns:a16="http://schemas.microsoft.com/office/drawing/2014/main" id="{A345B6D1-1274-CDDE-D0E7-88EA94CA6B07}"/>
              </a:ext>
            </a:extLst>
          </p:cNvPr>
          <p:cNvSpPr/>
          <p:nvPr/>
        </p:nvSpPr>
        <p:spPr>
          <a:xfrm>
            <a:off x="5528987" y="2124945"/>
            <a:ext cx="170701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Rectangle 16">
            <a:hlinkClick r:id="rId8" action="ppaction://hlinksldjump"/>
            <a:extLst>
              <a:ext uri="{FF2B5EF4-FFF2-40B4-BE49-F238E27FC236}">
                <a16:creationId xmlns:a16="http://schemas.microsoft.com/office/drawing/2014/main" id="{F486CE7D-1B55-FDF3-A6EC-4BA7D43CB72B}"/>
              </a:ext>
            </a:extLst>
          </p:cNvPr>
          <p:cNvSpPr/>
          <p:nvPr/>
        </p:nvSpPr>
        <p:spPr>
          <a:xfrm>
            <a:off x="7336493" y="2189920"/>
            <a:ext cx="170701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056CAF5-C92A-EE85-9850-65DC356604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0666748">
            <a:off x="7827369" y="2844570"/>
            <a:ext cx="1001354" cy="100135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230B121-E0E7-739C-885C-A1B40527B1E6}"/>
              </a:ext>
            </a:extLst>
          </p:cNvPr>
          <p:cNvSpPr txBox="1"/>
          <p:nvPr/>
        </p:nvSpPr>
        <p:spPr>
          <a:xfrm>
            <a:off x="199357" y="2975805"/>
            <a:ext cx="4510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  <a:buClr>
                <a:schemeClr val="accent1"/>
              </a:buClr>
            </a:pPr>
            <a:r>
              <a:rPr lang="en-GB" sz="1600" b="1">
                <a:solidFill>
                  <a:schemeClr val="accent2"/>
                </a:solidFill>
                <a:latin typeface="Bekaert Headline" panose="020B0503030203020203" pitchFamily="34" charset="77"/>
              </a:rPr>
              <a:t>Energy transition </a:t>
            </a:r>
            <a:r>
              <a:rPr lang="zh-CN" altLang="en-US" sz="1600" b="1">
                <a:solidFill>
                  <a:schemeClr val="accent2"/>
                </a:solidFill>
                <a:latin typeface="Bekaert Headline" panose="020B0503030203020203" pitchFamily="34" charset="77"/>
              </a:rPr>
              <a:t>能源转型</a:t>
            </a:r>
            <a:endParaRPr lang="en-BE" sz="1600" b="1">
              <a:solidFill>
                <a:schemeClr val="accent2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4" name="TextBox 12">
            <a:extLst>
              <a:ext uri="{FF2B5EF4-FFF2-40B4-BE49-F238E27FC236}">
                <a16:creationId xmlns:a16="http://schemas.microsoft.com/office/drawing/2014/main" id="{DC1824F1-F8B7-60D1-D664-4E3C404E7257}"/>
              </a:ext>
            </a:extLst>
          </p:cNvPr>
          <p:cNvSpPr txBox="1"/>
          <p:nvPr/>
        </p:nvSpPr>
        <p:spPr>
          <a:xfrm>
            <a:off x="914399" y="3384980"/>
            <a:ext cx="8157601" cy="17070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US" sz="800" b="1" err="1"/>
              <a:t>Currento</a:t>
            </a:r>
            <a:r>
              <a:rPr lang="en-US" sz="800"/>
              <a:t>® </a:t>
            </a:r>
            <a:r>
              <a:rPr lang="en-BE" sz="800"/>
              <a:t>p</a:t>
            </a:r>
            <a:r>
              <a:rPr lang="en-US" sz="800" err="1"/>
              <a:t>orous</a:t>
            </a:r>
            <a:r>
              <a:rPr lang="en-US" sz="800"/>
              <a:t> transport layers for green hydrogen electrolysis applications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US" sz="800" b="1" err="1"/>
              <a:t>Currento</a:t>
            </a:r>
            <a:r>
              <a:rPr lang="en-US" sz="800"/>
              <a:t>® </a:t>
            </a:r>
            <a:r>
              <a:rPr lang="zh-CN" altLang="en-US" sz="800"/>
              <a:t>多空隙传输介质，专为打造更耐久、更高效的绿色氢能电解应用而设计</a:t>
            </a:r>
            <a:r>
              <a:rPr lang="en-US" sz="800"/>
              <a:t> 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endParaRPr lang="en-US" sz="4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US" sz="800"/>
              <a:t>High-end filtration applications and solutions for automotive glass bending and comfort heating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800"/>
              <a:t>高端过滤应用以及汽车玻璃弯曲成型、舒适加热的创新解决方案</a:t>
            </a:r>
            <a:endParaRPr lang="en-US" altLang="zh-CN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endParaRPr lang="en-US" sz="4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US" sz="800"/>
              <a:t>High precision cutting applications in solar &amp; </a:t>
            </a:r>
            <a:r>
              <a:rPr lang="en-US" sz="800" err="1"/>
              <a:t>semicon</a:t>
            </a:r>
            <a:r>
              <a:rPr lang="en-US" sz="800"/>
              <a:t> wafering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800"/>
              <a:t>太阳能与半导体晶圆领域的高精度切割应用</a:t>
            </a:r>
            <a:endParaRPr lang="en-US" altLang="zh-CN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endParaRPr lang="en-US" sz="4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US" sz="800"/>
              <a:t>Burners and heat exchangers for environment-friendly heating solutions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800"/>
              <a:t>燃烧器与热交换器，为家庭、商业及工业领域提供环保的高效供热解决方案</a:t>
            </a:r>
            <a:endParaRPr lang="en-US" altLang="zh-CN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endParaRPr lang="en-US" sz="4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US" sz="800"/>
              <a:t>Reinforcement for high pressure hydraulic hoses and high-end belts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800"/>
              <a:t>高压液压软管及高端同步带用增强材料</a:t>
            </a:r>
            <a:endParaRPr lang="en-US" sz="8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45FB6FF-FF98-5674-C276-524E1998D7A4}"/>
              </a:ext>
            </a:extLst>
          </p:cNvPr>
          <p:cNvSpPr txBox="1"/>
          <p:nvPr/>
        </p:nvSpPr>
        <p:spPr>
          <a:xfrm>
            <a:off x="417710" y="2376152"/>
            <a:ext cx="9694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ire </a:t>
            </a:r>
            <a:b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  <a:t>reinforcement</a:t>
            </a:r>
            <a:endParaRPr lang="en-US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轮胎骨架材料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6" name="TextBox 40">
            <a:extLst>
              <a:ext uri="{FF2B5EF4-FFF2-40B4-BE49-F238E27FC236}">
                <a16:creationId xmlns:a16="http://schemas.microsoft.com/office/drawing/2014/main" id="{0B7E0F35-DE50-AC9E-8142-527B2D188D4F}"/>
              </a:ext>
            </a:extLst>
          </p:cNvPr>
          <p:cNvSpPr txBox="1"/>
          <p:nvPr/>
        </p:nvSpPr>
        <p:spPr>
          <a:xfrm>
            <a:off x="1826194" y="2398733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ransmission and performance wires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传输和高性能钢丝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8" name="TextBox 39">
            <a:extLst>
              <a:ext uri="{FF2B5EF4-FFF2-40B4-BE49-F238E27FC236}">
                <a16:creationId xmlns:a16="http://schemas.microsoft.com/office/drawing/2014/main" id="{116CF2D3-04C8-5541-E3BE-E765F78950AA}"/>
              </a:ext>
            </a:extLst>
          </p:cNvPr>
          <p:cNvSpPr txBox="1"/>
          <p:nvPr/>
        </p:nvSpPr>
        <p:spPr>
          <a:xfrm>
            <a:off x="3653371" y="2392250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Advanced lifting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and mooring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先进的起重和系泊解决方案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9" name="TextBox 38">
            <a:extLst>
              <a:ext uri="{FF2B5EF4-FFF2-40B4-BE49-F238E27FC236}">
                <a16:creationId xmlns:a16="http://schemas.microsoft.com/office/drawing/2014/main" id="{22EBAC6C-2185-E6A7-DF75-B9E298177C69}"/>
              </a:ext>
            </a:extLst>
          </p:cNvPr>
          <p:cNvSpPr txBox="1"/>
          <p:nvPr/>
        </p:nvSpPr>
        <p:spPr>
          <a:xfrm>
            <a:off x="5497544" y="2391431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rgbClr val="764930"/>
                </a:solidFill>
                <a:latin typeface="Bekaert Headline" panose="020B0503030203020203" pitchFamily="34" charset="77"/>
              </a:rPr>
              <a:t>Energy </a:t>
            </a:r>
            <a:br>
              <a:rPr lang="en-GB" sz="700" b="1">
                <a:solidFill>
                  <a:srgbClr val="764930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rgbClr val="764930"/>
                </a:solidFill>
                <a:latin typeface="Bekaert Headline" panose="020B0503030203020203" pitchFamily="34" charset="77"/>
              </a:rPr>
              <a:t>transi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rgbClr val="764930"/>
                </a:solidFill>
                <a:latin typeface="Bekaert Headline" panose="020B0503030203020203" pitchFamily="34" charset="77"/>
              </a:rPr>
              <a:t>能源转型</a:t>
            </a:r>
            <a:endParaRPr lang="en-BE" sz="700" b="1">
              <a:solidFill>
                <a:srgbClr val="764930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10" name="TextBox 37">
            <a:extLst>
              <a:ext uri="{FF2B5EF4-FFF2-40B4-BE49-F238E27FC236}">
                <a16:creationId xmlns:a16="http://schemas.microsoft.com/office/drawing/2014/main" id="{F6DCBCCF-5AF3-12F2-D4C3-A79D7C7E115F}"/>
              </a:ext>
            </a:extLst>
          </p:cNvPr>
          <p:cNvSpPr txBox="1"/>
          <p:nvPr/>
        </p:nvSpPr>
        <p:spPr>
          <a:xfrm>
            <a:off x="7317806" y="2391431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Sustainable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construc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可持续建筑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5863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37D239-63D2-3A73-1293-CEDF8CD0A4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wearing a hard hat&#10;&#10;AI-generated content may be incorrect.">
            <a:extLst>
              <a:ext uri="{FF2B5EF4-FFF2-40B4-BE49-F238E27FC236}">
                <a16:creationId xmlns:a16="http://schemas.microsoft.com/office/drawing/2014/main" id="{C0DA22CB-145C-9087-2DB6-3480D2C5C66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1" y="0"/>
            <a:ext cx="9152552" cy="2787807"/>
          </a:xfrm>
          <a:prstGeom prst="rect">
            <a:avLst/>
          </a:prstGeom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86C7AA3-6E5C-B83B-9F55-E58B2377DC09}"/>
              </a:ext>
            </a:extLst>
          </p:cNvPr>
          <p:cNvSpPr/>
          <p:nvPr/>
        </p:nvSpPr>
        <p:spPr>
          <a:xfrm>
            <a:off x="1881000" y="2355694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93E70BA9-33A2-6730-DD63-039E896D1E3C}"/>
              </a:ext>
            </a:extLst>
          </p:cNvPr>
          <p:cNvSpPr/>
          <p:nvPr/>
        </p:nvSpPr>
        <p:spPr>
          <a:xfrm>
            <a:off x="3690000" y="2355694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35F7A63D-0E4C-5ACB-26E8-C6CA0496149E}"/>
              </a:ext>
            </a:extLst>
          </p:cNvPr>
          <p:cNvSpPr/>
          <p:nvPr/>
        </p:nvSpPr>
        <p:spPr>
          <a:xfrm>
            <a:off x="5499000" y="2355693"/>
            <a:ext cx="1764000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D302501-E647-807A-F1F0-F7160B2DC423}"/>
              </a:ext>
            </a:extLst>
          </p:cNvPr>
          <p:cNvSpPr/>
          <p:nvPr/>
        </p:nvSpPr>
        <p:spPr>
          <a:xfrm>
            <a:off x="1" y="2355695"/>
            <a:ext cx="1835999" cy="6662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424F328E-F36D-3E10-0A8C-E41A04075A5E}"/>
              </a:ext>
            </a:extLst>
          </p:cNvPr>
          <p:cNvSpPr/>
          <p:nvPr/>
        </p:nvSpPr>
        <p:spPr>
          <a:xfrm>
            <a:off x="8551" y="2376152"/>
            <a:ext cx="9144000" cy="2787807"/>
          </a:xfrm>
          <a:custGeom>
            <a:avLst/>
            <a:gdLst>
              <a:gd name="connsiteX0" fmla="*/ 7419050 w 9144000"/>
              <a:gd name="connsiteY0" fmla="*/ 0 h 2787807"/>
              <a:gd name="connsiteX1" fmla="*/ 8960950 w 9144000"/>
              <a:gd name="connsiteY1" fmla="*/ 0 h 2787807"/>
              <a:gd name="connsiteX2" fmla="*/ 9072000 w 9144000"/>
              <a:gd name="connsiteY2" fmla="*/ 111050 h 2787807"/>
              <a:gd name="connsiteX3" fmla="*/ 9072000 w 9144000"/>
              <a:gd name="connsiteY3" fmla="*/ 432111 h 2787807"/>
              <a:gd name="connsiteX4" fmla="*/ 9144000 w 9144000"/>
              <a:gd name="connsiteY4" fmla="*/ 432111 h 2787807"/>
              <a:gd name="connsiteX5" fmla="*/ 9144000 w 9144000"/>
              <a:gd name="connsiteY5" fmla="*/ 2787807 h 2787807"/>
              <a:gd name="connsiteX6" fmla="*/ 0 w 9144000"/>
              <a:gd name="connsiteY6" fmla="*/ 2787807 h 2787807"/>
              <a:gd name="connsiteX7" fmla="*/ 0 w 9144000"/>
              <a:gd name="connsiteY7" fmla="*/ 432111 h 2787807"/>
              <a:gd name="connsiteX8" fmla="*/ 7308000 w 9144000"/>
              <a:gd name="connsiteY8" fmla="*/ 432111 h 2787807"/>
              <a:gd name="connsiteX9" fmla="*/ 7308000 w 9144000"/>
              <a:gd name="connsiteY9" fmla="*/ 111050 h 2787807"/>
              <a:gd name="connsiteX10" fmla="*/ 7419050 w 9144000"/>
              <a:gd name="connsiteY10" fmla="*/ 0 h 2787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2787807">
                <a:moveTo>
                  <a:pt x="7419050" y="0"/>
                </a:moveTo>
                <a:lnTo>
                  <a:pt x="8960950" y="0"/>
                </a:lnTo>
                <a:cubicBezTo>
                  <a:pt x="9022281" y="0"/>
                  <a:pt x="9072000" y="49719"/>
                  <a:pt x="9072000" y="111050"/>
                </a:cubicBezTo>
                <a:lnTo>
                  <a:pt x="9072000" y="432111"/>
                </a:lnTo>
                <a:lnTo>
                  <a:pt x="9144000" y="432111"/>
                </a:lnTo>
                <a:lnTo>
                  <a:pt x="9144000" y="2787807"/>
                </a:lnTo>
                <a:lnTo>
                  <a:pt x="0" y="2787807"/>
                </a:lnTo>
                <a:lnTo>
                  <a:pt x="0" y="432111"/>
                </a:lnTo>
                <a:lnTo>
                  <a:pt x="7308000" y="432111"/>
                </a:lnTo>
                <a:lnTo>
                  <a:pt x="7308000" y="111050"/>
                </a:lnTo>
                <a:cubicBezTo>
                  <a:pt x="7308000" y="49719"/>
                  <a:pt x="7357719" y="0"/>
                  <a:pt x="7419050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Rectangle 5">
            <a:hlinkClick r:id="rId4" action="ppaction://hlinksldjump"/>
            <a:extLst>
              <a:ext uri="{FF2B5EF4-FFF2-40B4-BE49-F238E27FC236}">
                <a16:creationId xmlns:a16="http://schemas.microsoft.com/office/drawing/2014/main" id="{70E14E50-5DC9-5196-E30A-FD1D57F380A1}"/>
              </a:ext>
            </a:extLst>
          </p:cNvPr>
          <p:cNvSpPr/>
          <p:nvPr/>
        </p:nvSpPr>
        <p:spPr>
          <a:xfrm>
            <a:off x="126555" y="2107967"/>
            <a:ext cx="1636295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tangle 6">
            <a:hlinkClick r:id="rId5" action="ppaction://hlinksldjump"/>
            <a:extLst>
              <a:ext uri="{FF2B5EF4-FFF2-40B4-BE49-F238E27FC236}">
                <a16:creationId xmlns:a16="http://schemas.microsoft.com/office/drawing/2014/main" id="{0CD1E76A-B6A6-9F87-6103-C05D8F1035F4}"/>
              </a:ext>
            </a:extLst>
          </p:cNvPr>
          <p:cNvSpPr/>
          <p:nvPr/>
        </p:nvSpPr>
        <p:spPr>
          <a:xfrm>
            <a:off x="1990105" y="2104958"/>
            <a:ext cx="1693950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Rectangle 7">
            <a:hlinkClick r:id="rId6" action="ppaction://hlinksldjump"/>
            <a:extLst>
              <a:ext uri="{FF2B5EF4-FFF2-40B4-BE49-F238E27FC236}">
                <a16:creationId xmlns:a16="http://schemas.microsoft.com/office/drawing/2014/main" id="{508C7674-00CB-AB26-4E50-E7B418F385BB}"/>
              </a:ext>
            </a:extLst>
          </p:cNvPr>
          <p:cNvSpPr/>
          <p:nvPr/>
        </p:nvSpPr>
        <p:spPr>
          <a:xfrm>
            <a:off x="3773144" y="2107966"/>
            <a:ext cx="172910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Rectangle 8">
            <a:hlinkClick r:id="rId7" action="ppaction://hlinksldjump"/>
            <a:extLst>
              <a:ext uri="{FF2B5EF4-FFF2-40B4-BE49-F238E27FC236}">
                <a16:creationId xmlns:a16="http://schemas.microsoft.com/office/drawing/2014/main" id="{33FEFDF7-A0CB-CDDC-6B84-CD7422D72995}"/>
              </a:ext>
            </a:extLst>
          </p:cNvPr>
          <p:cNvSpPr/>
          <p:nvPr/>
        </p:nvSpPr>
        <p:spPr>
          <a:xfrm>
            <a:off x="5603106" y="2089615"/>
            <a:ext cx="170701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Rectangle 9">
            <a:hlinkClick r:id="rId8" action="ppaction://hlinksldjump"/>
            <a:extLst>
              <a:ext uri="{FF2B5EF4-FFF2-40B4-BE49-F238E27FC236}">
                <a16:creationId xmlns:a16="http://schemas.microsoft.com/office/drawing/2014/main" id="{F3760946-451E-F3CA-7F8B-EC839CD20E81}"/>
              </a:ext>
            </a:extLst>
          </p:cNvPr>
          <p:cNvSpPr/>
          <p:nvPr/>
        </p:nvSpPr>
        <p:spPr>
          <a:xfrm>
            <a:off x="7310432" y="2098784"/>
            <a:ext cx="1707013" cy="708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40A72EE-8CC5-C667-FE36-A04731BA3BAE}"/>
              </a:ext>
            </a:extLst>
          </p:cNvPr>
          <p:cNvSpPr txBox="1"/>
          <p:nvPr/>
        </p:nvSpPr>
        <p:spPr>
          <a:xfrm>
            <a:off x="199357" y="2977200"/>
            <a:ext cx="4510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  <a:buClr>
                <a:schemeClr val="accent1"/>
              </a:buClr>
            </a:pPr>
            <a:r>
              <a:rPr lang="en-GB" sz="1600" b="1">
                <a:solidFill>
                  <a:schemeClr val="accent2"/>
                </a:solidFill>
                <a:latin typeface="Bekaert Headline" panose="020B0503030203020203" pitchFamily="34" charset="77"/>
              </a:rPr>
              <a:t>Sustainable construction </a:t>
            </a:r>
            <a:r>
              <a:rPr lang="zh-CN" altLang="en-US" sz="1600" b="1">
                <a:solidFill>
                  <a:schemeClr val="accent2"/>
                </a:solidFill>
                <a:latin typeface="Bekaert Headline" panose="020B0503030203020203" pitchFamily="34" charset="77"/>
              </a:rPr>
              <a:t>可持续建筑</a:t>
            </a:r>
            <a:endParaRPr lang="en-BE" sz="1600" b="1">
              <a:solidFill>
                <a:schemeClr val="accent2"/>
              </a:solidFill>
              <a:latin typeface="Bekaert Headline" panose="020B0503030203020203" pitchFamily="34" charset="77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E969029-78BF-7995-9A67-26EE124DCF2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26820" y="2950489"/>
            <a:ext cx="1015164" cy="101516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D712E10-1B08-1E23-8925-0F037491AB67}"/>
              </a:ext>
            </a:extLst>
          </p:cNvPr>
          <p:cNvSpPr txBox="1"/>
          <p:nvPr/>
        </p:nvSpPr>
        <p:spPr>
          <a:xfrm>
            <a:off x="914400" y="3384000"/>
            <a:ext cx="6328292" cy="13705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US" sz="800"/>
              <a:t>From </a:t>
            </a:r>
            <a:r>
              <a:rPr lang="en-US" sz="800" err="1"/>
              <a:t>Dramix</a:t>
            </a:r>
            <a:r>
              <a:rPr lang="en-GB" sz="800"/>
              <a:t>®</a:t>
            </a:r>
            <a:r>
              <a:rPr lang="en-US" sz="800"/>
              <a:t> (steel fiber concrete reinforcement) to </a:t>
            </a:r>
            <a:r>
              <a:rPr lang="en-US" sz="800" err="1"/>
              <a:t>Murfor</a:t>
            </a:r>
            <a:r>
              <a:rPr lang="en-GB" sz="800"/>
              <a:t>®</a:t>
            </a:r>
            <a:r>
              <a:rPr lang="en-US" sz="800"/>
              <a:t> Compact (masonry reinforcement)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800"/>
              <a:t>从</a:t>
            </a:r>
            <a:r>
              <a:rPr lang="en-US" sz="800"/>
              <a:t> </a:t>
            </a:r>
            <a:r>
              <a:rPr lang="en-US" sz="800" err="1"/>
              <a:t>Dramix</a:t>
            </a:r>
            <a:r>
              <a:rPr lang="en-GB" sz="800"/>
              <a:t>®</a:t>
            </a:r>
            <a:r>
              <a:rPr lang="en-US" sz="800"/>
              <a:t> (</a:t>
            </a:r>
            <a:r>
              <a:rPr lang="zh-CN" altLang="en-US" sz="800"/>
              <a:t>混凝土增强用钢纤维</a:t>
            </a:r>
            <a:r>
              <a:rPr lang="en-US" sz="800"/>
              <a:t>) </a:t>
            </a:r>
            <a:r>
              <a:rPr lang="zh-CN" altLang="en-US" sz="800"/>
              <a:t>到</a:t>
            </a:r>
            <a:r>
              <a:rPr lang="en-US" sz="800"/>
              <a:t> </a:t>
            </a:r>
            <a:r>
              <a:rPr lang="en-US" sz="800" err="1"/>
              <a:t>Murfor</a:t>
            </a:r>
            <a:r>
              <a:rPr lang="en-GB" sz="800"/>
              <a:t>®</a:t>
            </a:r>
            <a:r>
              <a:rPr lang="en-US" sz="800"/>
              <a:t> Compact (</a:t>
            </a:r>
            <a:r>
              <a:rPr lang="zh-CN" altLang="en-US" sz="800"/>
              <a:t>砌体增强材料</a:t>
            </a:r>
            <a:r>
              <a:rPr lang="en-US" sz="800"/>
              <a:t>)</a:t>
            </a:r>
            <a:r>
              <a:rPr lang="zh-CN" altLang="en-US" sz="800"/>
              <a:t>，</a:t>
            </a:r>
            <a:endParaRPr lang="en-BE" sz="800"/>
          </a:p>
          <a:p>
            <a:pPr>
              <a:lnSpc>
                <a:spcPct val="110000"/>
              </a:lnSpc>
              <a:spcAft>
                <a:spcPts val="800"/>
              </a:spcAft>
              <a:buClr>
                <a:schemeClr val="accent1"/>
              </a:buClr>
            </a:pPr>
            <a:endParaRPr lang="en-BE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BE" sz="800"/>
              <a:t>A</a:t>
            </a:r>
            <a:r>
              <a:rPr lang="en-US" sz="800" err="1"/>
              <a:t>dvanced</a:t>
            </a:r>
            <a:r>
              <a:rPr lang="en-US" sz="800"/>
              <a:t> reinforcement solutions that are high-performance, sustainable, safe, economical and reliable</a:t>
            </a:r>
            <a:r>
              <a:rPr lang="en-BE" sz="800"/>
              <a:t>.</a:t>
            </a:r>
            <a:endParaRPr lang="en-US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800"/>
              <a:t>我们提供高性能、可持续、安全、经济且可靠的先进增强解决方案。</a:t>
            </a:r>
            <a:endParaRPr lang="en-US" sz="800"/>
          </a:p>
          <a:p>
            <a:pPr>
              <a:lnSpc>
                <a:spcPct val="110000"/>
              </a:lnSpc>
              <a:spcAft>
                <a:spcPts val="800"/>
              </a:spcAft>
              <a:buClr>
                <a:schemeClr val="accent1"/>
              </a:buClr>
            </a:pPr>
            <a:endParaRPr lang="en-US" sz="8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BE" sz="800"/>
              <a:t>Support from </a:t>
            </a:r>
            <a:r>
              <a:rPr lang="en-US" sz="800"/>
              <a:t>top-tier structural engineering to final quality control.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800"/>
              <a:t>从顶级结构工程设计到最终质量控制，我们提供全方位的专业支持。</a:t>
            </a:r>
            <a:endParaRPr lang="en-US" sz="8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56EFBEF-9A7D-03FA-B138-4DE9B3EFEDE1}"/>
              </a:ext>
            </a:extLst>
          </p:cNvPr>
          <p:cNvSpPr txBox="1"/>
          <p:nvPr/>
        </p:nvSpPr>
        <p:spPr>
          <a:xfrm>
            <a:off x="417710" y="2376152"/>
            <a:ext cx="9694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ire </a:t>
            </a:r>
            <a:b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BE" sz="700" b="1">
                <a:solidFill>
                  <a:schemeClr val="bg1"/>
                </a:solidFill>
                <a:latin typeface="Bekaert Headline" panose="020B0503030203020203" pitchFamily="34" charset="77"/>
              </a:rPr>
              <a:t>reinforcement</a:t>
            </a:r>
            <a:endParaRPr lang="en-US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轮胎骨架材料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15" name="TextBox 40">
            <a:extLst>
              <a:ext uri="{FF2B5EF4-FFF2-40B4-BE49-F238E27FC236}">
                <a16:creationId xmlns:a16="http://schemas.microsoft.com/office/drawing/2014/main" id="{237E46EC-D88A-ED99-D2FC-A7E22379D674}"/>
              </a:ext>
            </a:extLst>
          </p:cNvPr>
          <p:cNvSpPr txBox="1"/>
          <p:nvPr/>
        </p:nvSpPr>
        <p:spPr>
          <a:xfrm>
            <a:off x="1826194" y="2398733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ransmission and performance wires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传输和高性能钢丝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16" name="TextBox 39">
            <a:extLst>
              <a:ext uri="{FF2B5EF4-FFF2-40B4-BE49-F238E27FC236}">
                <a16:creationId xmlns:a16="http://schemas.microsoft.com/office/drawing/2014/main" id="{E1A2CBF0-CFD2-EEC8-DFE7-0E3F8923C292}"/>
              </a:ext>
            </a:extLst>
          </p:cNvPr>
          <p:cNvSpPr txBox="1"/>
          <p:nvPr/>
        </p:nvSpPr>
        <p:spPr>
          <a:xfrm>
            <a:off x="3653371" y="2392250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Advanced lifting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and mooring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先进的起重和系泊解决方案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17" name="TextBox 38">
            <a:extLst>
              <a:ext uri="{FF2B5EF4-FFF2-40B4-BE49-F238E27FC236}">
                <a16:creationId xmlns:a16="http://schemas.microsoft.com/office/drawing/2014/main" id="{B50DB45B-C816-8F5E-53F2-2B2AA5AC23A7}"/>
              </a:ext>
            </a:extLst>
          </p:cNvPr>
          <p:cNvSpPr txBox="1"/>
          <p:nvPr/>
        </p:nvSpPr>
        <p:spPr>
          <a:xfrm>
            <a:off x="5497544" y="2391431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Energy </a:t>
            </a:r>
            <a:b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chemeClr val="bg1"/>
                </a:solidFill>
                <a:latin typeface="Bekaert Headline" panose="020B0503030203020203" pitchFamily="34" charset="77"/>
              </a:rPr>
              <a:t>transi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chemeClr val="bg1"/>
                </a:solidFill>
                <a:latin typeface="Bekaert Headline" panose="020B0503030203020203" pitchFamily="34" charset="77"/>
              </a:rPr>
              <a:t>能源转型</a:t>
            </a:r>
            <a:endParaRPr lang="en-BE" sz="700" b="1">
              <a:solidFill>
                <a:schemeClr val="bg1"/>
              </a:solidFill>
              <a:latin typeface="Bekaert Headline" panose="020B0503030203020203" pitchFamily="34" charset="77"/>
            </a:endParaRPr>
          </a:p>
        </p:txBody>
      </p:sp>
      <p:sp>
        <p:nvSpPr>
          <p:cNvPr id="18" name="TextBox 37">
            <a:extLst>
              <a:ext uri="{FF2B5EF4-FFF2-40B4-BE49-F238E27FC236}">
                <a16:creationId xmlns:a16="http://schemas.microsoft.com/office/drawing/2014/main" id="{787BC79F-46D3-F4EE-AFE7-7272BF4827DE}"/>
              </a:ext>
            </a:extLst>
          </p:cNvPr>
          <p:cNvSpPr txBox="1"/>
          <p:nvPr/>
        </p:nvSpPr>
        <p:spPr>
          <a:xfrm>
            <a:off x="7317806" y="2391431"/>
            <a:ext cx="18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700" b="1">
                <a:solidFill>
                  <a:srgbClr val="764930"/>
                </a:solidFill>
                <a:latin typeface="Bekaert Headline" panose="020B0503030203020203" pitchFamily="34" charset="77"/>
              </a:rPr>
              <a:t>Sustainable </a:t>
            </a:r>
            <a:br>
              <a:rPr lang="en-GB" sz="700" b="1">
                <a:solidFill>
                  <a:srgbClr val="764930"/>
                </a:solidFill>
                <a:latin typeface="Bekaert Headline" panose="020B0503030203020203" pitchFamily="34" charset="77"/>
              </a:rPr>
            </a:br>
            <a:r>
              <a:rPr lang="en-GB" sz="700" b="1">
                <a:solidFill>
                  <a:srgbClr val="764930"/>
                </a:solidFill>
                <a:latin typeface="Bekaert Headline" panose="020B0503030203020203" pitchFamily="34" charset="77"/>
              </a:rPr>
              <a:t>construc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700" b="1">
                <a:solidFill>
                  <a:srgbClr val="764930"/>
                </a:solidFill>
                <a:latin typeface="Bekaert Headline" panose="020B0503030203020203" pitchFamily="34" charset="77"/>
              </a:rPr>
              <a:t>可持续建筑</a:t>
            </a:r>
            <a:endParaRPr lang="en-BE" sz="700" b="1">
              <a:solidFill>
                <a:srgbClr val="764930"/>
              </a:solidFill>
              <a:latin typeface="Bekaert Headline" panose="020B050303020302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02505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35F379-18D4-6FE2-06D7-A66F1B029A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687EB1A1-5638-39A9-49FB-D9577AF6F2E4}"/>
              </a:ext>
            </a:extLst>
          </p:cNvPr>
          <p:cNvSpPr/>
          <p:nvPr/>
        </p:nvSpPr>
        <p:spPr>
          <a:xfrm>
            <a:off x="104341" y="141628"/>
            <a:ext cx="8859370" cy="4860243"/>
          </a:xfrm>
          <a:prstGeom prst="rect">
            <a:avLst/>
          </a:prstGeom>
          <a:solidFill>
            <a:srgbClr val="D7D2CB">
              <a:alpha val="5397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17A8C7-A5B6-BFE0-4098-7FD9517D4BE6}"/>
              </a:ext>
            </a:extLst>
          </p:cNvPr>
          <p:cNvSpPr txBox="1">
            <a:spLocks/>
          </p:cNvSpPr>
          <p:nvPr/>
        </p:nvSpPr>
        <p:spPr>
          <a:xfrm>
            <a:off x="258954" y="194977"/>
            <a:ext cx="6690486" cy="1956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1800">
                <a:cs typeface="+mj-cs"/>
              </a:rPr>
              <a:t>Our chosen markets </a:t>
            </a:r>
            <a:r>
              <a:rPr lang="zh-CN" altLang="en-US" sz="1600">
                <a:cs typeface="+mj-cs"/>
              </a:rPr>
              <a:t>我们专注的市场领域</a:t>
            </a:r>
            <a:endParaRPr lang="en-GB" sz="1600">
              <a:cs typeface="+mj-cs"/>
            </a:endParaRPr>
          </a:p>
          <a:p>
            <a:endParaRPr lang="en-GB" sz="1800"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D0FEEB-B463-EC48-D7E8-39F15A8A2544}"/>
              </a:ext>
            </a:extLst>
          </p:cNvPr>
          <p:cNvSpPr txBox="1"/>
          <p:nvPr/>
        </p:nvSpPr>
        <p:spPr>
          <a:xfrm>
            <a:off x="5217906" y="1834734"/>
            <a:ext cx="1723549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1200" b="1"/>
              <a:t>Advanced </a:t>
            </a:r>
          </a:p>
          <a:p>
            <a:pPr algn="ctr">
              <a:buClr>
                <a:schemeClr val="accent1"/>
              </a:buClr>
            </a:pPr>
            <a:r>
              <a:rPr lang="en-GB" sz="1200" b="1"/>
              <a:t>Lifting &amp; Mooring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 b="1"/>
              <a:t>先进的起重和系泊解决方案</a:t>
            </a:r>
            <a:endParaRPr lang="en-GB" sz="1000" b="1"/>
          </a:p>
          <a:p>
            <a:pPr algn="ctr">
              <a:buClr>
                <a:schemeClr val="accent1"/>
              </a:buClr>
            </a:pPr>
            <a:endParaRPr lang="en-BE" sz="12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50C051-2EFB-EC14-22E7-E8AAFDFD42EC}"/>
              </a:ext>
            </a:extLst>
          </p:cNvPr>
          <p:cNvSpPr txBox="1"/>
          <p:nvPr/>
        </p:nvSpPr>
        <p:spPr>
          <a:xfrm>
            <a:off x="3729674" y="1831767"/>
            <a:ext cx="127631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1200" b="1"/>
              <a:t>Sustainable </a:t>
            </a:r>
          </a:p>
          <a:p>
            <a:pPr algn="ctr">
              <a:buClr>
                <a:schemeClr val="accent1"/>
              </a:buClr>
            </a:pPr>
            <a:r>
              <a:rPr lang="en-GB" sz="1200" b="1"/>
              <a:t>Construc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 b="1"/>
              <a:t>可持续建筑</a:t>
            </a:r>
            <a:endParaRPr lang="en-GB" sz="1000" b="1"/>
          </a:p>
          <a:p>
            <a:pPr algn="ctr">
              <a:buClr>
                <a:schemeClr val="accent1"/>
              </a:buClr>
            </a:pPr>
            <a:endParaRPr lang="en-BE" sz="12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62A854-FB2D-5FD4-9D76-B4B926F7B261}"/>
              </a:ext>
            </a:extLst>
          </p:cNvPr>
          <p:cNvSpPr txBox="1"/>
          <p:nvPr/>
        </p:nvSpPr>
        <p:spPr>
          <a:xfrm>
            <a:off x="2197371" y="1831767"/>
            <a:ext cx="102284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1200" b="1"/>
              <a:t>Energy</a:t>
            </a:r>
          </a:p>
          <a:p>
            <a:pPr algn="ctr">
              <a:buClr>
                <a:schemeClr val="accent1"/>
              </a:buClr>
            </a:pPr>
            <a:r>
              <a:rPr lang="en-GB" sz="1200" b="1"/>
              <a:t>Transition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 b="1"/>
              <a:t>能源转型</a:t>
            </a:r>
            <a:endParaRPr lang="en-GB" sz="1000" b="1"/>
          </a:p>
          <a:p>
            <a:pPr algn="ctr">
              <a:buClr>
                <a:schemeClr val="accent1"/>
              </a:buClr>
            </a:pPr>
            <a:endParaRPr lang="en-BE" sz="1200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065ACF-0DE7-9E90-7B68-DD96475F0684}"/>
              </a:ext>
            </a:extLst>
          </p:cNvPr>
          <p:cNvSpPr txBox="1"/>
          <p:nvPr/>
        </p:nvSpPr>
        <p:spPr>
          <a:xfrm>
            <a:off x="338483" y="1825449"/>
            <a:ext cx="142263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1200" b="1"/>
              <a:t>Tire</a:t>
            </a:r>
          </a:p>
          <a:p>
            <a:pPr algn="ctr">
              <a:buClr>
                <a:schemeClr val="accent1"/>
              </a:buClr>
            </a:pPr>
            <a:r>
              <a:rPr lang="en-GB" sz="1200" b="1"/>
              <a:t>Reinforcement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 b="1"/>
              <a:t>轮胎骨架材料</a:t>
            </a:r>
            <a:endParaRPr lang="en-GB" sz="1000" b="1"/>
          </a:p>
          <a:p>
            <a:pPr algn="ctr">
              <a:buClr>
                <a:schemeClr val="accent1"/>
              </a:buClr>
            </a:pPr>
            <a:endParaRPr lang="en-BE" sz="1200" b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6B8B261-844D-687C-C7A5-144FBB4BA501}"/>
              </a:ext>
            </a:extLst>
          </p:cNvPr>
          <p:cNvSpPr txBox="1"/>
          <p:nvPr/>
        </p:nvSpPr>
        <p:spPr>
          <a:xfrm>
            <a:off x="7134874" y="1827582"/>
            <a:ext cx="180536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1200" b="1"/>
              <a:t>Transmission &amp;</a:t>
            </a:r>
          </a:p>
          <a:p>
            <a:pPr algn="ctr">
              <a:buClr>
                <a:schemeClr val="accent1"/>
              </a:buClr>
            </a:pPr>
            <a:r>
              <a:rPr lang="en-GB" sz="1200" b="1"/>
              <a:t>Performance wires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 b="1"/>
              <a:t>传输和高性能钢丝</a:t>
            </a:r>
            <a:endParaRPr lang="en-GB" sz="1000" b="1"/>
          </a:p>
          <a:p>
            <a:pPr algn="ctr">
              <a:buClr>
                <a:schemeClr val="accent1"/>
              </a:buClr>
            </a:pPr>
            <a:endParaRPr lang="en-BE" sz="1200" b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AF488D-5716-9658-BEE9-72ACFF2065F4}"/>
              </a:ext>
            </a:extLst>
          </p:cNvPr>
          <p:cNvSpPr txBox="1"/>
          <p:nvPr/>
        </p:nvSpPr>
        <p:spPr>
          <a:xfrm>
            <a:off x="361311" y="2457717"/>
            <a:ext cx="1257312" cy="809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GB" sz="1800" b="1">
                <a:solidFill>
                  <a:schemeClr val="accent5"/>
                </a:solidFill>
              </a:rPr>
              <a:t>€</a:t>
            </a:r>
            <a:r>
              <a:rPr lang="en-GB" sz="2800" b="1">
                <a:solidFill>
                  <a:schemeClr val="accent5"/>
                </a:solidFill>
              </a:rPr>
              <a:t>7</a:t>
            </a:r>
            <a:r>
              <a:rPr lang="en-GB" sz="2400" b="1">
                <a:solidFill>
                  <a:schemeClr val="accent5"/>
                </a:solidFill>
              </a:rPr>
              <a:t> </a:t>
            </a:r>
            <a:r>
              <a:rPr lang="en-GB" sz="1800" b="1">
                <a:solidFill>
                  <a:schemeClr val="accent5"/>
                </a:solidFill>
              </a:rPr>
              <a:t>bn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GB" sz="1600" b="1" baseline="30000">
                <a:solidFill>
                  <a:schemeClr val="accent5"/>
                </a:solidFill>
              </a:rPr>
              <a:t>7</a:t>
            </a:r>
            <a:r>
              <a:rPr lang="en-US" sz="1600" b="1" baseline="30000">
                <a:solidFill>
                  <a:schemeClr val="accent5"/>
                </a:solidFill>
              </a:rPr>
              <a:t>0</a:t>
            </a:r>
            <a:r>
              <a:rPr lang="zh-CN" altLang="en-US" sz="1600" b="1" baseline="30000">
                <a:solidFill>
                  <a:schemeClr val="accent5"/>
                </a:solidFill>
              </a:rPr>
              <a:t>亿欧元</a:t>
            </a:r>
            <a:endParaRPr lang="en-BE" sz="1600" b="1" baseline="30000">
              <a:solidFill>
                <a:schemeClr val="accent5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41249FA-EB20-8B19-DD73-01EE269B03B7}"/>
              </a:ext>
            </a:extLst>
          </p:cNvPr>
          <p:cNvSpPr txBox="1"/>
          <p:nvPr/>
        </p:nvSpPr>
        <p:spPr>
          <a:xfrm>
            <a:off x="2063645" y="2457717"/>
            <a:ext cx="1257312" cy="830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GB" sz="1800" b="1">
                <a:solidFill>
                  <a:schemeClr val="accent3">
                    <a:lumMod val="60000"/>
                    <a:lumOff val="40000"/>
                  </a:schemeClr>
                </a:solidFill>
              </a:rPr>
              <a:t>€</a:t>
            </a:r>
            <a:r>
              <a:rPr lang="en-GB" sz="2800" b="1">
                <a:solidFill>
                  <a:schemeClr val="accent3">
                    <a:lumMod val="60000"/>
                    <a:lumOff val="40000"/>
                  </a:schemeClr>
                </a:solidFill>
              </a:rPr>
              <a:t>7</a:t>
            </a:r>
            <a:r>
              <a:rPr lang="en-GB" sz="2400" b="1">
                <a:solidFill>
                  <a:schemeClr val="accent3">
                    <a:lumMod val="60000"/>
                    <a:lumOff val="40000"/>
                  </a:schemeClr>
                </a:solidFill>
              </a:rPr>
              <a:t> </a:t>
            </a:r>
            <a:r>
              <a:rPr lang="en-GB" sz="1800" b="1">
                <a:solidFill>
                  <a:schemeClr val="accent3">
                    <a:lumMod val="60000"/>
                    <a:lumOff val="40000"/>
                  </a:schemeClr>
                </a:solidFill>
              </a:rPr>
              <a:t>bn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GB" b="1" baseline="30000">
                <a:solidFill>
                  <a:schemeClr val="accent3">
                    <a:lumMod val="60000"/>
                    <a:lumOff val="40000"/>
                  </a:schemeClr>
                </a:solidFill>
              </a:rPr>
              <a:t>70</a:t>
            </a:r>
            <a:r>
              <a:rPr lang="zh-CN" altLang="en-US" b="1" baseline="30000">
                <a:solidFill>
                  <a:schemeClr val="accent3">
                    <a:lumMod val="60000"/>
                    <a:lumOff val="40000"/>
                  </a:schemeClr>
                </a:solidFill>
              </a:rPr>
              <a:t>亿欧元</a:t>
            </a:r>
            <a:endParaRPr lang="en-BE" sz="1800" b="1" baseline="3000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67FADC3-D17C-1303-6825-7145912EAF6C}"/>
              </a:ext>
            </a:extLst>
          </p:cNvPr>
          <p:cNvSpPr txBox="1"/>
          <p:nvPr/>
        </p:nvSpPr>
        <p:spPr>
          <a:xfrm>
            <a:off x="3659327" y="2457717"/>
            <a:ext cx="1257312" cy="830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GB" sz="1800" b="1">
                <a:solidFill>
                  <a:schemeClr val="accent4">
                    <a:lumMod val="75000"/>
                  </a:schemeClr>
                </a:solidFill>
              </a:rPr>
              <a:t>€</a:t>
            </a:r>
            <a:r>
              <a:rPr lang="en-GB" sz="2400" b="1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GB" sz="2800" b="1">
                <a:solidFill>
                  <a:srgbClr val="0C516A"/>
                </a:solidFill>
              </a:rPr>
              <a:t>3</a:t>
            </a:r>
            <a:r>
              <a:rPr lang="en-GB" sz="2400" b="1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GB" sz="1800" b="1">
                <a:solidFill>
                  <a:schemeClr val="accent4">
                    <a:lumMod val="75000"/>
                  </a:schemeClr>
                </a:solidFill>
              </a:rPr>
              <a:t>bn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GB" b="1" baseline="30000">
                <a:solidFill>
                  <a:schemeClr val="accent4">
                    <a:lumMod val="75000"/>
                  </a:schemeClr>
                </a:solidFill>
              </a:rPr>
              <a:t>30</a:t>
            </a:r>
            <a:r>
              <a:rPr lang="zh-CN" altLang="en-US" b="1" baseline="30000">
                <a:solidFill>
                  <a:schemeClr val="accent4">
                    <a:lumMod val="75000"/>
                  </a:schemeClr>
                </a:solidFill>
              </a:rPr>
              <a:t>亿欧元</a:t>
            </a:r>
            <a:endParaRPr lang="en-BE" sz="1800" b="1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E952958-87AB-DADD-129F-B40A270EC8F5}"/>
              </a:ext>
            </a:extLst>
          </p:cNvPr>
          <p:cNvSpPr txBox="1"/>
          <p:nvPr/>
        </p:nvSpPr>
        <p:spPr>
          <a:xfrm>
            <a:off x="5394100" y="2457717"/>
            <a:ext cx="1257312" cy="830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GB" sz="1800" b="1">
                <a:solidFill>
                  <a:schemeClr val="bg1">
                    <a:lumMod val="65000"/>
                  </a:schemeClr>
                </a:solidFill>
              </a:rPr>
              <a:t>€</a:t>
            </a:r>
            <a:r>
              <a:rPr lang="en-GB" sz="2800" b="1">
                <a:solidFill>
                  <a:schemeClr val="bg1">
                    <a:lumMod val="65000"/>
                  </a:schemeClr>
                </a:solidFill>
              </a:rPr>
              <a:t>5</a:t>
            </a:r>
            <a:r>
              <a:rPr lang="en-GB" sz="2400" b="1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GB" sz="1800" b="1">
                <a:solidFill>
                  <a:schemeClr val="bg1">
                    <a:lumMod val="65000"/>
                  </a:schemeClr>
                </a:solidFill>
              </a:rPr>
              <a:t>bn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GB" b="1" baseline="30000">
                <a:solidFill>
                  <a:schemeClr val="bg1">
                    <a:lumMod val="65000"/>
                  </a:schemeClr>
                </a:solidFill>
              </a:rPr>
              <a:t>50</a:t>
            </a:r>
            <a:r>
              <a:rPr lang="zh-CN" altLang="en-US" b="1" baseline="30000">
                <a:solidFill>
                  <a:schemeClr val="bg1">
                    <a:lumMod val="65000"/>
                  </a:schemeClr>
                </a:solidFill>
              </a:rPr>
              <a:t>亿欧元</a:t>
            </a:r>
            <a:endParaRPr lang="en-BE" sz="1800" b="1" baseline="3000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04AC4C8-B640-6547-C1A0-6B8CB99C5888}"/>
              </a:ext>
            </a:extLst>
          </p:cNvPr>
          <p:cNvSpPr txBox="1"/>
          <p:nvPr/>
        </p:nvSpPr>
        <p:spPr>
          <a:xfrm>
            <a:off x="7345582" y="2457717"/>
            <a:ext cx="1257312" cy="830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GB" sz="1800" b="1">
                <a:solidFill>
                  <a:srgbClr val="C1DEEE"/>
                </a:solidFill>
              </a:rPr>
              <a:t>€</a:t>
            </a:r>
            <a:r>
              <a:rPr lang="en-GB" sz="2800" b="1">
                <a:solidFill>
                  <a:srgbClr val="C1DEEE"/>
                </a:solidFill>
              </a:rPr>
              <a:t>3</a:t>
            </a:r>
            <a:r>
              <a:rPr lang="en-GB" sz="2400" b="1">
                <a:solidFill>
                  <a:srgbClr val="C1DEEE"/>
                </a:solidFill>
              </a:rPr>
              <a:t> </a:t>
            </a:r>
            <a:r>
              <a:rPr lang="en-GB" sz="1800" b="1">
                <a:solidFill>
                  <a:srgbClr val="C1DEEE"/>
                </a:solidFill>
              </a:rPr>
              <a:t>bn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GB" b="1" baseline="30000">
                <a:solidFill>
                  <a:srgbClr val="C1DEEE"/>
                </a:solidFill>
              </a:rPr>
              <a:t>30</a:t>
            </a:r>
            <a:r>
              <a:rPr lang="zh-CN" altLang="en-US" b="1" baseline="30000">
                <a:solidFill>
                  <a:srgbClr val="C1DEEE"/>
                </a:solidFill>
              </a:rPr>
              <a:t>亿欧元</a:t>
            </a:r>
            <a:endParaRPr lang="en-BE" sz="1800" b="1" baseline="30000">
              <a:solidFill>
                <a:srgbClr val="C1DEEE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82E10B4-D138-E3AF-9279-20B2843517C5}"/>
              </a:ext>
            </a:extLst>
          </p:cNvPr>
          <p:cNvCxnSpPr>
            <a:cxnSpLocks/>
          </p:cNvCxnSpPr>
          <p:nvPr/>
        </p:nvCxnSpPr>
        <p:spPr>
          <a:xfrm>
            <a:off x="1989523" y="1003777"/>
            <a:ext cx="0" cy="358884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2E68F37-4D72-AA89-9674-25514DE41450}"/>
              </a:ext>
            </a:extLst>
          </p:cNvPr>
          <p:cNvCxnSpPr>
            <a:cxnSpLocks/>
          </p:cNvCxnSpPr>
          <p:nvPr/>
        </p:nvCxnSpPr>
        <p:spPr>
          <a:xfrm>
            <a:off x="5091379" y="1003777"/>
            <a:ext cx="0" cy="358884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BE9371A-CA48-9EFC-B0A3-21ED979EB5FE}"/>
              </a:ext>
            </a:extLst>
          </p:cNvPr>
          <p:cNvCxnSpPr>
            <a:cxnSpLocks/>
          </p:cNvCxnSpPr>
          <p:nvPr/>
        </p:nvCxnSpPr>
        <p:spPr>
          <a:xfrm>
            <a:off x="7079454" y="1003777"/>
            <a:ext cx="0" cy="358884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DE5984EF-1209-557E-327F-BB5FE783B3D5}"/>
              </a:ext>
            </a:extLst>
          </p:cNvPr>
          <p:cNvSpPr txBox="1"/>
          <p:nvPr/>
        </p:nvSpPr>
        <p:spPr>
          <a:xfrm>
            <a:off x="464793" y="3395439"/>
            <a:ext cx="1143262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1000"/>
              <a:t>Rubber</a:t>
            </a:r>
          </a:p>
          <a:p>
            <a:pPr algn="ctr">
              <a:buClr>
                <a:schemeClr val="accent1"/>
              </a:buClr>
            </a:pPr>
            <a:r>
              <a:rPr lang="en-GB" sz="1000"/>
              <a:t>Reinforcement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/>
              <a:t>橡胶增强事业部</a:t>
            </a:r>
            <a:endParaRPr lang="en-GB" sz="1000"/>
          </a:p>
          <a:p>
            <a:pPr algn="ctr">
              <a:buClr>
                <a:schemeClr val="accent1"/>
              </a:buClr>
            </a:pPr>
            <a:r>
              <a:rPr lang="en-GB" sz="1000"/>
              <a:t>(RR)</a:t>
            </a:r>
          </a:p>
          <a:p>
            <a:pPr algn="ctr">
              <a:buClr>
                <a:schemeClr val="accent1"/>
              </a:buClr>
            </a:pPr>
            <a:endParaRPr lang="en-BE" sz="1200" b="1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9B22A5C-D5E4-E910-E14B-A6104053EC34}"/>
              </a:ext>
            </a:extLst>
          </p:cNvPr>
          <p:cNvSpPr txBox="1"/>
          <p:nvPr/>
        </p:nvSpPr>
        <p:spPr>
          <a:xfrm>
            <a:off x="2275020" y="3395439"/>
            <a:ext cx="253127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1000"/>
              <a:t>Specialty Businesses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/>
              <a:t>特种产品事业部</a:t>
            </a:r>
            <a:endParaRPr lang="en-GB" sz="1000"/>
          </a:p>
          <a:p>
            <a:pPr algn="ctr">
              <a:buClr>
                <a:schemeClr val="accent1"/>
              </a:buClr>
            </a:pPr>
            <a:r>
              <a:rPr lang="en-GB" sz="1000"/>
              <a:t>(SB)</a:t>
            </a:r>
          </a:p>
          <a:p>
            <a:pPr algn="ctr">
              <a:buClr>
                <a:schemeClr val="accent1"/>
              </a:buClr>
            </a:pPr>
            <a:endParaRPr lang="en-BE" sz="1200" b="1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5966196-CDB0-B584-6794-091B7305553D}"/>
              </a:ext>
            </a:extLst>
          </p:cNvPr>
          <p:cNvSpPr txBox="1"/>
          <p:nvPr/>
        </p:nvSpPr>
        <p:spPr>
          <a:xfrm>
            <a:off x="5340192" y="3395439"/>
            <a:ext cx="1643399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1000"/>
              <a:t>Bridon-Bekaert</a:t>
            </a:r>
            <a:br>
              <a:rPr lang="en-GB" sz="1000"/>
            </a:br>
            <a:r>
              <a:rPr lang="en-GB" sz="1000"/>
              <a:t>Ropes Group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/>
              <a:t>布顿</a:t>
            </a:r>
            <a:r>
              <a:rPr lang="en-US" altLang="zh-CN" sz="1000"/>
              <a:t>-</a:t>
            </a:r>
            <a:r>
              <a:rPr lang="zh-CN" altLang="en-US" sz="1000"/>
              <a:t>贝卡尔特钢丝绳集团</a:t>
            </a:r>
            <a:endParaRPr lang="en-GB" sz="1000"/>
          </a:p>
          <a:p>
            <a:pPr algn="ctr">
              <a:buClr>
                <a:schemeClr val="accent1"/>
              </a:buClr>
            </a:pPr>
            <a:r>
              <a:rPr lang="en-GB" sz="1000"/>
              <a:t>(BBRG)</a:t>
            </a:r>
          </a:p>
          <a:p>
            <a:pPr algn="ctr">
              <a:buClr>
                <a:schemeClr val="accent1"/>
              </a:buClr>
            </a:pPr>
            <a:endParaRPr lang="en-BE" sz="1200" b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F356653-8C26-45DE-053A-2D4D3F9E46E3}"/>
              </a:ext>
            </a:extLst>
          </p:cNvPr>
          <p:cNvSpPr txBox="1"/>
          <p:nvPr/>
        </p:nvSpPr>
        <p:spPr>
          <a:xfrm>
            <a:off x="7438170" y="3395439"/>
            <a:ext cx="1338828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1000"/>
              <a:t>Steel Wire</a:t>
            </a:r>
          </a:p>
          <a:p>
            <a:pPr algn="ctr">
              <a:buClr>
                <a:schemeClr val="accent1"/>
              </a:buClr>
            </a:pPr>
            <a:r>
              <a:rPr lang="en-GB" sz="1000"/>
              <a:t>Solutions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/>
              <a:t>钢丝解决方案事业部</a:t>
            </a:r>
            <a:endParaRPr lang="en-GB" sz="1000"/>
          </a:p>
          <a:p>
            <a:pPr algn="ctr">
              <a:buClr>
                <a:schemeClr val="accent1"/>
              </a:buClr>
            </a:pPr>
            <a:r>
              <a:rPr lang="en-GB" sz="1000"/>
              <a:t>(SWS)</a:t>
            </a:r>
          </a:p>
          <a:p>
            <a:pPr algn="ctr">
              <a:buClr>
                <a:schemeClr val="accent1"/>
              </a:buClr>
            </a:pPr>
            <a:endParaRPr lang="en-BE" sz="1200" b="1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29564C5-AD97-41FE-7BF7-DB2BF4371E8E}"/>
              </a:ext>
            </a:extLst>
          </p:cNvPr>
          <p:cNvSpPr txBox="1"/>
          <p:nvPr/>
        </p:nvSpPr>
        <p:spPr>
          <a:xfrm>
            <a:off x="258954" y="4632539"/>
            <a:ext cx="40636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GB" sz="900"/>
              <a:t>Estimated addressable markets by 2030</a:t>
            </a:r>
            <a:r>
              <a:rPr lang="zh-CN" altLang="en-US" sz="900" b="1"/>
              <a:t>（</a:t>
            </a:r>
            <a:r>
              <a:rPr lang="en-US" altLang="zh-CN" sz="900"/>
              <a:t>2030</a:t>
            </a:r>
            <a:r>
              <a:rPr lang="zh-CN" altLang="en-US" sz="900"/>
              <a:t>年的市场规模预测）</a:t>
            </a:r>
            <a:endParaRPr lang="en-GB" sz="900"/>
          </a:p>
        </p:txBody>
      </p:sp>
      <p:pic>
        <p:nvPicPr>
          <p:cNvPr id="7" name="Picture 6" descr="A blue circle with white bricks on it&#10;&#10;AI-generated content may be incorrect.">
            <a:extLst>
              <a:ext uri="{FF2B5EF4-FFF2-40B4-BE49-F238E27FC236}">
                <a16:creationId xmlns:a16="http://schemas.microsoft.com/office/drawing/2014/main" id="{F51A2FC3-BC74-431F-CA0E-F911342F10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8652" y="876541"/>
            <a:ext cx="907641" cy="907641"/>
          </a:xfrm>
          <a:prstGeom prst="rect">
            <a:avLst/>
          </a:prstGeom>
        </p:spPr>
      </p:pic>
      <p:pic>
        <p:nvPicPr>
          <p:cNvPr id="12" name="Picture 11" descr="A black and white circle with a crane on top of it&#10;&#10;AI-generated content may be incorrect.">
            <a:extLst>
              <a:ext uri="{FF2B5EF4-FFF2-40B4-BE49-F238E27FC236}">
                <a16:creationId xmlns:a16="http://schemas.microsoft.com/office/drawing/2014/main" id="{BC7E7405-79BB-FC69-C1E6-1762DAAD1C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1596" y="876541"/>
            <a:ext cx="907641" cy="907641"/>
          </a:xfrm>
          <a:prstGeom prst="rect">
            <a:avLst/>
          </a:prstGeom>
        </p:spPr>
      </p:pic>
      <p:pic>
        <p:nvPicPr>
          <p:cNvPr id="14" name="Picture 13" descr="A black and white logo&#10;&#10;AI-generated content may be incorrect.">
            <a:extLst>
              <a:ext uri="{FF2B5EF4-FFF2-40B4-BE49-F238E27FC236}">
                <a16:creationId xmlns:a16="http://schemas.microsoft.com/office/drawing/2014/main" id="{9703AB26-A998-93E1-9872-5162173A248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281" y="876541"/>
            <a:ext cx="907641" cy="907641"/>
          </a:xfrm>
          <a:prstGeom prst="rect">
            <a:avLst/>
          </a:prstGeom>
        </p:spPr>
      </p:pic>
      <p:pic>
        <p:nvPicPr>
          <p:cNvPr id="17" name="Picture 16" descr="A black lightning bolt in a circle&#10;&#10;AI-generated content may be incorrect.">
            <a:extLst>
              <a:ext uri="{FF2B5EF4-FFF2-40B4-BE49-F238E27FC236}">
                <a16:creationId xmlns:a16="http://schemas.microsoft.com/office/drawing/2014/main" id="{FE209DCD-BE60-D158-F392-677C357BBD3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082" y="876541"/>
            <a:ext cx="907641" cy="907641"/>
          </a:xfrm>
          <a:prstGeom prst="rect">
            <a:avLst/>
          </a:prstGeom>
        </p:spPr>
      </p:pic>
      <p:pic>
        <p:nvPicPr>
          <p:cNvPr id="21" name="Picture 20" descr="A circular object with a wheel&#10;&#10;AI-generated content may be incorrect.">
            <a:extLst>
              <a:ext uri="{FF2B5EF4-FFF2-40B4-BE49-F238E27FC236}">
                <a16:creationId xmlns:a16="http://schemas.microsoft.com/office/drawing/2014/main" id="{DDDC6FB0-ACF8-E704-B695-7D4D54A6061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093" y="876541"/>
            <a:ext cx="907641" cy="907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85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6572AC-61D7-6AD5-E401-4840574A385C}"/>
              </a:ext>
            </a:extLst>
          </p:cNvPr>
          <p:cNvSpPr txBox="1">
            <a:spLocks/>
          </p:cNvSpPr>
          <p:nvPr/>
        </p:nvSpPr>
        <p:spPr>
          <a:xfrm>
            <a:off x="146528" y="252093"/>
            <a:ext cx="8735144" cy="1956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l-BE" sz="1800"/>
              <a:t>Market proximity </a:t>
            </a:r>
            <a:r>
              <a:rPr lang="zh-CN" altLang="en-US" sz="1600"/>
              <a:t>紧贴市场的全球化布局</a:t>
            </a:r>
            <a:endParaRPr lang="en-US" sz="160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A0018ADC-9609-93DD-6AFC-E8695FBA37D7}"/>
              </a:ext>
            </a:extLst>
          </p:cNvPr>
          <p:cNvSpPr txBox="1">
            <a:spLocks/>
          </p:cNvSpPr>
          <p:nvPr/>
        </p:nvSpPr>
        <p:spPr>
          <a:xfrm>
            <a:off x="231738" y="638322"/>
            <a:ext cx="8680524" cy="243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046F37-A7A5-7369-51C5-5EBA93E347DD}"/>
              </a:ext>
            </a:extLst>
          </p:cNvPr>
          <p:cNvSpPr txBox="1"/>
          <p:nvPr/>
        </p:nvSpPr>
        <p:spPr>
          <a:xfrm>
            <a:off x="783771" y="3739242"/>
            <a:ext cx="170591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BE" sz="900"/>
              <a:t>Bekaert production plants</a:t>
            </a:r>
            <a:endParaRPr lang="en-US" sz="900"/>
          </a:p>
          <a:p>
            <a:pPr>
              <a:buClr>
                <a:schemeClr val="accent1"/>
              </a:buClr>
            </a:pPr>
            <a:r>
              <a:rPr lang="zh-CN" altLang="en-US" sz="900"/>
              <a:t>贝卡尔特生产基地</a:t>
            </a:r>
            <a:endParaRPr lang="en-US" altLang="zh-CN" sz="900"/>
          </a:p>
          <a:p>
            <a:pPr>
              <a:buClr>
                <a:schemeClr val="accent1"/>
              </a:buClr>
            </a:pPr>
            <a:endParaRPr lang="en-BE" sz="300"/>
          </a:p>
          <a:p>
            <a:pPr algn="l">
              <a:buClr>
                <a:schemeClr val="accent1"/>
              </a:buClr>
            </a:pPr>
            <a:r>
              <a:rPr lang="en-BE" sz="900"/>
              <a:t>Bekaert offices</a:t>
            </a:r>
            <a:endParaRPr lang="en-US" sz="900"/>
          </a:p>
          <a:p>
            <a:pPr algn="l">
              <a:buClr>
                <a:schemeClr val="accent1"/>
              </a:buClr>
            </a:pPr>
            <a:r>
              <a:rPr lang="zh-CN" altLang="en-US" sz="900"/>
              <a:t>贝卡尔特办公室</a:t>
            </a:r>
            <a:endParaRPr lang="en-US" altLang="zh-CN" sz="900"/>
          </a:p>
          <a:p>
            <a:pPr algn="l">
              <a:buClr>
                <a:schemeClr val="accent1"/>
              </a:buClr>
            </a:pPr>
            <a:endParaRPr lang="en-BE" sz="300"/>
          </a:p>
          <a:p>
            <a:pPr algn="l">
              <a:buClr>
                <a:schemeClr val="accent1"/>
              </a:buClr>
            </a:pPr>
            <a:r>
              <a:rPr lang="en-BE" sz="900"/>
              <a:t>Bekaert R&amp;D centers</a:t>
            </a:r>
            <a:endParaRPr lang="en-US" sz="900"/>
          </a:p>
          <a:p>
            <a:pPr algn="l">
              <a:buClr>
                <a:schemeClr val="accent1"/>
              </a:buClr>
            </a:pPr>
            <a:r>
              <a:rPr lang="zh-CN" altLang="en-US" sz="900"/>
              <a:t>贝卡尔特研发中心</a:t>
            </a:r>
            <a:endParaRPr lang="en-BE" sz="90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6AA8E13-60E9-6888-B970-D7511BBBB2A7}"/>
              </a:ext>
            </a:extLst>
          </p:cNvPr>
          <p:cNvSpPr/>
          <p:nvPr/>
        </p:nvSpPr>
        <p:spPr>
          <a:xfrm>
            <a:off x="527940" y="4146885"/>
            <a:ext cx="185057" cy="18505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5B8AF1A-30F3-7F8A-F517-4935A0146D6B}"/>
              </a:ext>
            </a:extLst>
          </p:cNvPr>
          <p:cNvSpPr/>
          <p:nvPr/>
        </p:nvSpPr>
        <p:spPr>
          <a:xfrm>
            <a:off x="527941" y="3765442"/>
            <a:ext cx="185057" cy="18505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C99128F-E325-90CD-D664-A3AA746621FF}"/>
              </a:ext>
            </a:extLst>
          </p:cNvPr>
          <p:cNvSpPr/>
          <p:nvPr/>
        </p:nvSpPr>
        <p:spPr>
          <a:xfrm>
            <a:off x="527939" y="4473095"/>
            <a:ext cx="185057" cy="18505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Picture 5" descr="A map of the world&#10;&#10;AI-generated content may be incorrect.">
            <a:extLst>
              <a:ext uri="{FF2B5EF4-FFF2-40B4-BE49-F238E27FC236}">
                <a16:creationId xmlns:a16="http://schemas.microsoft.com/office/drawing/2014/main" id="{E0D68895-D895-DE99-646F-C07527DBAAB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872" y="0"/>
            <a:ext cx="728025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652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4">
            <a:extLst>
              <a:ext uri="{FF2B5EF4-FFF2-40B4-BE49-F238E27FC236}">
                <a16:creationId xmlns:a16="http://schemas.microsoft.com/office/drawing/2014/main" id="{A735CE43-2FBB-2DBF-1538-52B113B313CD}"/>
              </a:ext>
            </a:extLst>
          </p:cNvPr>
          <p:cNvSpPr txBox="1">
            <a:spLocks/>
          </p:cNvSpPr>
          <p:nvPr/>
        </p:nvSpPr>
        <p:spPr>
          <a:xfrm>
            <a:off x="250825" y="232900"/>
            <a:ext cx="8942269" cy="331695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1800"/>
              <a:t>Bekaert Group Executive (BGE) </a:t>
            </a:r>
            <a:r>
              <a:rPr lang="zh-CN" altLang="en-US" sz="1800"/>
              <a:t>贝卡尔特集团执行委员会</a:t>
            </a:r>
            <a:endParaRPr lang="en-GB" sz="1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706660-291F-3FBB-8DBE-6C5945CC5B53}"/>
              </a:ext>
            </a:extLst>
          </p:cNvPr>
          <p:cNvSpPr txBox="1">
            <a:spLocks/>
          </p:cNvSpPr>
          <p:nvPr/>
        </p:nvSpPr>
        <p:spPr>
          <a:xfrm>
            <a:off x="250826" y="610473"/>
            <a:ext cx="8512175" cy="239712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Aft>
                <a:spcPts val="0"/>
              </a:spcAft>
              <a:buNone/>
            </a:pPr>
            <a:r>
              <a:rPr lang="en-US"/>
              <a:t>The BGE is composed of members representing the Business Units and the Global Functions</a:t>
            </a:r>
          </a:p>
          <a:p>
            <a:pPr marL="0" indent="0">
              <a:lnSpc>
                <a:spcPct val="110000"/>
              </a:lnSpc>
              <a:spcAft>
                <a:spcPts val="0"/>
              </a:spcAft>
              <a:buNone/>
            </a:pPr>
            <a:r>
              <a:rPr lang="en-US"/>
              <a:t>BGE</a:t>
            </a:r>
            <a:r>
              <a:rPr lang="zh-CN" altLang="en-US"/>
              <a:t>由事业部门及全球职能部门的核心代表共同组成</a:t>
            </a:r>
            <a:r>
              <a:rPr lang="en-US"/>
              <a:t>​</a:t>
            </a:r>
          </a:p>
          <a:p>
            <a:pPr marL="0" indent="0">
              <a:buNone/>
            </a:pPr>
            <a:r>
              <a:rPr lang="en-US"/>
              <a:t>​</a:t>
            </a:r>
          </a:p>
          <a:p>
            <a:pPr marL="0" indent="0">
              <a:buNone/>
            </a:pPr>
            <a:endParaRPr lang="en-GB"/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2DAA94D9-5531-7007-7555-59CF0AE324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00598"/>
            <a:ext cx="9144000" cy="306887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145872F-4860-AD70-4041-21C1C64575DD}"/>
              </a:ext>
            </a:extLst>
          </p:cNvPr>
          <p:cNvSpPr txBox="1"/>
          <p:nvPr/>
        </p:nvSpPr>
        <p:spPr>
          <a:xfrm>
            <a:off x="4209922" y="1626282"/>
            <a:ext cx="932811" cy="235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zh-CN" altLang="en-US" sz="800" b="1"/>
              <a:t>首席执行官</a:t>
            </a:r>
            <a:endParaRPr lang="en-US" sz="800" b="1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097F45-FADF-6EE4-E39A-41979BD218CB}"/>
              </a:ext>
            </a:extLst>
          </p:cNvPr>
          <p:cNvSpPr txBox="1"/>
          <p:nvPr/>
        </p:nvSpPr>
        <p:spPr>
          <a:xfrm>
            <a:off x="684576" y="2963928"/>
            <a:ext cx="1412015" cy="488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  <a:defRPr sz="800" b="1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zh-CN" altLang="en-US"/>
              <a:t>事业部首席执行官</a:t>
            </a:r>
            <a:endParaRPr lang="en-US"/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zh-CN" altLang="en-US"/>
              <a:t>钢丝解决方案</a:t>
            </a:r>
            <a:r>
              <a:rPr lang="en-US"/>
              <a:t> &amp; 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zh-CN" altLang="en-US"/>
              <a:t>布顿</a:t>
            </a:r>
            <a:r>
              <a:rPr lang="en-US" altLang="zh-CN"/>
              <a:t>-</a:t>
            </a:r>
            <a:r>
              <a:rPr lang="zh-CN" altLang="en-US"/>
              <a:t>贝卡尔特钢丝绳集团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1CC909-DD74-43A6-BFE4-B6AA85FFB287}"/>
              </a:ext>
            </a:extLst>
          </p:cNvPr>
          <p:cNvSpPr txBox="1"/>
          <p:nvPr/>
        </p:nvSpPr>
        <p:spPr>
          <a:xfrm>
            <a:off x="3031682" y="2920596"/>
            <a:ext cx="1475231" cy="352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spcAft>
                <a:spcPts val="0"/>
              </a:spcAft>
              <a:buClr>
                <a:schemeClr val="accent1"/>
              </a:buClr>
              <a:defRPr sz="800" b="1"/>
            </a:lvl1pPr>
          </a:lstStyle>
          <a:p>
            <a:r>
              <a:rPr lang="zh-CN" altLang="en-US"/>
              <a:t>事业部首席执行官</a:t>
            </a:r>
            <a:r>
              <a:rPr lang="en-US"/>
              <a:t> </a:t>
            </a:r>
            <a:br>
              <a:rPr lang="en-US"/>
            </a:br>
            <a:r>
              <a:rPr lang="zh-CN" altLang="en-US"/>
              <a:t>橡胶增强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643F8F6-D20C-A888-2247-48E29FA0E1ED}"/>
              </a:ext>
            </a:extLst>
          </p:cNvPr>
          <p:cNvSpPr txBox="1"/>
          <p:nvPr/>
        </p:nvSpPr>
        <p:spPr>
          <a:xfrm>
            <a:off x="5290856" y="2912167"/>
            <a:ext cx="18331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zh-CN" altLang="en-US" sz="800" b="1">
                <a:solidFill>
                  <a:srgbClr val="000000"/>
                </a:solidFill>
                <a:latin typeface="Bekaert Text"/>
              </a:rPr>
              <a:t>事业部首席执行官</a:t>
            </a:r>
            <a:endParaRPr lang="en-US" sz="800" b="1">
              <a:solidFill>
                <a:srgbClr val="000000"/>
              </a:solidFill>
              <a:latin typeface="Bekaert Text"/>
            </a:endParaRPr>
          </a:p>
          <a:p>
            <a:pPr defTabSz="1219170"/>
            <a:r>
              <a:rPr lang="zh-CN" altLang="en-US" sz="800" b="1">
                <a:solidFill>
                  <a:srgbClr val="000000"/>
                </a:solidFill>
                <a:latin typeface="Bekaert Text"/>
              </a:rPr>
              <a:t>可持续建筑</a:t>
            </a:r>
            <a:endParaRPr lang="en-US" sz="800" b="1">
              <a:solidFill>
                <a:srgbClr val="000000"/>
              </a:solidFill>
              <a:latin typeface="Bekaert Tex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7D3FA2-5385-8F72-E335-3F11FE3AB253}"/>
              </a:ext>
            </a:extLst>
          </p:cNvPr>
          <p:cNvSpPr txBox="1"/>
          <p:nvPr/>
        </p:nvSpPr>
        <p:spPr>
          <a:xfrm>
            <a:off x="7701178" y="2927556"/>
            <a:ext cx="1491916" cy="3231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8"/>
            <a:r>
              <a:rPr lang="en-GB" sz="750" b="1">
                <a:solidFill>
                  <a:srgbClr val="000000"/>
                </a:solidFill>
                <a:latin typeface="Bekaert Text"/>
              </a:rPr>
              <a:t>BGE </a:t>
            </a:r>
            <a:r>
              <a:rPr lang="zh-CN" altLang="en-US" sz="750" b="1">
                <a:solidFill>
                  <a:srgbClr val="000000"/>
                </a:solidFill>
                <a:latin typeface="Bekaert Text"/>
              </a:rPr>
              <a:t>代表</a:t>
            </a:r>
            <a:br>
              <a:rPr lang="en-GB" sz="750" b="1">
                <a:solidFill>
                  <a:srgbClr val="000000"/>
                </a:solidFill>
                <a:latin typeface="Bekaert Text"/>
              </a:rPr>
            </a:br>
            <a:r>
              <a:rPr lang="zh-CN" altLang="en-US" sz="750" b="1">
                <a:solidFill>
                  <a:srgbClr val="000000"/>
                </a:solidFill>
                <a:latin typeface="Bekaert Text"/>
              </a:rPr>
              <a:t>特种产品事业部</a:t>
            </a:r>
            <a:endParaRPr lang="en-US" sz="750" b="1">
              <a:solidFill>
                <a:srgbClr val="000000"/>
              </a:solidFill>
              <a:latin typeface="Bekaert Tex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F55362-FDE7-0542-CE67-978F789B85AE}"/>
              </a:ext>
            </a:extLst>
          </p:cNvPr>
          <p:cNvSpPr txBox="1"/>
          <p:nvPr/>
        </p:nvSpPr>
        <p:spPr>
          <a:xfrm>
            <a:off x="3031682" y="4061920"/>
            <a:ext cx="1180239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zh-CN" altLang="en-US" sz="750" b="1">
                <a:solidFill>
                  <a:srgbClr val="000000"/>
                </a:solidFill>
                <a:latin typeface="Bekaert Text"/>
              </a:rPr>
              <a:t>首席人力资源官</a:t>
            </a:r>
            <a:endParaRPr lang="en-US" sz="750" b="1">
              <a:solidFill>
                <a:srgbClr val="000000"/>
              </a:solidFill>
              <a:latin typeface="Bekaert Tex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0AEF34-433F-67DE-B929-244ED0FAFB2E}"/>
              </a:ext>
            </a:extLst>
          </p:cNvPr>
          <p:cNvSpPr txBox="1"/>
          <p:nvPr/>
        </p:nvSpPr>
        <p:spPr>
          <a:xfrm>
            <a:off x="669744" y="4061920"/>
            <a:ext cx="1149205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zh-CN" altLang="en-US" sz="750" b="1">
                <a:solidFill>
                  <a:srgbClr val="000000"/>
                </a:solidFill>
                <a:latin typeface="Bekaert Text"/>
              </a:rPr>
              <a:t>首席财务官</a:t>
            </a:r>
            <a:endParaRPr lang="en-GB" sz="750" b="1">
              <a:solidFill>
                <a:srgbClr val="000000"/>
              </a:solidFill>
              <a:latin typeface="Bekaert Tex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0AC3458-FF29-5DCE-CAAC-B0F19D3C89BB}"/>
              </a:ext>
            </a:extLst>
          </p:cNvPr>
          <p:cNvSpPr txBox="1"/>
          <p:nvPr/>
        </p:nvSpPr>
        <p:spPr>
          <a:xfrm>
            <a:off x="7645946" y="4061920"/>
            <a:ext cx="122177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zh-CN" altLang="en-US" sz="750" b="1">
                <a:solidFill>
                  <a:srgbClr val="000000"/>
                </a:solidFill>
                <a:latin typeface="Bekaert Text"/>
              </a:rPr>
              <a:t>首席数字与信息官</a:t>
            </a:r>
            <a:endParaRPr lang="en-GB" sz="750" b="1">
              <a:solidFill>
                <a:srgbClr val="000000"/>
              </a:solidFill>
              <a:latin typeface="Bekaert Tex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034976-771D-B3EA-4114-05F201948447}"/>
              </a:ext>
            </a:extLst>
          </p:cNvPr>
          <p:cNvSpPr txBox="1"/>
          <p:nvPr/>
        </p:nvSpPr>
        <p:spPr>
          <a:xfrm>
            <a:off x="5290856" y="4061920"/>
            <a:ext cx="114472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zh-CN" altLang="en-US" sz="750" b="1">
                <a:solidFill>
                  <a:srgbClr val="000000"/>
                </a:solidFill>
                <a:latin typeface="Bekaert Text"/>
              </a:rPr>
              <a:t>首席运营官</a:t>
            </a:r>
            <a:endParaRPr lang="en-US" sz="750" b="1">
              <a:solidFill>
                <a:srgbClr val="000000"/>
              </a:solidFill>
              <a:latin typeface="Bekaert Text"/>
            </a:endParaRPr>
          </a:p>
        </p:txBody>
      </p:sp>
    </p:spTree>
    <p:extLst>
      <p:ext uri="{BB962C8B-B14F-4D97-AF65-F5344CB8AC3E}">
        <p14:creationId xmlns:p14="http://schemas.microsoft.com/office/powerpoint/2010/main" val="351582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house in a desert&#10;&#10;AI-generated content may be incorrect.">
            <a:extLst>
              <a:ext uri="{FF2B5EF4-FFF2-40B4-BE49-F238E27FC236}">
                <a16:creationId xmlns:a16="http://schemas.microsoft.com/office/drawing/2014/main" id="{1EB68B56-526B-6710-61CB-49DDEE26009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2"/>
            <a:ext cx="9145356" cy="514273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BAF6BD4-92FC-B607-9BE0-6994C3B1BE63}"/>
              </a:ext>
            </a:extLst>
          </p:cNvPr>
          <p:cNvSpPr txBox="1">
            <a:spLocks/>
          </p:cNvSpPr>
          <p:nvPr/>
        </p:nvSpPr>
        <p:spPr>
          <a:xfrm>
            <a:off x="258954" y="330391"/>
            <a:ext cx="7667063" cy="53321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en-GB" sz="3000" b="1"/>
              <a:t>Creating a better tomorrow</a:t>
            </a:r>
          </a:p>
          <a:p>
            <a:r>
              <a:rPr lang="zh-CN" altLang="en-US" sz="2800" b="1"/>
              <a:t>创造更美好的明天</a:t>
            </a:r>
            <a:endParaRPr lang="en-GB" sz="2800" b="1"/>
          </a:p>
          <a:p>
            <a:endParaRPr lang="en-GB" sz="3000" b="1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7947200-BBB1-1991-053B-9F1CCA3CAA42}"/>
              </a:ext>
            </a:extLst>
          </p:cNvPr>
          <p:cNvGrpSpPr/>
          <p:nvPr/>
        </p:nvGrpSpPr>
        <p:grpSpPr>
          <a:xfrm>
            <a:off x="584162" y="1887568"/>
            <a:ext cx="2129118" cy="2117116"/>
            <a:chOff x="2846876" y="819448"/>
            <a:chExt cx="3524471" cy="3504603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A073A10E-B59A-022F-3A4E-32770B5840A4}"/>
                </a:ext>
              </a:extLst>
            </p:cNvPr>
            <p:cNvSpPr/>
            <p:nvPr/>
          </p:nvSpPr>
          <p:spPr>
            <a:xfrm>
              <a:off x="2866744" y="819448"/>
              <a:ext cx="3504603" cy="3504603"/>
            </a:xfrm>
            <a:prstGeom prst="ellipse">
              <a:avLst/>
            </a:prstGeom>
            <a:solidFill>
              <a:schemeClr val="accent6"/>
            </a:solidFill>
            <a:ln w="635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" name="Title 1">
              <a:extLst>
                <a:ext uri="{FF2B5EF4-FFF2-40B4-BE49-F238E27FC236}">
                  <a16:creationId xmlns:a16="http://schemas.microsoft.com/office/drawing/2014/main" id="{D5B9CFEF-4F68-3368-0946-B192734253E1}"/>
                </a:ext>
              </a:extLst>
            </p:cNvPr>
            <p:cNvSpPr txBox="1">
              <a:spLocks/>
            </p:cNvSpPr>
            <p:nvPr/>
          </p:nvSpPr>
          <p:spPr>
            <a:xfrm>
              <a:off x="2846876" y="2605807"/>
              <a:ext cx="3473327" cy="938578"/>
            </a:xfrm>
            <a:prstGeom prst="rect">
              <a:avLst/>
            </a:prstGeom>
          </p:spPr>
          <p:txBody>
            <a:bodyPr vert="horz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nl-BE" sz="1400" b="0" i="0" kern="1200" spc="-30" baseline="0" dirty="0">
                  <a:solidFill>
                    <a:schemeClr val="accent2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/>
              <a:r>
                <a:rPr lang="en-GB" sz="1600" b="1"/>
                <a:t>Protect </a:t>
              </a:r>
              <a:br>
                <a:rPr lang="en-GB" sz="1600" b="1"/>
              </a:br>
              <a:r>
                <a:rPr lang="en-GB" sz="1600" b="1"/>
                <a:t>the planet</a:t>
              </a:r>
            </a:p>
          </p:txBody>
        </p:sp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6244FC30-391D-32F1-6E4D-661E3344B1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655311" y="819448"/>
              <a:ext cx="2013877" cy="2013877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6778ED4-BE0D-5319-8438-53D03A48ACBE}"/>
              </a:ext>
            </a:extLst>
          </p:cNvPr>
          <p:cNvGrpSpPr/>
          <p:nvPr/>
        </p:nvGrpSpPr>
        <p:grpSpPr>
          <a:xfrm>
            <a:off x="3611353" y="1887568"/>
            <a:ext cx="2126563" cy="2117116"/>
            <a:chOff x="2866744" y="819448"/>
            <a:chExt cx="3520242" cy="350460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CE659CA3-0F57-BC38-B950-17FB4EA25CB8}"/>
                </a:ext>
              </a:extLst>
            </p:cNvPr>
            <p:cNvSpPr/>
            <p:nvPr/>
          </p:nvSpPr>
          <p:spPr>
            <a:xfrm>
              <a:off x="2866744" y="819448"/>
              <a:ext cx="3504603" cy="3504603"/>
            </a:xfrm>
            <a:prstGeom prst="ellipse">
              <a:avLst/>
            </a:prstGeom>
            <a:solidFill>
              <a:schemeClr val="accent6"/>
            </a:solidFill>
            <a:ln w="635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Title 1">
              <a:extLst>
                <a:ext uri="{FF2B5EF4-FFF2-40B4-BE49-F238E27FC236}">
                  <a16:creationId xmlns:a16="http://schemas.microsoft.com/office/drawing/2014/main" id="{494424BD-63D7-5681-958D-D935EB4752B9}"/>
                </a:ext>
              </a:extLst>
            </p:cNvPr>
            <p:cNvSpPr txBox="1">
              <a:spLocks/>
            </p:cNvSpPr>
            <p:nvPr/>
          </p:nvSpPr>
          <p:spPr>
            <a:xfrm>
              <a:off x="2913659" y="2605807"/>
              <a:ext cx="3473327" cy="938578"/>
            </a:xfrm>
            <a:prstGeom prst="rect">
              <a:avLst/>
            </a:prstGeom>
          </p:spPr>
          <p:txBody>
            <a:bodyPr vert="horz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nl-BE" sz="1400" b="0" i="0" kern="1200" spc="-30" baseline="0" dirty="0">
                  <a:solidFill>
                    <a:schemeClr val="accent2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/>
              <a:r>
                <a:rPr lang="en-GB" sz="1600" b="1"/>
                <a:t>Put people </a:t>
              </a:r>
              <a:br>
                <a:rPr lang="en-GB" sz="1600" b="1"/>
              </a:br>
              <a:r>
                <a:rPr lang="en-GB" sz="1600" b="1"/>
                <a:t>first</a:t>
              </a:r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BE7FCBD5-F8EF-55D5-FEC9-22BAD9114B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710496" y="1025718"/>
              <a:ext cx="1817097" cy="1817097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9C20185-3342-24D5-353C-81ADF73E7A04}"/>
              </a:ext>
            </a:extLst>
          </p:cNvPr>
          <p:cNvGrpSpPr/>
          <p:nvPr/>
        </p:nvGrpSpPr>
        <p:grpSpPr>
          <a:xfrm>
            <a:off x="6525987" y="1887677"/>
            <a:ext cx="2117116" cy="2117116"/>
            <a:chOff x="2866744" y="819448"/>
            <a:chExt cx="3504603" cy="3504603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CBA5E50-BBA6-EBEE-F798-E14809D87EE5}"/>
                </a:ext>
              </a:extLst>
            </p:cNvPr>
            <p:cNvSpPr/>
            <p:nvPr/>
          </p:nvSpPr>
          <p:spPr>
            <a:xfrm>
              <a:off x="2866744" y="819448"/>
              <a:ext cx="3504603" cy="3504603"/>
            </a:xfrm>
            <a:prstGeom prst="ellipse">
              <a:avLst/>
            </a:prstGeom>
            <a:solidFill>
              <a:schemeClr val="accent6"/>
            </a:solidFill>
            <a:ln w="635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862DD72D-E307-5D25-BB38-D279851BF45A}"/>
                </a:ext>
              </a:extLst>
            </p:cNvPr>
            <p:cNvSpPr txBox="1">
              <a:spLocks/>
            </p:cNvSpPr>
            <p:nvPr/>
          </p:nvSpPr>
          <p:spPr>
            <a:xfrm>
              <a:off x="2866744" y="2605627"/>
              <a:ext cx="3473327" cy="938578"/>
            </a:xfrm>
            <a:prstGeom prst="rect">
              <a:avLst/>
            </a:prstGeom>
          </p:spPr>
          <p:txBody>
            <a:bodyPr vert="horz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nl-BE" sz="1400" b="0" i="0" kern="1200" spc="-30" baseline="0" dirty="0">
                  <a:solidFill>
                    <a:schemeClr val="accent2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/>
              <a:r>
                <a:rPr lang="en-GB" sz="1600" b="1"/>
                <a:t>Act with</a:t>
              </a:r>
            </a:p>
            <a:p>
              <a:pPr algn="ctr"/>
              <a:r>
                <a:rPr lang="en-GB" sz="1600" b="1"/>
                <a:t>integrity</a:t>
              </a:r>
              <a:endParaRPr lang="en-GB" sz="2000" b="1"/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B7C0F05C-9A27-3CC1-6811-CB53637EB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595660" y="930303"/>
              <a:ext cx="2065516" cy="2065516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6CD55D6D-B05A-860D-16AC-B023F881D2A5}"/>
              </a:ext>
            </a:extLst>
          </p:cNvPr>
          <p:cNvSpPr txBox="1"/>
          <p:nvPr/>
        </p:nvSpPr>
        <p:spPr>
          <a:xfrm>
            <a:off x="830580" y="3420000"/>
            <a:ext cx="1638300" cy="379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zh-CN" altLang="en-US" sz="1600" b="1">
                <a:solidFill>
                  <a:schemeClr val="accent2"/>
                </a:solidFill>
              </a:rPr>
              <a:t>保护地球</a:t>
            </a:r>
            <a:endParaRPr lang="en-US" sz="1600" b="1" err="1">
              <a:solidFill>
                <a:schemeClr val="accent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44B041-CB1D-23D6-5A86-CA25F431EF01}"/>
              </a:ext>
            </a:extLst>
          </p:cNvPr>
          <p:cNvSpPr txBox="1"/>
          <p:nvPr/>
        </p:nvSpPr>
        <p:spPr>
          <a:xfrm>
            <a:off x="3855720" y="3420000"/>
            <a:ext cx="1630679" cy="379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zh-CN" altLang="en-US" sz="1600" b="1">
                <a:solidFill>
                  <a:schemeClr val="accent2"/>
                </a:solidFill>
              </a:rPr>
              <a:t>以人为本</a:t>
            </a:r>
            <a:endParaRPr lang="en-US" sz="1600" b="1" err="1">
              <a:solidFill>
                <a:schemeClr val="accent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A378F5-A26F-2269-2D7D-5AA3AAAC7260}"/>
              </a:ext>
            </a:extLst>
          </p:cNvPr>
          <p:cNvSpPr txBox="1"/>
          <p:nvPr/>
        </p:nvSpPr>
        <p:spPr>
          <a:xfrm>
            <a:off x="6720840" y="3420000"/>
            <a:ext cx="1699260" cy="379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zh-CN" altLang="en-US" sz="1600" b="1">
                <a:solidFill>
                  <a:schemeClr val="accent2"/>
                </a:solidFill>
              </a:rPr>
              <a:t>诚信行事</a:t>
            </a:r>
            <a:endParaRPr lang="en-US" sz="1600" b="1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53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24C31C-9903-2CD6-28D4-DB16BED77F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ull image" descr="Landscape terraced rice field">
            <a:extLst>
              <a:ext uri="{FF2B5EF4-FFF2-40B4-BE49-F238E27FC236}">
                <a16:creationId xmlns:a16="http://schemas.microsoft.com/office/drawing/2014/main" id="{A4721242-61BE-A308-B2F4-AFB6C566EA0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9144000" cy="5143500"/>
          </a:xfrm>
          <a:prstGeom prst="rect">
            <a:avLst/>
          </a:prstGeom>
        </p:spPr>
      </p:pic>
      <p:sp>
        <p:nvSpPr>
          <p:cNvPr id="13" name="Leading partner">
            <a:extLst>
              <a:ext uri="{FF2B5EF4-FFF2-40B4-BE49-F238E27FC236}">
                <a16:creationId xmlns:a16="http://schemas.microsoft.com/office/drawing/2014/main" id="{81B99E8F-4362-2501-7EC2-DC7A7E745C51}"/>
              </a:ext>
            </a:extLst>
          </p:cNvPr>
          <p:cNvSpPr txBox="1">
            <a:spLocks/>
          </p:cNvSpPr>
          <p:nvPr/>
        </p:nvSpPr>
        <p:spPr>
          <a:xfrm>
            <a:off x="363600" y="134772"/>
            <a:ext cx="4626590" cy="463552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nl-BE" sz="1600">
                <a:latin typeface="+mj-lt"/>
              </a:rPr>
              <a:t>Be the leading partner for</a:t>
            </a:r>
          </a:p>
          <a:p>
            <a:pPr marL="0" indent="0">
              <a:spcAft>
                <a:spcPts val="0"/>
              </a:spcAft>
              <a:buNone/>
            </a:pPr>
            <a:r>
              <a:rPr lang="zh-CN" altLang="en-US" sz="2000">
                <a:latin typeface="+mj-lt"/>
              </a:rPr>
              <a:t>成为引领变革的合作伙伴</a:t>
            </a:r>
            <a:endParaRPr lang="nl-BE" sz="2000">
              <a:latin typeface="+mj-lt"/>
            </a:endParaRPr>
          </a:p>
          <a:p>
            <a:pPr marL="0" indent="0">
              <a:spcAft>
                <a:spcPts val="0"/>
              </a:spcAft>
              <a:buNone/>
            </a:pPr>
            <a:endParaRPr lang="nl-BE" sz="2400">
              <a:latin typeface="+mj-lt"/>
            </a:endParaRPr>
          </a:p>
        </p:txBody>
      </p:sp>
      <p:sp>
        <p:nvSpPr>
          <p:cNvPr id="21" name="Safe, smart, sustainable">
            <a:extLst>
              <a:ext uri="{FF2B5EF4-FFF2-40B4-BE49-F238E27FC236}">
                <a16:creationId xmlns:a16="http://schemas.microsoft.com/office/drawing/2014/main" id="{8E3CC823-2C5E-7D60-33DA-537C440B5F06}"/>
              </a:ext>
            </a:extLst>
          </p:cNvPr>
          <p:cNvSpPr txBox="1">
            <a:spLocks/>
          </p:cNvSpPr>
          <p:nvPr/>
        </p:nvSpPr>
        <p:spPr>
          <a:xfrm>
            <a:off x="363600" y="3971997"/>
            <a:ext cx="7413201" cy="1632359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nl-BE" sz="2800" b="1">
                <a:solidFill>
                  <a:schemeClr val="bg1"/>
                </a:solidFill>
              </a:rPr>
              <a:t>safe, smart, sustainable.</a:t>
            </a:r>
          </a:p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zh-CN" altLang="en-US" sz="2800" b="1">
                <a:solidFill>
                  <a:schemeClr val="bg1"/>
                </a:solidFill>
              </a:rPr>
              <a:t>安全、智慧、可持续</a:t>
            </a:r>
            <a:endParaRPr lang="nl-BE" sz="2800" b="1">
              <a:solidFill>
                <a:schemeClr val="bg1"/>
              </a:solidFill>
            </a:endParaRPr>
          </a:p>
          <a:p>
            <a:pPr marL="0" indent="0">
              <a:spcAft>
                <a:spcPts val="0"/>
              </a:spcAft>
              <a:buNone/>
            </a:pPr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4201ACC-D594-9D8C-9069-1D863EC2D2AD}"/>
              </a:ext>
            </a:extLst>
          </p:cNvPr>
          <p:cNvSpPr txBox="1"/>
          <p:nvPr/>
        </p:nvSpPr>
        <p:spPr>
          <a:xfrm>
            <a:off x="363600" y="1059180"/>
            <a:ext cx="6102514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nl-BE" sz="4000" b="1" err="1">
                <a:solidFill>
                  <a:schemeClr val="bg1"/>
                </a:solidFill>
                <a:latin typeface="+mj-lt"/>
              </a:rPr>
              <a:t>Shaping</a:t>
            </a:r>
            <a:r>
              <a:rPr lang="nl-BE" sz="4000" b="1">
                <a:solidFill>
                  <a:schemeClr val="bg1"/>
                </a:solidFill>
                <a:latin typeface="+mj-lt"/>
              </a:rPr>
              <a:t> </a:t>
            </a:r>
            <a:r>
              <a:rPr lang="nl-BE" sz="4000" b="1" err="1">
                <a:solidFill>
                  <a:schemeClr val="bg1"/>
                </a:solidFill>
                <a:latin typeface="+mj-lt"/>
              </a:rPr>
              <a:t>the</a:t>
            </a:r>
            <a:r>
              <a:rPr lang="nl-BE" sz="4000" b="1">
                <a:solidFill>
                  <a:schemeClr val="bg1"/>
                </a:solidFill>
                <a:latin typeface="+mj-lt"/>
              </a:rPr>
              <a:t> way</a:t>
            </a:r>
          </a:p>
          <a:p>
            <a:pPr algn="l">
              <a:buClr>
                <a:schemeClr val="accent1"/>
              </a:buClr>
            </a:pPr>
            <a:r>
              <a:rPr lang="nl-BE" sz="4000" b="1">
                <a:solidFill>
                  <a:schemeClr val="bg1"/>
                </a:solidFill>
                <a:latin typeface="+mj-lt"/>
              </a:rPr>
              <a:t>we live </a:t>
            </a:r>
            <a:r>
              <a:rPr lang="nl-BE" sz="4000" b="1" err="1">
                <a:solidFill>
                  <a:schemeClr val="bg1"/>
                </a:solidFill>
                <a:latin typeface="+mj-lt"/>
              </a:rPr>
              <a:t>and</a:t>
            </a:r>
            <a:r>
              <a:rPr lang="nl-BE" sz="4000" b="1">
                <a:solidFill>
                  <a:schemeClr val="bg1"/>
                </a:solidFill>
                <a:latin typeface="+mj-lt"/>
              </a:rPr>
              <a:t> move</a:t>
            </a:r>
          </a:p>
          <a:p>
            <a:pPr>
              <a:buClr>
                <a:schemeClr val="accent1"/>
              </a:buClr>
            </a:pPr>
            <a:r>
              <a:rPr lang="zh-CN" altLang="en-US" sz="4000" b="1">
                <a:solidFill>
                  <a:schemeClr val="bg1"/>
                </a:solidFill>
              </a:rPr>
              <a:t>塑造生活与出行新方式</a:t>
            </a:r>
            <a:endParaRPr lang="en-GB" sz="4000" b="1">
              <a:solidFill>
                <a:schemeClr val="bg1"/>
              </a:solidFill>
            </a:endParaRPr>
          </a:p>
          <a:p>
            <a:pPr algn="l">
              <a:buClr>
                <a:schemeClr val="accent1"/>
              </a:buClr>
            </a:pPr>
            <a:endParaRPr lang="en-BE" sz="4000" b="1" err="1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82581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A green mountains in the distance&#10;&#10;Description automatically generated">
            <a:extLst>
              <a:ext uri="{FF2B5EF4-FFF2-40B4-BE49-F238E27FC236}">
                <a16:creationId xmlns:a16="http://schemas.microsoft.com/office/drawing/2014/main" id="{A4E41D04-54C2-8380-13C9-584DC146D5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77" y="0"/>
            <a:ext cx="9142646" cy="5144262"/>
          </a:xfrm>
          <a:prstGeom prst="rect">
            <a:avLst/>
          </a:prstGeom>
        </p:spPr>
      </p:pic>
      <p:grpSp>
        <p:nvGrpSpPr>
          <p:cNvPr id="138" name="Groep 4">
            <a:extLst>
              <a:ext uri="{FF2B5EF4-FFF2-40B4-BE49-F238E27FC236}">
                <a16:creationId xmlns:a16="http://schemas.microsoft.com/office/drawing/2014/main" id="{717861CF-C647-82E9-F781-0BF59522DDEA}"/>
              </a:ext>
            </a:extLst>
          </p:cNvPr>
          <p:cNvGrpSpPr/>
          <p:nvPr/>
        </p:nvGrpSpPr>
        <p:grpSpPr>
          <a:xfrm>
            <a:off x="75795" y="1054083"/>
            <a:ext cx="1981200" cy="1042831"/>
            <a:chOff x="75795" y="1100397"/>
            <a:chExt cx="1981200" cy="1042831"/>
          </a:xfrm>
        </p:grpSpPr>
        <p:sp>
          <p:nvSpPr>
            <p:cNvPr id="139" name="TextBox 69">
              <a:extLst>
                <a:ext uri="{FF2B5EF4-FFF2-40B4-BE49-F238E27FC236}">
                  <a16:creationId xmlns:a16="http://schemas.microsoft.com/office/drawing/2014/main" id="{19B59074-695F-1E46-45AC-AD45F369EB38}"/>
                </a:ext>
              </a:extLst>
            </p:cNvPr>
            <p:cNvSpPr txBox="1"/>
            <p:nvPr/>
          </p:nvSpPr>
          <p:spPr>
            <a:xfrm>
              <a:off x="75795" y="1100397"/>
              <a:ext cx="1981200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chemeClr val="accent3"/>
                  </a:solidFill>
                  <a:latin typeface="+mj-lt"/>
                </a:rPr>
                <a:t>-46,2%</a:t>
              </a:r>
              <a:endParaRPr lang="en-BE" sz="2400" b="1">
                <a:solidFill>
                  <a:schemeClr val="accent3"/>
                </a:solidFill>
                <a:latin typeface="+mj-lt"/>
              </a:endParaRPr>
            </a:p>
          </p:txBody>
        </p:sp>
        <p:sp>
          <p:nvSpPr>
            <p:cNvPr id="140" name="TextBox 70">
              <a:extLst>
                <a:ext uri="{FF2B5EF4-FFF2-40B4-BE49-F238E27FC236}">
                  <a16:creationId xmlns:a16="http://schemas.microsoft.com/office/drawing/2014/main" id="{AA083BA1-B00D-0EDC-0BCF-1A6A7FE4AC70}"/>
                </a:ext>
              </a:extLst>
            </p:cNvPr>
            <p:cNvSpPr txBox="1"/>
            <p:nvPr/>
          </p:nvSpPr>
          <p:spPr>
            <a:xfrm>
              <a:off x="148020" y="1560504"/>
              <a:ext cx="1714666" cy="5827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700">
                  <a:solidFill>
                    <a:srgbClr val="5E7D53"/>
                  </a:solidFill>
                </a:rPr>
                <a:t>of scope 1&amp;2 GHG</a:t>
              </a:r>
              <a:r>
                <a:rPr lang="en-BE" sz="700">
                  <a:solidFill>
                    <a:srgbClr val="5E7D53"/>
                  </a:solidFill>
                </a:rPr>
                <a:t>¹</a:t>
              </a:r>
              <a:r>
                <a:rPr lang="nl-BE" sz="700">
                  <a:solidFill>
                    <a:srgbClr val="5E7D53"/>
                  </a:solidFill>
                </a:rPr>
                <a:t> emissions in line with science based targets</a:t>
              </a:r>
              <a:r>
                <a:rPr lang="en-BE" sz="700">
                  <a:solidFill>
                    <a:srgbClr val="5E7D53"/>
                  </a:solidFill>
                </a:rPr>
                <a:t>²</a:t>
              </a:r>
              <a:endParaRPr lang="en-US" sz="700">
                <a:solidFill>
                  <a:srgbClr val="5E7D53"/>
                </a:solidFill>
              </a:endParaRP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基于科学的目标</a:t>
              </a:r>
              <a:r>
                <a:rPr kumimoji="0" lang="en-BE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 </a:t>
              </a: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，减少范围</a:t>
              </a:r>
              <a:r>
                <a:rPr kumimoji="0" lang="en-US" altLang="zh-CN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1&amp;2</a:t>
              </a:r>
              <a:r>
                <a:rPr kumimoji="0" lang="en-BE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 </a:t>
              </a: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的温室气体排放量</a:t>
              </a:r>
            </a:p>
          </p:txBody>
        </p:sp>
      </p:grpSp>
      <p:grpSp>
        <p:nvGrpSpPr>
          <p:cNvPr id="141" name="Groep 5">
            <a:extLst>
              <a:ext uri="{FF2B5EF4-FFF2-40B4-BE49-F238E27FC236}">
                <a16:creationId xmlns:a16="http://schemas.microsoft.com/office/drawing/2014/main" id="{A1A5F4DF-302F-8499-8D58-6F8AB8177CEF}"/>
              </a:ext>
            </a:extLst>
          </p:cNvPr>
          <p:cNvGrpSpPr/>
          <p:nvPr/>
        </p:nvGrpSpPr>
        <p:grpSpPr>
          <a:xfrm>
            <a:off x="5333648" y="1054083"/>
            <a:ext cx="1981200" cy="945881"/>
            <a:chOff x="1755808" y="1100397"/>
            <a:chExt cx="1981200" cy="945881"/>
          </a:xfrm>
        </p:grpSpPr>
        <p:sp>
          <p:nvSpPr>
            <p:cNvPr id="142" name="TextBox 67">
              <a:extLst>
                <a:ext uri="{FF2B5EF4-FFF2-40B4-BE49-F238E27FC236}">
                  <a16:creationId xmlns:a16="http://schemas.microsoft.com/office/drawing/2014/main" id="{C7A61D84-08B4-F7A0-5E44-734DD02A6EE2}"/>
                </a:ext>
              </a:extLst>
            </p:cNvPr>
            <p:cNvSpPr txBox="1"/>
            <p:nvPr/>
          </p:nvSpPr>
          <p:spPr>
            <a:xfrm>
              <a:off x="1755808" y="1100397"/>
              <a:ext cx="1981200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chemeClr val="accent3"/>
                  </a:solidFill>
                  <a:latin typeface="+mj-lt"/>
                </a:rPr>
                <a:t>-15%</a:t>
              </a:r>
              <a:endParaRPr lang="en-BE" sz="2400" b="1">
                <a:solidFill>
                  <a:schemeClr val="accent3"/>
                </a:solidFill>
                <a:latin typeface="+mj-lt"/>
              </a:endParaRPr>
            </a:p>
          </p:txBody>
        </p:sp>
        <p:sp>
          <p:nvSpPr>
            <p:cNvPr id="143" name="TextBox 68">
              <a:extLst>
                <a:ext uri="{FF2B5EF4-FFF2-40B4-BE49-F238E27FC236}">
                  <a16:creationId xmlns:a16="http://schemas.microsoft.com/office/drawing/2014/main" id="{C8173331-98BA-9E5C-2308-E7181BADA7BD}"/>
                </a:ext>
              </a:extLst>
            </p:cNvPr>
            <p:cNvSpPr txBox="1"/>
            <p:nvPr/>
          </p:nvSpPr>
          <p:spPr>
            <a:xfrm>
              <a:off x="2116054" y="1560504"/>
              <a:ext cx="1289745" cy="485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700">
                  <a:solidFill>
                    <a:srgbClr val="5E7D53"/>
                  </a:solidFill>
                </a:rPr>
                <a:t>freshwater intake in water stressed regions</a:t>
              </a:r>
              <a:r>
                <a:rPr lang="en-BE" sz="700">
                  <a:solidFill>
                    <a:srgbClr val="5E7D53"/>
                  </a:solidFill>
                </a:rPr>
                <a:t>²</a:t>
              </a:r>
              <a:endParaRPr lang="en-US" sz="700">
                <a:solidFill>
                  <a:srgbClr val="5E7D53"/>
                </a:solidFill>
              </a:endParaRP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减少缺水地区的淡水使用量</a:t>
              </a:r>
            </a:p>
          </p:txBody>
        </p:sp>
      </p:grpSp>
      <p:grpSp>
        <p:nvGrpSpPr>
          <p:cNvPr id="144" name="Groep 6">
            <a:extLst>
              <a:ext uri="{FF2B5EF4-FFF2-40B4-BE49-F238E27FC236}">
                <a16:creationId xmlns:a16="http://schemas.microsoft.com/office/drawing/2014/main" id="{7419073A-2F26-08FC-4B0D-CBA4E2EC9F8F}"/>
              </a:ext>
            </a:extLst>
          </p:cNvPr>
          <p:cNvGrpSpPr/>
          <p:nvPr/>
        </p:nvGrpSpPr>
        <p:grpSpPr>
          <a:xfrm>
            <a:off x="4065943" y="1054083"/>
            <a:ext cx="1071921" cy="1145423"/>
            <a:chOff x="3838175" y="1100397"/>
            <a:chExt cx="1071921" cy="1145423"/>
          </a:xfrm>
        </p:grpSpPr>
        <p:sp>
          <p:nvSpPr>
            <p:cNvPr id="145" name="TextBox 63">
              <a:extLst>
                <a:ext uri="{FF2B5EF4-FFF2-40B4-BE49-F238E27FC236}">
                  <a16:creationId xmlns:a16="http://schemas.microsoft.com/office/drawing/2014/main" id="{17B0C498-A177-92A5-AEE1-BFB1AC88E4D7}"/>
                </a:ext>
              </a:extLst>
            </p:cNvPr>
            <p:cNvSpPr txBox="1"/>
            <p:nvPr/>
          </p:nvSpPr>
          <p:spPr>
            <a:xfrm>
              <a:off x="4081899" y="1100397"/>
              <a:ext cx="517925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chemeClr val="accent3"/>
                  </a:solidFill>
                  <a:latin typeface="+mj-lt"/>
                </a:rPr>
                <a:t>0</a:t>
              </a:r>
              <a:endParaRPr lang="en-BE" sz="2400" b="1">
                <a:solidFill>
                  <a:schemeClr val="accent3"/>
                </a:solidFill>
                <a:latin typeface="+mj-lt"/>
              </a:endParaRPr>
            </a:p>
          </p:txBody>
        </p:sp>
        <p:sp>
          <p:nvSpPr>
            <p:cNvPr id="146" name="TextBox 64">
              <a:extLst>
                <a:ext uri="{FF2B5EF4-FFF2-40B4-BE49-F238E27FC236}">
                  <a16:creationId xmlns:a16="http://schemas.microsoft.com/office/drawing/2014/main" id="{D048B815-BC06-7628-5DEC-F072A4DF96BC}"/>
                </a:ext>
              </a:extLst>
            </p:cNvPr>
            <p:cNvSpPr txBox="1"/>
            <p:nvPr/>
          </p:nvSpPr>
          <p:spPr>
            <a:xfrm>
              <a:off x="3838175" y="1560504"/>
              <a:ext cx="1071921" cy="685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700">
                  <a:solidFill>
                    <a:srgbClr val="5E7D53"/>
                  </a:solidFill>
                </a:rPr>
                <a:t>reach carbon </a:t>
              </a:r>
              <a:br>
                <a:rPr lang="nl-BE" sz="700">
                  <a:solidFill>
                    <a:srgbClr val="5E7D53"/>
                  </a:solidFill>
                </a:rPr>
              </a:br>
              <a:r>
                <a:rPr lang="nl-BE" sz="700">
                  <a:solidFill>
                    <a:srgbClr val="5E7D53"/>
                  </a:solidFill>
                </a:rPr>
                <a:t>net zero by 2050</a:t>
              </a: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kumimoji="0" lang="en-US" altLang="zh-CN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2050</a:t>
              </a: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年，</a:t>
              </a:r>
              <a:r>
                <a:rPr lang="zh-CN" altLang="en-US" sz="700">
                  <a:solidFill>
                    <a:srgbClr val="5E7D53"/>
                  </a:solidFill>
                  <a:latin typeface="Bekaert Text"/>
                </a:rPr>
                <a:t>实现</a:t>
              </a: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碳中和</a:t>
              </a: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endParaRPr lang="en-BE" sz="700">
                <a:solidFill>
                  <a:srgbClr val="5E7D53"/>
                </a:solidFill>
              </a:endParaRPr>
            </a:p>
          </p:txBody>
        </p:sp>
      </p:grpSp>
      <p:grpSp>
        <p:nvGrpSpPr>
          <p:cNvPr id="147" name="Groep 7">
            <a:extLst>
              <a:ext uri="{FF2B5EF4-FFF2-40B4-BE49-F238E27FC236}">
                <a16:creationId xmlns:a16="http://schemas.microsoft.com/office/drawing/2014/main" id="{9CE35A31-1159-7818-BA6D-2240D045B5BB}"/>
              </a:ext>
            </a:extLst>
          </p:cNvPr>
          <p:cNvGrpSpPr/>
          <p:nvPr/>
        </p:nvGrpSpPr>
        <p:grpSpPr>
          <a:xfrm>
            <a:off x="7378447" y="1054083"/>
            <a:ext cx="1418575" cy="945881"/>
            <a:chOff x="5165584" y="1100397"/>
            <a:chExt cx="1418575" cy="945881"/>
          </a:xfrm>
        </p:grpSpPr>
        <p:sp>
          <p:nvSpPr>
            <p:cNvPr id="148" name="TextBox 65">
              <a:extLst>
                <a:ext uri="{FF2B5EF4-FFF2-40B4-BE49-F238E27FC236}">
                  <a16:creationId xmlns:a16="http://schemas.microsoft.com/office/drawing/2014/main" id="{C4CA2BED-D451-01FF-3B6B-6A6C2FD0759D}"/>
                </a:ext>
              </a:extLst>
            </p:cNvPr>
            <p:cNvSpPr txBox="1"/>
            <p:nvPr/>
          </p:nvSpPr>
          <p:spPr>
            <a:xfrm>
              <a:off x="5263442" y="1100397"/>
              <a:ext cx="1320717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chemeClr val="accent3"/>
                  </a:solidFill>
                  <a:latin typeface="+mj-lt"/>
                </a:rPr>
                <a:t>65%</a:t>
              </a:r>
              <a:endParaRPr lang="en-BE" sz="2400" b="1">
                <a:solidFill>
                  <a:schemeClr val="accent3"/>
                </a:solidFill>
                <a:latin typeface="+mj-lt"/>
              </a:endParaRPr>
            </a:p>
          </p:txBody>
        </p:sp>
        <p:sp>
          <p:nvSpPr>
            <p:cNvPr id="149" name="TextBox 66">
              <a:extLst>
                <a:ext uri="{FF2B5EF4-FFF2-40B4-BE49-F238E27FC236}">
                  <a16:creationId xmlns:a16="http://schemas.microsoft.com/office/drawing/2014/main" id="{AB027744-C936-3467-E563-B6EBA44CF453}"/>
                </a:ext>
              </a:extLst>
            </p:cNvPr>
            <p:cNvSpPr txBox="1"/>
            <p:nvPr/>
          </p:nvSpPr>
          <p:spPr>
            <a:xfrm>
              <a:off x="5165584" y="1560504"/>
              <a:ext cx="1418575" cy="485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700">
                  <a:solidFill>
                    <a:srgbClr val="5E7D53"/>
                  </a:solidFill>
                </a:rPr>
                <a:t>of our sales to be from sustainable solutions</a:t>
              </a: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来自可持续解决方案的销售额</a:t>
              </a:r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6560979-9BE3-26C1-6E22-0C69C5BCA8D5}"/>
              </a:ext>
            </a:extLst>
          </p:cNvPr>
          <p:cNvSpPr txBox="1">
            <a:spLocks/>
          </p:cNvSpPr>
          <p:nvPr/>
        </p:nvSpPr>
        <p:spPr>
          <a:xfrm>
            <a:off x="3273660" y="385443"/>
            <a:ext cx="5066404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400" b="1"/>
              <a:t>Protect the planet </a:t>
            </a:r>
            <a:r>
              <a:rPr lang="zh-CN" altLang="en-US" sz="2400" b="1"/>
              <a:t>保护地球</a:t>
            </a:r>
            <a:endParaRPr lang="en-GB" sz="2400" b="1"/>
          </a:p>
        </p:txBody>
      </p:sp>
      <p:pic>
        <p:nvPicPr>
          <p:cNvPr id="151" name="Graphic 150">
            <a:extLst>
              <a:ext uri="{FF2B5EF4-FFF2-40B4-BE49-F238E27FC236}">
                <a16:creationId xmlns:a16="http://schemas.microsoft.com/office/drawing/2014/main" id="{78ABEFD2-92BE-03B0-58A6-2B85AC9FF1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94304" y="-81298"/>
            <a:ext cx="1320717" cy="1320717"/>
          </a:xfrm>
          <a:prstGeom prst="rect">
            <a:avLst/>
          </a:prstGeom>
        </p:spPr>
      </p:pic>
      <p:grpSp>
        <p:nvGrpSpPr>
          <p:cNvPr id="152" name="Groep 8">
            <a:extLst>
              <a:ext uri="{FF2B5EF4-FFF2-40B4-BE49-F238E27FC236}">
                <a16:creationId xmlns:a16="http://schemas.microsoft.com/office/drawing/2014/main" id="{56391D07-BE97-6479-3822-168E2EB95AAD}"/>
              </a:ext>
            </a:extLst>
          </p:cNvPr>
          <p:cNvGrpSpPr/>
          <p:nvPr/>
        </p:nvGrpSpPr>
        <p:grpSpPr>
          <a:xfrm>
            <a:off x="1898964" y="1054083"/>
            <a:ext cx="2001794" cy="1031735"/>
            <a:chOff x="6954367" y="1103059"/>
            <a:chExt cx="2001794" cy="1031735"/>
          </a:xfrm>
        </p:grpSpPr>
        <p:sp>
          <p:nvSpPr>
            <p:cNvPr id="153" name="TextBox 65">
              <a:extLst>
                <a:ext uri="{FF2B5EF4-FFF2-40B4-BE49-F238E27FC236}">
                  <a16:creationId xmlns:a16="http://schemas.microsoft.com/office/drawing/2014/main" id="{2513C328-D80B-ECEA-6888-8887B23DC80C}"/>
                </a:ext>
              </a:extLst>
            </p:cNvPr>
            <p:cNvSpPr txBox="1"/>
            <p:nvPr/>
          </p:nvSpPr>
          <p:spPr>
            <a:xfrm>
              <a:off x="7058534" y="1103059"/>
              <a:ext cx="1882891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chemeClr val="accent3"/>
                  </a:solidFill>
                  <a:latin typeface="+mj-lt"/>
                </a:rPr>
                <a:t>-19.7%</a:t>
              </a:r>
              <a:endParaRPr lang="en-BE" sz="2400" b="1">
                <a:solidFill>
                  <a:schemeClr val="accent3"/>
                </a:solidFill>
                <a:latin typeface="+mj-lt"/>
              </a:endParaRPr>
            </a:p>
          </p:txBody>
        </p:sp>
        <p:sp>
          <p:nvSpPr>
            <p:cNvPr id="154" name="TextBox 66">
              <a:extLst>
                <a:ext uri="{FF2B5EF4-FFF2-40B4-BE49-F238E27FC236}">
                  <a16:creationId xmlns:a16="http://schemas.microsoft.com/office/drawing/2014/main" id="{ACFAEE55-3CE8-AE65-8F79-D49B44CC364D}"/>
                </a:ext>
              </a:extLst>
            </p:cNvPr>
            <p:cNvSpPr txBox="1"/>
            <p:nvPr/>
          </p:nvSpPr>
          <p:spPr>
            <a:xfrm>
              <a:off x="6954367" y="1552070"/>
              <a:ext cx="2001794" cy="5827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700">
                  <a:solidFill>
                    <a:srgbClr val="5E7D53"/>
                  </a:solidFill>
                </a:rPr>
                <a:t>of scope 3 GHG emissions from purchased goods and services by 2035</a:t>
              </a:r>
              <a:r>
                <a:rPr lang="en-BE" sz="700">
                  <a:solidFill>
                    <a:srgbClr val="5E7D53"/>
                  </a:solidFill>
                </a:rPr>
                <a:t>²</a:t>
              </a:r>
              <a:endParaRPr lang="en-US" sz="700">
                <a:solidFill>
                  <a:srgbClr val="5E7D53"/>
                </a:solidFill>
              </a:endParaRP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kumimoji="0" lang="en-US" altLang="zh-CN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2035</a:t>
              </a: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年，减少采购商品和服务所产生的范围</a:t>
              </a:r>
              <a:r>
                <a:rPr kumimoji="0" lang="en-US" altLang="zh-CN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3</a:t>
              </a: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的温室气体排放量</a:t>
              </a:r>
              <a:r>
                <a:rPr kumimoji="0" lang="en-BE" sz="700" b="0" i="0" u="none" strike="noStrike" kern="1200" cap="none" spc="0" normalizeH="0" baseline="0" noProof="0">
                  <a:ln>
                    <a:noFill/>
                  </a:ln>
                  <a:solidFill>
                    <a:srgbClr val="5E7D53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 </a:t>
              </a:r>
              <a:endPara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5E7D53"/>
                </a:solidFill>
                <a:effectLst/>
                <a:uLnTx/>
                <a:uFillTx/>
                <a:latin typeface="Bekaert Text"/>
                <a:ea typeface="+mn-ea"/>
                <a:cs typeface="+mn-cs"/>
              </a:endParaRPr>
            </a:p>
          </p:txBody>
        </p:sp>
      </p:grpSp>
      <p:sp>
        <p:nvSpPr>
          <p:cNvPr id="155" name="Text Placeholder 4">
            <a:extLst>
              <a:ext uri="{FF2B5EF4-FFF2-40B4-BE49-F238E27FC236}">
                <a16:creationId xmlns:a16="http://schemas.microsoft.com/office/drawing/2014/main" id="{DAEB166F-A619-1F48-D2EE-96BD39894D21}"/>
              </a:ext>
            </a:extLst>
          </p:cNvPr>
          <p:cNvSpPr txBox="1">
            <a:spLocks/>
          </p:cNvSpPr>
          <p:nvPr/>
        </p:nvSpPr>
        <p:spPr>
          <a:xfrm>
            <a:off x="2976036" y="719907"/>
            <a:ext cx="5454252" cy="233417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400">
                <a:solidFill>
                  <a:schemeClr val="accent2"/>
                </a:solidFill>
              </a:rPr>
              <a:t>Ambition 2030 vs 2019 </a:t>
            </a:r>
            <a:r>
              <a:rPr lang="zh-CN" altLang="en-US" sz="1400">
                <a:solidFill>
                  <a:schemeClr val="accent2"/>
                </a:solidFill>
              </a:rPr>
              <a:t>（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602C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2030</a:t>
            </a: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602C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年目标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602C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 vs 2019</a:t>
            </a: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602C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年基准）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602C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  <a:p>
            <a:pPr marL="0" indent="0" algn="ctr">
              <a:buNone/>
            </a:pPr>
            <a:r>
              <a:rPr lang="en-GB" sz="1600">
                <a:solidFill>
                  <a:schemeClr val="accent2"/>
                </a:solidFill>
              </a:rPr>
              <a:t> </a:t>
            </a:r>
          </a:p>
        </p:txBody>
      </p:sp>
      <p:grpSp>
        <p:nvGrpSpPr>
          <p:cNvPr id="156" name="Groep 39">
            <a:extLst>
              <a:ext uri="{FF2B5EF4-FFF2-40B4-BE49-F238E27FC236}">
                <a16:creationId xmlns:a16="http://schemas.microsoft.com/office/drawing/2014/main" id="{0F62512B-3628-2AA7-7F34-11194103C8B0}"/>
              </a:ext>
            </a:extLst>
          </p:cNvPr>
          <p:cNvGrpSpPr/>
          <p:nvPr/>
        </p:nvGrpSpPr>
        <p:grpSpPr>
          <a:xfrm>
            <a:off x="388764" y="3723147"/>
            <a:ext cx="1473922" cy="1058703"/>
            <a:chOff x="384548" y="3845887"/>
            <a:chExt cx="1473922" cy="1058703"/>
          </a:xfrm>
        </p:grpSpPr>
        <p:sp>
          <p:nvSpPr>
            <p:cNvPr id="157" name="TextBox 55">
              <a:extLst>
                <a:ext uri="{FF2B5EF4-FFF2-40B4-BE49-F238E27FC236}">
                  <a16:creationId xmlns:a16="http://schemas.microsoft.com/office/drawing/2014/main" id="{6987B27B-8643-C703-FFE7-719E47EDEB77}"/>
                </a:ext>
              </a:extLst>
            </p:cNvPr>
            <p:cNvSpPr txBox="1"/>
            <p:nvPr/>
          </p:nvSpPr>
          <p:spPr>
            <a:xfrm>
              <a:off x="432203" y="3845887"/>
              <a:ext cx="1259952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rgbClr val="D4E6C0"/>
                  </a:solidFill>
                  <a:latin typeface="+mj-lt"/>
                </a:rPr>
                <a:t>-</a:t>
              </a:r>
              <a:r>
                <a:rPr lang="en-BE" sz="2400" b="1">
                  <a:solidFill>
                    <a:srgbClr val="D4E6C0"/>
                  </a:solidFill>
                  <a:latin typeface="+mj-lt"/>
                </a:rPr>
                <a:t>20</a:t>
              </a:r>
              <a:r>
                <a:rPr lang="nl-BE" sz="2400" b="1">
                  <a:solidFill>
                    <a:srgbClr val="D4E6C0"/>
                  </a:solidFill>
                  <a:latin typeface="+mj-lt"/>
                </a:rPr>
                <a:t>%</a:t>
              </a:r>
              <a:endParaRPr lang="en-BE" sz="2400" b="1">
                <a:solidFill>
                  <a:srgbClr val="D4E6C0"/>
                </a:solidFill>
                <a:latin typeface="+mj-lt"/>
              </a:endParaRPr>
            </a:p>
          </p:txBody>
        </p:sp>
        <p:sp>
          <p:nvSpPr>
            <p:cNvPr id="158" name="TextBox 56">
              <a:extLst>
                <a:ext uri="{FF2B5EF4-FFF2-40B4-BE49-F238E27FC236}">
                  <a16:creationId xmlns:a16="http://schemas.microsoft.com/office/drawing/2014/main" id="{A41C8D58-B6EB-F4D3-976B-9CD062C8CC8E}"/>
                </a:ext>
              </a:extLst>
            </p:cNvPr>
            <p:cNvSpPr txBox="1"/>
            <p:nvPr/>
          </p:nvSpPr>
          <p:spPr>
            <a:xfrm>
              <a:off x="384548" y="4418816"/>
              <a:ext cx="1473922" cy="485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700">
                  <a:solidFill>
                    <a:srgbClr val="D4E6C0"/>
                  </a:solidFill>
                </a:rPr>
                <a:t>reduction in </a:t>
              </a:r>
              <a:br>
                <a:rPr lang="nl-BE" sz="700">
                  <a:solidFill>
                    <a:srgbClr val="D4E6C0"/>
                  </a:solidFill>
                </a:rPr>
              </a:br>
              <a:r>
                <a:rPr lang="nl-BE" sz="700">
                  <a:solidFill>
                    <a:srgbClr val="D4E6C0"/>
                  </a:solidFill>
                </a:rPr>
                <a:t>Scope 1 &amp; 2 GHG emissions</a:t>
              </a: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zh-CN" altLang="en-US" sz="700">
                  <a:solidFill>
                    <a:srgbClr val="D4E6C0"/>
                  </a:solidFill>
                  <a:latin typeface="Bekaert Text"/>
                </a:rPr>
                <a:t>减少范围</a:t>
              </a:r>
              <a:r>
                <a:rPr lang="en-US" altLang="zh-CN" sz="700">
                  <a:solidFill>
                    <a:srgbClr val="D4E6C0"/>
                  </a:solidFill>
                  <a:latin typeface="Bekaert Text"/>
                </a:rPr>
                <a:t>1&amp;2</a:t>
              </a:r>
              <a:r>
                <a:rPr lang="zh-CN" altLang="en-US" sz="700">
                  <a:solidFill>
                    <a:srgbClr val="D4E6C0"/>
                  </a:solidFill>
                  <a:latin typeface="Bekaert Text"/>
                </a:rPr>
                <a:t>的温室气体排放</a:t>
              </a:r>
              <a:endParaRPr lang="nl-BE" sz="700">
                <a:solidFill>
                  <a:srgbClr val="D4E6C0"/>
                </a:solidFill>
                <a:latin typeface="Bekaert Text"/>
              </a:endParaRPr>
            </a:p>
          </p:txBody>
        </p:sp>
      </p:grpSp>
      <p:grpSp>
        <p:nvGrpSpPr>
          <p:cNvPr id="159" name="Groep 36">
            <a:extLst>
              <a:ext uri="{FF2B5EF4-FFF2-40B4-BE49-F238E27FC236}">
                <a16:creationId xmlns:a16="http://schemas.microsoft.com/office/drawing/2014/main" id="{BB5D7396-D7A1-E988-AD87-457554981A41}"/>
              </a:ext>
            </a:extLst>
          </p:cNvPr>
          <p:cNvGrpSpPr/>
          <p:nvPr/>
        </p:nvGrpSpPr>
        <p:grpSpPr>
          <a:xfrm>
            <a:off x="3977586" y="3723147"/>
            <a:ext cx="1762490" cy="1060055"/>
            <a:chOff x="3201462" y="3845887"/>
            <a:chExt cx="1762490" cy="1060055"/>
          </a:xfrm>
        </p:grpSpPr>
        <p:sp>
          <p:nvSpPr>
            <p:cNvPr id="160" name="TextBox 57">
              <a:extLst>
                <a:ext uri="{FF2B5EF4-FFF2-40B4-BE49-F238E27FC236}">
                  <a16:creationId xmlns:a16="http://schemas.microsoft.com/office/drawing/2014/main" id="{0DAF25B9-BD4C-89A1-9840-67BB2A9A86A6}"/>
                </a:ext>
              </a:extLst>
            </p:cNvPr>
            <p:cNvSpPr txBox="1"/>
            <p:nvPr/>
          </p:nvSpPr>
          <p:spPr>
            <a:xfrm>
              <a:off x="3329718" y="3845887"/>
              <a:ext cx="1368104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en-BE" sz="2400" b="1">
                  <a:solidFill>
                    <a:srgbClr val="D4E6C0"/>
                  </a:solidFill>
                  <a:latin typeface="+mj-lt"/>
                </a:rPr>
                <a:t>250+</a:t>
              </a:r>
            </a:p>
          </p:txBody>
        </p:sp>
        <p:sp>
          <p:nvSpPr>
            <p:cNvPr id="161" name="TextBox 58">
              <a:extLst>
                <a:ext uri="{FF2B5EF4-FFF2-40B4-BE49-F238E27FC236}">
                  <a16:creationId xmlns:a16="http://schemas.microsoft.com/office/drawing/2014/main" id="{AA6F4525-CD33-AC80-3E47-1A218E5FAD38}"/>
                </a:ext>
              </a:extLst>
            </p:cNvPr>
            <p:cNvSpPr txBox="1"/>
            <p:nvPr/>
          </p:nvSpPr>
          <p:spPr>
            <a:xfrm>
              <a:off x="3201462" y="4420168"/>
              <a:ext cx="1762490" cy="485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700">
                  <a:solidFill>
                    <a:srgbClr val="D4E6C0"/>
                  </a:solidFill>
                </a:rPr>
                <a:t>energy </a:t>
              </a:r>
              <a:r>
                <a:rPr lang="nl-BE" sz="700" err="1">
                  <a:solidFill>
                    <a:srgbClr val="D4E6C0"/>
                  </a:solidFill>
                </a:rPr>
                <a:t>saving</a:t>
              </a:r>
              <a:r>
                <a:rPr lang="en-BE" sz="700">
                  <a:solidFill>
                    <a:srgbClr val="D4E6C0"/>
                  </a:solidFill>
                </a:rPr>
                <a:t> initiatives implemented </a:t>
              </a:r>
              <a:r>
                <a:rPr lang="nl-BE" sz="700">
                  <a:solidFill>
                    <a:srgbClr val="D4E6C0"/>
                  </a:solidFill>
                </a:rPr>
                <a:t>via You Know Watt</a:t>
              </a: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D4E6C0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开展</a:t>
              </a:r>
              <a:r>
                <a:rPr kumimoji="0" lang="nl-BE" sz="700" b="0" i="0" u="none" strike="noStrike" kern="1200" cap="none" spc="0" normalizeH="0" baseline="0" noProof="0">
                  <a:ln>
                    <a:noFill/>
                  </a:ln>
                  <a:solidFill>
                    <a:srgbClr val="D4E6C0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You Know Watt</a:t>
              </a: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D4E6C0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节能减排项目</a:t>
              </a:r>
              <a:endParaRPr kumimoji="0" lang="en-BE" sz="700" b="0" i="0" u="none" strike="noStrike" kern="1200" cap="none" spc="0" normalizeH="0" baseline="0" noProof="0">
                <a:ln>
                  <a:noFill/>
                </a:ln>
                <a:solidFill>
                  <a:srgbClr val="D4E6C0"/>
                </a:solidFill>
                <a:effectLst/>
                <a:uLnTx/>
                <a:uFillTx/>
                <a:latin typeface="Bekaert Text"/>
                <a:ea typeface="+mn-ea"/>
                <a:cs typeface="+mn-cs"/>
              </a:endParaRPr>
            </a:p>
          </p:txBody>
        </p:sp>
      </p:grpSp>
      <p:grpSp>
        <p:nvGrpSpPr>
          <p:cNvPr id="162" name="Groep 11">
            <a:extLst>
              <a:ext uri="{FF2B5EF4-FFF2-40B4-BE49-F238E27FC236}">
                <a16:creationId xmlns:a16="http://schemas.microsoft.com/office/drawing/2014/main" id="{8558D3AB-10A7-069D-8FE6-482593CD7BB1}"/>
              </a:ext>
            </a:extLst>
          </p:cNvPr>
          <p:cNvGrpSpPr/>
          <p:nvPr/>
        </p:nvGrpSpPr>
        <p:grpSpPr>
          <a:xfrm>
            <a:off x="5853799" y="3723147"/>
            <a:ext cx="1421864" cy="1058703"/>
            <a:chOff x="4574657" y="3845887"/>
            <a:chExt cx="1421864" cy="1058703"/>
          </a:xfrm>
        </p:grpSpPr>
        <p:sp>
          <p:nvSpPr>
            <p:cNvPr id="163" name="TextBox 59">
              <a:extLst>
                <a:ext uri="{FF2B5EF4-FFF2-40B4-BE49-F238E27FC236}">
                  <a16:creationId xmlns:a16="http://schemas.microsoft.com/office/drawing/2014/main" id="{3994D2FA-F4DC-6E94-EC68-9CE2BBDE115F}"/>
                </a:ext>
              </a:extLst>
            </p:cNvPr>
            <p:cNvSpPr txBox="1"/>
            <p:nvPr/>
          </p:nvSpPr>
          <p:spPr>
            <a:xfrm>
              <a:off x="4599824" y="3845887"/>
              <a:ext cx="1396697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en-BE" sz="2400" b="1">
                  <a:solidFill>
                    <a:srgbClr val="D4E6C0"/>
                  </a:solidFill>
                  <a:latin typeface="+mj-lt"/>
                </a:rPr>
                <a:t>-8</a:t>
              </a:r>
              <a:r>
                <a:rPr lang="nl-BE" sz="2400" b="1">
                  <a:solidFill>
                    <a:srgbClr val="D4E6C0"/>
                  </a:solidFill>
                  <a:latin typeface="+mj-lt"/>
                </a:rPr>
                <a:t>%</a:t>
              </a:r>
              <a:endParaRPr lang="en-BE" sz="2400" b="1">
                <a:solidFill>
                  <a:srgbClr val="D4E6C0"/>
                </a:solidFill>
                <a:latin typeface="+mj-lt"/>
              </a:endParaRPr>
            </a:p>
          </p:txBody>
        </p:sp>
        <p:sp>
          <p:nvSpPr>
            <p:cNvPr id="164" name="TextBox 60">
              <a:extLst>
                <a:ext uri="{FF2B5EF4-FFF2-40B4-BE49-F238E27FC236}">
                  <a16:creationId xmlns:a16="http://schemas.microsoft.com/office/drawing/2014/main" id="{12912F58-4E66-0516-3439-D90CEFC5571E}"/>
                </a:ext>
              </a:extLst>
            </p:cNvPr>
            <p:cNvSpPr txBox="1"/>
            <p:nvPr/>
          </p:nvSpPr>
          <p:spPr>
            <a:xfrm>
              <a:off x="4574657" y="4418816"/>
              <a:ext cx="1417180" cy="485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en-BE" sz="700">
                  <a:solidFill>
                    <a:srgbClr val="D4E6C0"/>
                  </a:solidFill>
                </a:rPr>
                <a:t>less freshwater intake in water-stressed regions²</a:t>
              </a:r>
              <a:endParaRPr lang="en-US" sz="700">
                <a:solidFill>
                  <a:srgbClr val="D4E6C0"/>
                </a:solidFill>
              </a:endParaRP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zh-CN" altLang="en-US" sz="700">
                  <a:solidFill>
                    <a:srgbClr val="D4E6C0"/>
                  </a:solidFill>
                  <a:latin typeface="Bekaert Text"/>
                </a:rPr>
                <a:t>减少缺水地区的淡水使用量</a:t>
              </a:r>
              <a:endParaRPr kumimoji="0" lang="nl-BE" sz="700" b="0" i="0" u="none" strike="noStrike" kern="1200" cap="none" spc="0" normalizeH="0" baseline="0" noProof="0">
                <a:ln>
                  <a:noFill/>
                </a:ln>
                <a:solidFill>
                  <a:srgbClr val="D4E6C0"/>
                </a:solidFill>
                <a:effectLst/>
                <a:uLnTx/>
                <a:uFillTx/>
                <a:latin typeface="Bekaert Text"/>
                <a:ea typeface="+mn-ea"/>
                <a:cs typeface="+mn-cs"/>
              </a:endParaRPr>
            </a:p>
          </p:txBody>
        </p:sp>
      </p:grpSp>
      <p:grpSp>
        <p:nvGrpSpPr>
          <p:cNvPr id="165" name="Groep 37">
            <a:extLst>
              <a:ext uri="{FF2B5EF4-FFF2-40B4-BE49-F238E27FC236}">
                <a16:creationId xmlns:a16="http://schemas.microsoft.com/office/drawing/2014/main" id="{FFCF518F-5D32-4E76-98E3-C962F86E709F}"/>
              </a:ext>
            </a:extLst>
          </p:cNvPr>
          <p:cNvGrpSpPr/>
          <p:nvPr/>
        </p:nvGrpSpPr>
        <p:grpSpPr>
          <a:xfrm>
            <a:off x="1976409" y="3723147"/>
            <a:ext cx="1887454" cy="1144494"/>
            <a:chOff x="1798333" y="3845887"/>
            <a:chExt cx="1887454" cy="1144494"/>
          </a:xfrm>
        </p:grpSpPr>
        <p:sp>
          <p:nvSpPr>
            <p:cNvPr id="166" name="TextBox 61">
              <a:extLst>
                <a:ext uri="{FF2B5EF4-FFF2-40B4-BE49-F238E27FC236}">
                  <a16:creationId xmlns:a16="http://schemas.microsoft.com/office/drawing/2014/main" id="{7AA7928B-58D2-1C6F-E64E-C076670A4904}"/>
                </a:ext>
              </a:extLst>
            </p:cNvPr>
            <p:cNvSpPr txBox="1"/>
            <p:nvPr/>
          </p:nvSpPr>
          <p:spPr>
            <a:xfrm>
              <a:off x="1960816" y="3845887"/>
              <a:ext cx="1422053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rgbClr val="D4E6C0"/>
                  </a:solidFill>
                  <a:latin typeface="+mj-lt"/>
                </a:rPr>
                <a:t>-</a:t>
              </a:r>
              <a:r>
                <a:rPr lang="en-BE" sz="2400" b="1">
                  <a:solidFill>
                    <a:srgbClr val="D4E6C0"/>
                  </a:solidFill>
                  <a:latin typeface="+mj-lt"/>
                </a:rPr>
                <a:t>12,5</a:t>
              </a:r>
              <a:r>
                <a:rPr lang="nl-BE" sz="2400" b="1">
                  <a:solidFill>
                    <a:srgbClr val="D4E6C0"/>
                  </a:solidFill>
                  <a:latin typeface="+mj-lt"/>
                </a:rPr>
                <a:t>%</a:t>
              </a:r>
              <a:endParaRPr lang="en-BE" sz="2400" b="1">
                <a:solidFill>
                  <a:srgbClr val="D4E6C0"/>
                </a:solidFill>
                <a:latin typeface="+mj-lt"/>
              </a:endParaRPr>
            </a:p>
          </p:txBody>
        </p:sp>
        <p:sp>
          <p:nvSpPr>
            <p:cNvPr id="167" name="TextBox 62">
              <a:extLst>
                <a:ext uri="{FF2B5EF4-FFF2-40B4-BE49-F238E27FC236}">
                  <a16:creationId xmlns:a16="http://schemas.microsoft.com/office/drawing/2014/main" id="{E6D61E8D-51B2-EC52-64EA-2E4582C3430E}"/>
                </a:ext>
              </a:extLst>
            </p:cNvPr>
            <p:cNvSpPr txBox="1"/>
            <p:nvPr/>
          </p:nvSpPr>
          <p:spPr>
            <a:xfrm>
              <a:off x="1798333" y="4407657"/>
              <a:ext cx="1887454" cy="5827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en-BE" sz="700">
                  <a:solidFill>
                    <a:srgbClr val="D4E6C0"/>
                  </a:solidFill>
                </a:rPr>
                <a:t>reduction in scope 3 GHG emissions from purchased goods and services²</a:t>
              </a:r>
              <a:endParaRPr lang="en-US" sz="700">
                <a:solidFill>
                  <a:srgbClr val="D4E6C0"/>
                </a:solidFill>
              </a:endParaRPr>
            </a:p>
            <a:p>
              <a:pPr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zh-CN" altLang="en-US" sz="700">
                  <a:solidFill>
                    <a:srgbClr val="D4E6C0"/>
                  </a:solidFill>
                  <a:latin typeface="Bekaert Text"/>
                </a:rPr>
                <a:t>减少采购商品和服务所产生的范围</a:t>
              </a:r>
              <a:r>
                <a:rPr lang="en-US" altLang="zh-CN" sz="700">
                  <a:solidFill>
                    <a:srgbClr val="D4E6C0"/>
                  </a:solidFill>
                  <a:latin typeface="Bekaert Text"/>
                </a:rPr>
                <a:t>3</a:t>
              </a:r>
              <a:r>
                <a:rPr lang="zh-CN" altLang="en-US" sz="700">
                  <a:solidFill>
                    <a:srgbClr val="D4E6C0"/>
                  </a:solidFill>
                  <a:latin typeface="Bekaert Text"/>
                </a:rPr>
                <a:t>的温室气体排放</a:t>
              </a:r>
              <a:endParaRPr lang="en-BE" sz="700">
                <a:solidFill>
                  <a:srgbClr val="D4E6C0"/>
                </a:solidFill>
                <a:latin typeface="Bekaert Text"/>
              </a:endParaRPr>
            </a:p>
          </p:txBody>
        </p:sp>
      </p:grpSp>
      <p:sp>
        <p:nvSpPr>
          <p:cNvPr id="169" name="TextBox 168">
            <a:extLst>
              <a:ext uri="{FF2B5EF4-FFF2-40B4-BE49-F238E27FC236}">
                <a16:creationId xmlns:a16="http://schemas.microsoft.com/office/drawing/2014/main" id="{01FE276F-0D9A-32D3-FB71-BFBDA0E442CD}"/>
              </a:ext>
            </a:extLst>
          </p:cNvPr>
          <p:cNvSpPr txBox="1"/>
          <p:nvPr/>
        </p:nvSpPr>
        <p:spPr>
          <a:xfrm>
            <a:off x="42592" y="4886420"/>
            <a:ext cx="5660570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700" baseline="30000">
                <a:solidFill>
                  <a:srgbClr val="D4E6C0"/>
                </a:solidFill>
                <a:latin typeface="Bekaert Text"/>
              </a:rPr>
              <a:t>1</a:t>
            </a:r>
            <a:r>
              <a:rPr lang="en-GB" sz="700">
                <a:solidFill>
                  <a:srgbClr val="D4E6C0"/>
                </a:solidFill>
                <a:latin typeface="Bekaert Text"/>
              </a:rPr>
              <a:t>GHG: Greenhouse Gas, </a:t>
            </a:r>
            <a:r>
              <a:rPr lang="en-GB" sz="700" baseline="30000">
                <a:solidFill>
                  <a:srgbClr val="D4E6C0"/>
                </a:solidFill>
                <a:latin typeface="Bekaert Text"/>
              </a:rPr>
              <a:t>2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D4E6C0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vs 2019</a:t>
            </a:r>
            <a:endParaRPr lang="nl-BE" sz="700">
              <a:solidFill>
                <a:srgbClr val="D4E6C0"/>
              </a:solidFill>
            </a:endParaRPr>
          </a:p>
        </p:txBody>
      </p:sp>
      <p:grpSp>
        <p:nvGrpSpPr>
          <p:cNvPr id="170" name="Groep 21">
            <a:extLst>
              <a:ext uri="{FF2B5EF4-FFF2-40B4-BE49-F238E27FC236}">
                <a16:creationId xmlns:a16="http://schemas.microsoft.com/office/drawing/2014/main" id="{C7BF78D1-280B-E5B3-2F1D-74B3522C96F1}"/>
              </a:ext>
            </a:extLst>
          </p:cNvPr>
          <p:cNvGrpSpPr/>
          <p:nvPr/>
        </p:nvGrpSpPr>
        <p:grpSpPr>
          <a:xfrm>
            <a:off x="7389386" y="3661127"/>
            <a:ext cx="1396697" cy="1155653"/>
            <a:chOff x="7400040" y="3783867"/>
            <a:chExt cx="1396697" cy="1155653"/>
          </a:xfrm>
        </p:grpSpPr>
        <p:sp>
          <p:nvSpPr>
            <p:cNvPr id="171" name="TextBox 59">
              <a:extLst>
                <a:ext uri="{FF2B5EF4-FFF2-40B4-BE49-F238E27FC236}">
                  <a16:creationId xmlns:a16="http://schemas.microsoft.com/office/drawing/2014/main" id="{49740EB6-D74B-3FC6-1017-C1667929CD1D}"/>
                </a:ext>
              </a:extLst>
            </p:cNvPr>
            <p:cNvSpPr txBox="1"/>
            <p:nvPr/>
          </p:nvSpPr>
          <p:spPr>
            <a:xfrm>
              <a:off x="7400040" y="3783867"/>
              <a:ext cx="1396697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rgbClr val="D4E6C0"/>
                  </a:solidFill>
                  <a:latin typeface="+mj-lt"/>
                </a:rPr>
                <a:t>4</a:t>
              </a:r>
              <a:r>
                <a:rPr lang="en-BE" sz="2400" b="1">
                  <a:solidFill>
                    <a:srgbClr val="D4E6C0"/>
                  </a:solidFill>
                  <a:latin typeface="+mj-lt"/>
                </a:rPr>
                <a:t>5</a:t>
              </a:r>
              <a:r>
                <a:rPr lang="nl-BE" sz="2400" b="1">
                  <a:solidFill>
                    <a:srgbClr val="D4E6C0"/>
                  </a:solidFill>
                  <a:latin typeface="+mj-lt"/>
                </a:rPr>
                <a:t>%</a:t>
              </a:r>
              <a:endParaRPr lang="en-BE" sz="2400" b="1">
                <a:solidFill>
                  <a:srgbClr val="D4E6C0"/>
                </a:solidFill>
                <a:latin typeface="+mj-lt"/>
              </a:endParaRPr>
            </a:p>
          </p:txBody>
        </p:sp>
        <p:sp>
          <p:nvSpPr>
            <p:cNvPr id="172" name="TextBox 60">
              <a:extLst>
                <a:ext uri="{FF2B5EF4-FFF2-40B4-BE49-F238E27FC236}">
                  <a16:creationId xmlns:a16="http://schemas.microsoft.com/office/drawing/2014/main" id="{C60FADE3-87D8-388E-9CA0-6A37E381856E}"/>
                </a:ext>
              </a:extLst>
            </p:cNvPr>
            <p:cNvSpPr txBox="1"/>
            <p:nvPr/>
          </p:nvSpPr>
          <p:spPr>
            <a:xfrm>
              <a:off x="7476305" y="4356796"/>
              <a:ext cx="1159086" cy="5827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700">
                  <a:solidFill>
                    <a:srgbClr val="D4E6C0"/>
                  </a:solidFill>
                </a:rPr>
                <a:t>sales from sustainable solutions</a:t>
              </a: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D4E6C0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来自可持续解决方案的销售额</a:t>
              </a:r>
              <a:endParaRPr kumimoji="0" lang="nl-BE" sz="700" b="0" i="0" u="none" strike="noStrike" kern="1200" cap="none" spc="0" normalizeH="0" baseline="0" noProof="0">
                <a:ln>
                  <a:noFill/>
                </a:ln>
                <a:solidFill>
                  <a:srgbClr val="D4E6C0"/>
                </a:solidFill>
                <a:effectLst/>
                <a:uLnTx/>
                <a:uFillTx/>
                <a:latin typeface="Bekaert Text"/>
                <a:ea typeface="+mn-ea"/>
                <a:cs typeface="+mn-cs"/>
              </a:endParaRPr>
            </a:p>
          </p:txBody>
        </p:sp>
      </p:grpSp>
      <p:sp>
        <p:nvSpPr>
          <p:cNvPr id="173" name="Text Placeholder 4">
            <a:extLst>
              <a:ext uri="{FF2B5EF4-FFF2-40B4-BE49-F238E27FC236}">
                <a16:creationId xmlns:a16="http://schemas.microsoft.com/office/drawing/2014/main" id="{CC6D9589-E7EE-9ECF-21D5-F98DE99A45C0}"/>
              </a:ext>
            </a:extLst>
          </p:cNvPr>
          <p:cNvSpPr txBox="1">
            <a:spLocks/>
          </p:cNvSpPr>
          <p:nvPr/>
        </p:nvSpPr>
        <p:spPr>
          <a:xfrm>
            <a:off x="0" y="3283089"/>
            <a:ext cx="9144000" cy="317700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600" b="1">
                <a:solidFill>
                  <a:schemeClr val="accent2"/>
                </a:solidFill>
              </a:rPr>
              <a:t>202</a:t>
            </a:r>
            <a:r>
              <a:rPr lang="en-BE" sz="1600" b="1">
                <a:solidFill>
                  <a:schemeClr val="accent2"/>
                </a:solidFill>
              </a:rPr>
              <a:t>4</a:t>
            </a:r>
            <a:r>
              <a:rPr lang="en-GB" sz="1600" b="1">
                <a:solidFill>
                  <a:schemeClr val="accent2"/>
                </a:solidFill>
              </a:rPr>
              <a:t> Highlights</a:t>
            </a:r>
            <a:r>
              <a:rPr lang="zh-CN" altLang="en-US" sz="1600" b="1">
                <a:solidFill>
                  <a:schemeClr val="accent2"/>
                </a:solidFill>
              </a:rPr>
              <a:t>（</a:t>
            </a:r>
            <a:r>
              <a:rPr lang="en-US" altLang="zh-CN" sz="1600" b="1">
                <a:solidFill>
                  <a:schemeClr val="accent2"/>
                </a:solidFill>
              </a:rPr>
              <a:t>2024</a:t>
            </a:r>
            <a:r>
              <a:rPr lang="zh-CN" altLang="en-US" sz="1600" b="1">
                <a:solidFill>
                  <a:schemeClr val="accent2"/>
                </a:solidFill>
              </a:rPr>
              <a:t>年关键成果）</a:t>
            </a:r>
            <a:endParaRPr lang="en-GB" sz="1600" b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06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F2BF10-FC49-989A-A25C-1E71DD2A28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rown hills in the desert&#10;&#10;Description automatically generated">
            <a:extLst>
              <a:ext uri="{FF2B5EF4-FFF2-40B4-BE49-F238E27FC236}">
                <a16:creationId xmlns:a16="http://schemas.microsoft.com/office/drawing/2014/main" id="{930D2558-99D0-75B2-464F-83E266679D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86"/>
            <a:ext cx="9148069" cy="5141214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3BBFA6C-0DF5-E937-5E9A-EF00FD20F2B2}"/>
              </a:ext>
            </a:extLst>
          </p:cNvPr>
          <p:cNvGrpSpPr/>
          <p:nvPr/>
        </p:nvGrpSpPr>
        <p:grpSpPr>
          <a:xfrm>
            <a:off x="828962" y="1100397"/>
            <a:ext cx="7735293" cy="1139780"/>
            <a:chOff x="782099" y="3819472"/>
            <a:chExt cx="7735293" cy="1139780"/>
          </a:xfrm>
        </p:grpSpPr>
        <p:sp>
          <p:nvSpPr>
            <p:cNvPr id="9" name="TextBox 69">
              <a:extLst>
                <a:ext uri="{FF2B5EF4-FFF2-40B4-BE49-F238E27FC236}">
                  <a16:creationId xmlns:a16="http://schemas.microsoft.com/office/drawing/2014/main" id="{ACCC73B5-B566-0591-BC8B-320FD51853EE}"/>
                </a:ext>
              </a:extLst>
            </p:cNvPr>
            <p:cNvSpPr txBox="1"/>
            <p:nvPr/>
          </p:nvSpPr>
          <p:spPr>
            <a:xfrm>
              <a:off x="847002" y="3819472"/>
              <a:ext cx="1139763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rgbClr val="764930"/>
                  </a:solidFill>
                  <a:latin typeface="+mj-lt"/>
                </a:rPr>
                <a:t>40%</a:t>
              </a:r>
              <a:endParaRPr lang="en-BE" sz="2400" b="1">
                <a:solidFill>
                  <a:srgbClr val="764930"/>
                </a:solidFill>
                <a:latin typeface="+mj-lt"/>
              </a:endParaRPr>
            </a:p>
          </p:txBody>
        </p:sp>
        <p:sp>
          <p:nvSpPr>
            <p:cNvPr id="12" name="TextBox 70">
              <a:extLst>
                <a:ext uri="{FF2B5EF4-FFF2-40B4-BE49-F238E27FC236}">
                  <a16:creationId xmlns:a16="http://schemas.microsoft.com/office/drawing/2014/main" id="{171D8A68-3D48-5D6E-E0A8-800643B9329C}"/>
                </a:ext>
              </a:extLst>
            </p:cNvPr>
            <p:cNvSpPr txBox="1"/>
            <p:nvPr/>
          </p:nvSpPr>
          <p:spPr>
            <a:xfrm>
              <a:off x="782099" y="4279579"/>
              <a:ext cx="1382055" cy="5827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700">
                  <a:solidFill>
                    <a:srgbClr val="764930"/>
                  </a:solidFill>
                </a:rPr>
                <a:t>female representation</a:t>
              </a:r>
              <a:br>
                <a:rPr lang="nl-BE" sz="700">
                  <a:solidFill>
                    <a:srgbClr val="764930"/>
                  </a:solidFill>
                </a:rPr>
              </a:br>
              <a:r>
                <a:rPr lang="nl-BE" sz="700">
                  <a:solidFill>
                    <a:srgbClr val="764930"/>
                  </a:solidFill>
                </a:rPr>
                <a:t>in administrative and </a:t>
              </a:r>
              <a:br>
                <a:rPr lang="nl-BE" sz="700">
                  <a:solidFill>
                    <a:srgbClr val="764930"/>
                  </a:solidFill>
                </a:rPr>
              </a:br>
              <a:r>
                <a:rPr lang="nl-BE" sz="700">
                  <a:solidFill>
                    <a:srgbClr val="764930"/>
                  </a:solidFill>
                </a:rPr>
                <a:t>managerial workforce</a:t>
              </a: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zh-CN" altLang="en-US" sz="700">
                  <a:solidFill>
                    <a:srgbClr val="764930"/>
                  </a:solidFill>
                </a:rPr>
                <a:t>行政和管理人员中的女性占比</a:t>
              </a:r>
            </a:p>
          </p:txBody>
        </p:sp>
        <p:sp>
          <p:nvSpPr>
            <p:cNvPr id="21" name="TextBox 67">
              <a:extLst>
                <a:ext uri="{FF2B5EF4-FFF2-40B4-BE49-F238E27FC236}">
                  <a16:creationId xmlns:a16="http://schemas.microsoft.com/office/drawing/2014/main" id="{F6BC32FB-88D2-1759-51BB-3CC2067AA976}"/>
                </a:ext>
              </a:extLst>
            </p:cNvPr>
            <p:cNvSpPr txBox="1"/>
            <p:nvPr/>
          </p:nvSpPr>
          <p:spPr>
            <a:xfrm>
              <a:off x="2883986" y="3819472"/>
              <a:ext cx="1670926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rgbClr val="764930"/>
                  </a:solidFill>
                  <a:latin typeface="+mj-lt"/>
                </a:rPr>
                <a:t>100%</a:t>
              </a:r>
              <a:endParaRPr lang="en-BE" sz="2400" b="1">
                <a:solidFill>
                  <a:srgbClr val="764930"/>
                </a:solidFill>
                <a:latin typeface="+mj-lt"/>
              </a:endParaRPr>
            </a:p>
          </p:txBody>
        </p:sp>
        <p:sp>
          <p:nvSpPr>
            <p:cNvPr id="23" name="TextBox 68">
              <a:extLst>
                <a:ext uri="{FF2B5EF4-FFF2-40B4-BE49-F238E27FC236}">
                  <a16:creationId xmlns:a16="http://schemas.microsoft.com/office/drawing/2014/main" id="{03A6725D-202C-2C6B-E5AC-7F83D6FB6ADF}"/>
                </a:ext>
              </a:extLst>
            </p:cNvPr>
            <p:cNvSpPr txBox="1"/>
            <p:nvPr/>
          </p:nvSpPr>
          <p:spPr>
            <a:xfrm>
              <a:off x="2876845" y="4279579"/>
              <a:ext cx="1627832" cy="5827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en-US" sz="700">
                  <a:solidFill>
                    <a:srgbClr val="764930"/>
                  </a:solidFill>
                </a:rPr>
                <a:t>commitment to create a </a:t>
              </a:r>
              <a:br>
                <a:rPr lang="en-US" sz="700">
                  <a:solidFill>
                    <a:srgbClr val="764930"/>
                  </a:solidFill>
                </a:rPr>
              </a:br>
              <a:r>
                <a:rPr lang="en-US" sz="700">
                  <a:solidFill>
                    <a:srgbClr val="764930"/>
                  </a:solidFill>
                </a:rPr>
                <a:t>positive working environment for all our employees</a:t>
              </a: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764930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承诺为所有员工创造积极的工作环境</a:t>
              </a:r>
            </a:p>
          </p:txBody>
        </p:sp>
        <p:sp>
          <p:nvSpPr>
            <p:cNvPr id="24" name="TextBox 63">
              <a:extLst>
                <a:ext uri="{FF2B5EF4-FFF2-40B4-BE49-F238E27FC236}">
                  <a16:creationId xmlns:a16="http://schemas.microsoft.com/office/drawing/2014/main" id="{596358F3-46DE-3353-B6F5-32757A315C9A}"/>
                </a:ext>
              </a:extLst>
            </p:cNvPr>
            <p:cNvSpPr txBox="1"/>
            <p:nvPr/>
          </p:nvSpPr>
          <p:spPr>
            <a:xfrm>
              <a:off x="5093193" y="3819472"/>
              <a:ext cx="761648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rgbClr val="764930"/>
                  </a:solidFill>
                  <a:latin typeface="+mj-lt"/>
                </a:rPr>
                <a:t>0</a:t>
              </a:r>
              <a:endParaRPr lang="en-BE" sz="2400" b="1">
                <a:solidFill>
                  <a:srgbClr val="764930"/>
                </a:solidFill>
                <a:latin typeface="+mj-lt"/>
              </a:endParaRPr>
            </a:p>
          </p:txBody>
        </p:sp>
        <p:sp>
          <p:nvSpPr>
            <p:cNvPr id="25" name="TextBox 64">
              <a:extLst>
                <a:ext uri="{FF2B5EF4-FFF2-40B4-BE49-F238E27FC236}">
                  <a16:creationId xmlns:a16="http://schemas.microsoft.com/office/drawing/2014/main" id="{31B990A0-9460-C415-1447-71E8FB1B9B19}"/>
                </a:ext>
              </a:extLst>
            </p:cNvPr>
            <p:cNvSpPr txBox="1"/>
            <p:nvPr/>
          </p:nvSpPr>
          <p:spPr>
            <a:xfrm>
              <a:off x="5093192" y="4279579"/>
              <a:ext cx="781836" cy="485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700">
                  <a:solidFill>
                    <a:srgbClr val="764930"/>
                  </a:solidFill>
                </a:rPr>
                <a:t>No harm</a:t>
              </a:r>
              <a:br>
                <a:rPr lang="en-BE" sz="700">
                  <a:solidFill>
                    <a:srgbClr val="764930"/>
                  </a:solidFill>
                </a:rPr>
              </a:br>
              <a:r>
                <a:rPr lang="nl-BE" sz="700">
                  <a:solidFill>
                    <a:srgbClr val="764930"/>
                  </a:solidFill>
                </a:rPr>
                <a:t>to anyone</a:t>
              </a: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kumimoji="0" lang="zh-CN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764930"/>
                  </a:solidFill>
                  <a:effectLst/>
                  <a:uLnTx/>
                  <a:uFillTx/>
                  <a:latin typeface="Bekaert Text"/>
                  <a:ea typeface="+mn-ea"/>
                  <a:cs typeface="+mn-cs"/>
                </a:rPr>
                <a:t>全员无伤害</a:t>
              </a:r>
            </a:p>
          </p:txBody>
        </p:sp>
        <p:sp>
          <p:nvSpPr>
            <p:cNvPr id="26" name="TextBox 65">
              <a:extLst>
                <a:ext uri="{FF2B5EF4-FFF2-40B4-BE49-F238E27FC236}">
                  <a16:creationId xmlns:a16="http://schemas.microsoft.com/office/drawing/2014/main" id="{44F3B366-F322-F768-EA24-2400269570A5}"/>
                </a:ext>
              </a:extLst>
            </p:cNvPr>
            <p:cNvSpPr txBox="1"/>
            <p:nvPr/>
          </p:nvSpPr>
          <p:spPr>
            <a:xfrm>
              <a:off x="6939664" y="3819472"/>
              <a:ext cx="1320717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2400" b="1">
                  <a:solidFill>
                    <a:srgbClr val="764930"/>
                  </a:solidFill>
                  <a:latin typeface="+mj-lt"/>
                </a:rPr>
                <a:t>100%</a:t>
              </a:r>
              <a:endParaRPr lang="en-BE" sz="2400" b="1">
                <a:solidFill>
                  <a:srgbClr val="764930"/>
                </a:solidFill>
                <a:latin typeface="+mj-lt"/>
              </a:endParaRPr>
            </a:p>
          </p:txBody>
        </p:sp>
        <p:sp>
          <p:nvSpPr>
            <p:cNvPr id="27" name="TextBox 66">
              <a:extLst>
                <a:ext uri="{FF2B5EF4-FFF2-40B4-BE49-F238E27FC236}">
                  <a16:creationId xmlns:a16="http://schemas.microsoft.com/office/drawing/2014/main" id="{4BD4F129-E3A5-5552-D1C9-D296D09830E4}"/>
                </a:ext>
              </a:extLst>
            </p:cNvPr>
            <p:cNvSpPr txBox="1"/>
            <p:nvPr/>
          </p:nvSpPr>
          <p:spPr>
            <a:xfrm>
              <a:off x="6841806" y="4279579"/>
              <a:ext cx="1675586" cy="6796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nl-BE" sz="700">
                  <a:solidFill>
                    <a:srgbClr val="764930"/>
                  </a:solidFill>
                </a:rPr>
                <a:t>commitment to actively engage with communities on priority sustainability themes</a:t>
              </a:r>
            </a:p>
            <a:p>
              <a:pPr algn="ctr">
                <a:lnSpc>
                  <a:spcPct val="90000"/>
                </a:lnSpc>
                <a:spcAft>
                  <a:spcPts val="800"/>
                </a:spcAft>
                <a:buClr>
                  <a:schemeClr val="accent1"/>
                </a:buClr>
              </a:pPr>
              <a:r>
                <a:rPr lang="zh-CN" altLang="en-US" sz="700">
                  <a:solidFill>
                    <a:srgbClr val="472C1C"/>
                  </a:solidFill>
                  <a:latin typeface="Bekaert Text"/>
                </a:rPr>
                <a:t>围绕重点可持续发展议题，与社区开展积极互动</a:t>
              </a: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03525CA4-19A3-E98C-850B-5C6147C87C3B}"/>
              </a:ext>
            </a:extLst>
          </p:cNvPr>
          <p:cNvSpPr txBox="1">
            <a:spLocks/>
          </p:cNvSpPr>
          <p:nvPr/>
        </p:nvSpPr>
        <p:spPr>
          <a:xfrm>
            <a:off x="3273659" y="385443"/>
            <a:ext cx="4507945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400" b="1"/>
              <a:t>Put people first </a:t>
            </a:r>
            <a:r>
              <a:rPr lang="zh-CN" altLang="en-US" sz="2400" b="1"/>
              <a:t>以人为本</a:t>
            </a:r>
            <a:endParaRPr lang="en-GB" sz="2400" b="1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2D3CC5F5-5FE4-45B4-937C-1048423711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9230" y="-17616"/>
            <a:ext cx="1139763" cy="1139763"/>
          </a:xfrm>
          <a:prstGeom prst="rect">
            <a:avLst/>
          </a:prstGeom>
        </p:spPr>
      </p:pic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190D9FF-3E4A-AE69-C509-111E0AD94D07}"/>
              </a:ext>
            </a:extLst>
          </p:cNvPr>
          <p:cNvSpPr txBox="1">
            <a:spLocks/>
          </p:cNvSpPr>
          <p:nvPr/>
        </p:nvSpPr>
        <p:spPr>
          <a:xfrm>
            <a:off x="0" y="3283089"/>
            <a:ext cx="9144000" cy="317700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600" b="1">
                <a:solidFill>
                  <a:schemeClr val="accent2"/>
                </a:solidFill>
              </a:rPr>
              <a:t>202</a:t>
            </a:r>
            <a:r>
              <a:rPr lang="en-BE" sz="1600" b="1">
                <a:solidFill>
                  <a:schemeClr val="accent2"/>
                </a:solidFill>
              </a:rPr>
              <a:t>4</a:t>
            </a:r>
            <a:r>
              <a:rPr lang="en-GB" sz="1600" b="1">
                <a:solidFill>
                  <a:schemeClr val="accent2"/>
                </a:solidFill>
              </a:rPr>
              <a:t> Highlights</a:t>
            </a:r>
            <a:r>
              <a:rPr lang="zh-CN" altLang="en-US" sz="1600" b="1">
                <a:solidFill>
                  <a:schemeClr val="accent2"/>
                </a:solidFill>
              </a:rPr>
              <a:t>（</a:t>
            </a:r>
            <a:r>
              <a:rPr lang="en-US" altLang="zh-CN" sz="1600" b="1">
                <a:solidFill>
                  <a:schemeClr val="accent2"/>
                </a:solidFill>
              </a:rPr>
              <a:t>2024</a:t>
            </a:r>
            <a:r>
              <a:rPr lang="zh-CN" altLang="en-US" sz="1600" b="1">
                <a:solidFill>
                  <a:schemeClr val="accent2"/>
                </a:solidFill>
              </a:rPr>
              <a:t>年关键成果）</a:t>
            </a:r>
            <a:endParaRPr lang="en-GB" sz="1600" b="1">
              <a:solidFill>
                <a:schemeClr val="accent2"/>
              </a:solidFill>
            </a:endParaRPr>
          </a:p>
        </p:txBody>
      </p:sp>
      <p:sp>
        <p:nvSpPr>
          <p:cNvPr id="31" name="TextBox 57">
            <a:extLst>
              <a:ext uri="{FF2B5EF4-FFF2-40B4-BE49-F238E27FC236}">
                <a16:creationId xmlns:a16="http://schemas.microsoft.com/office/drawing/2014/main" id="{902E27C3-9D1F-179E-866A-5A74A7DFF012}"/>
              </a:ext>
            </a:extLst>
          </p:cNvPr>
          <p:cNvSpPr txBox="1"/>
          <p:nvPr/>
        </p:nvSpPr>
        <p:spPr>
          <a:xfrm>
            <a:off x="870481" y="3582323"/>
            <a:ext cx="1133861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kumimoji="0" lang="nl-BE" sz="2400" b="1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  <a:t>2</a:t>
            </a:r>
            <a:r>
              <a:rPr kumimoji="0" lang="en-BE" sz="2400" b="1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  <a:t>9%</a:t>
            </a:r>
          </a:p>
        </p:txBody>
      </p:sp>
      <p:sp>
        <p:nvSpPr>
          <p:cNvPr id="32" name="TextBox 61">
            <a:extLst>
              <a:ext uri="{FF2B5EF4-FFF2-40B4-BE49-F238E27FC236}">
                <a16:creationId xmlns:a16="http://schemas.microsoft.com/office/drawing/2014/main" id="{B06C9519-F3EF-112C-FFD9-2D89DF80B344}"/>
              </a:ext>
            </a:extLst>
          </p:cNvPr>
          <p:cNvSpPr txBox="1"/>
          <p:nvPr/>
        </p:nvSpPr>
        <p:spPr>
          <a:xfrm>
            <a:off x="3933763" y="3616995"/>
            <a:ext cx="1074006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kumimoji="0" lang="en-BE" sz="2400" b="1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  <a:t>37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19425CAE-07E8-615C-4984-8A95AD048A56}"/>
              </a:ext>
            </a:extLst>
          </p:cNvPr>
          <p:cNvSpPr txBox="1"/>
          <p:nvPr/>
        </p:nvSpPr>
        <p:spPr>
          <a:xfrm>
            <a:off x="3713859" y="4279159"/>
            <a:ext cx="1235506" cy="485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sz="700">
                <a:solidFill>
                  <a:srgbClr val="F1E1C0"/>
                </a:solidFill>
                <a:latin typeface="Bekaert Text"/>
              </a:rPr>
              <a:t>a</a:t>
            </a:r>
            <a:r>
              <a:rPr kumimoji="0" lang="nl-BE" sz="700" b="0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verage training hours per employee</a:t>
            </a: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rgbClr val="01ADEF"/>
              </a:buClr>
              <a:defRPr/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员工人均培训时长</a:t>
            </a:r>
            <a:endParaRPr kumimoji="0" lang="en-BE" sz="700" b="0" i="0" u="none" strike="noStrike" kern="1200" cap="none" spc="0" normalizeH="0" baseline="0" noProof="0">
              <a:ln>
                <a:noFill/>
              </a:ln>
              <a:solidFill>
                <a:srgbClr val="F1E1C0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36" name="TextBox 58">
            <a:extLst>
              <a:ext uri="{FF2B5EF4-FFF2-40B4-BE49-F238E27FC236}">
                <a16:creationId xmlns:a16="http://schemas.microsoft.com/office/drawing/2014/main" id="{9B4B9AAF-6467-B27E-A90A-B177B5478AD3}"/>
              </a:ext>
            </a:extLst>
          </p:cNvPr>
          <p:cNvSpPr txBox="1"/>
          <p:nvPr/>
        </p:nvSpPr>
        <p:spPr>
          <a:xfrm>
            <a:off x="880851" y="4279159"/>
            <a:ext cx="1123491" cy="582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sz="700">
                <a:solidFill>
                  <a:srgbClr val="F1E1C0"/>
                </a:solidFill>
                <a:latin typeface="Bekaert Text"/>
              </a:rPr>
              <a:t>f</a:t>
            </a:r>
            <a:r>
              <a:rPr kumimoji="0" lang="nl-BE" sz="700" b="0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emale representatio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行政和管理人员中女性占比</a:t>
            </a:r>
            <a:endParaRPr kumimoji="0" lang="en-BE" sz="700" b="0" i="0" u="none" strike="noStrike" kern="1200" cap="none" spc="0" normalizeH="0" baseline="0" noProof="0">
              <a:ln>
                <a:noFill/>
              </a:ln>
              <a:solidFill>
                <a:srgbClr val="F1E1C0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39" name="TextBox 60">
            <a:extLst>
              <a:ext uri="{FF2B5EF4-FFF2-40B4-BE49-F238E27FC236}">
                <a16:creationId xmlns:a16="http://schemas.microsoft.com/office/drawing/2014/main" id="{11B8A764-2770-7FCB-F776-D17D9E55BAF6}"/>
              </a:ext>
            </a:extLst>
          </p:cNvPr>
          <p:cNvSpPr txBox="1"/>
          <p:nvPr/>
        </p:nvSpPr>
        <p:spPr>
          <a:xfrm>
            <a:off x="2166243" y="4279159"/>
            <a:ext cx="1670926" cy="582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sz="700">
                <a:solidFill>
                  <a:srgbClr val="F1E1C0"/>
                </a:solidFill>
                <a:latin typeface="Bekaert Text"/>
              </a:rPr>
              <a:t>rolled-out </a:t>
            </a:r>
            <a:br>
              <a:rPr lang="en-BE" sz="700">
                <a:solidFill>
                  <a:srgbClr val="F1E1C0"/>
                </a:solidFill>
                <a:latin typeface="Bekaert Text"/>
              </a:rPr>
            </a:br>
            <a:r>
              <a:rPr lang="en-BE" sz="700">
                <a:solidFill>
                  <a:srgbClr val="F1E1C0"/>
                </a:solidFill>
                <a:latin typeface="Bekaert Text"/>
              </a:rPr>
              <a:t>to all employees</a:t>
            </a:r>
            <a:endParaRPr lang="en-US" sz="700">
              <a:solidFill>
                <a:srgbClr val="F1E1C0"/>
              </a:solidFill>
              <a:latin typeface="Bekaert Text"/>
            </a:endParaRP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rgbClr val="01ADEF"/>
              </a:buClr>
              <a:defRPr/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面向全体员工</a:t>
            </a:r>
            <a:r>
              <a:rPr lang="zh-CN" altLang="en-US" sz="700">
                <a:solidFill>
                  <a:srgbClr val="F1E1C0"/>
                </a:solidFill>
                <a:latin typeface="Bekaert Text"/>
              </a:rPr>
              <a:t>，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开展心理健康、财务与法律咨询等全方位的保障服务</a:t>
            </a:r>
            <a:endParaRPr kumimoji="0" lang="en-BE" sz="700" b="0" i="0" u="none" strike="noStrike" kern="1200" cap="none" spc="0" normalizeH="0" baseline="0" noProof="0">
              <a:ln>
                <a:noFill/>
              </a:ln>
              <a:solidFill>
                <a:srgbClr val="F1E1C0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552AABBA-DEB3-9295-5C91-C47C80E1C062}"/>
              </a:ext>
            </a:extLst>
          </p:cNvPr>
          <p:cNvSpPr txBox="1"/>
          <p:nvPr/>
        </p:nvSpPr>
        <p:spPr>
          <a:xfrm>
            <a:off x="4999170" y="3699200"/>
            <a:ext cx="1802285" cy="371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sz="1600" b="1">
                <a:solidFill>
                  <a:srgbClr val="F1E1C0"/>
                </a:solidFill>
                <a:latin typeface="Bekaert Headline"/>
              </a:rPr>
              <a:t>Safety First</a:t>
            </a:r>
            <a:endParaRPr kumimoji="0" lang="en-BE" sz="1600" b="1" i="0" u="none" strike="noStrike" kern="1200" cap="none" spc="0" normalizeH="0" baseline="0" noProof="0">
              <a:ln>
                <a:noFill/>
              </a:ln>
              <a:solidFill>
                <a:srgbClr val="F1E1C0"/>
              </a:solidFill>
              <a:effectLst/>
              <a:uLnTx/>
              <a:uFillTx/>
              <a:latin typeface="Bekaert Headline"/>
              <a:ea typeface="+mn-ea"/>
              <a:cs typeface="+mn-cs"/>
            </a:endParaRPr>
          </a:p>
        </p:txBody>
      </p:sp>
      <p:sp>
        <p:nvSpPr>
          <p:cNvPr id="43" name="TextBox 60">
            <a:extLst>
              <a:ext uri="{FF2B5EF4-FFF2-40B4-BE49-F238E27FC236}">
                <a16:creationId xmlns:a16="http://schemas.microsoft.com/office/drawing/2014/main" id="{DCAACFE7-603A-122F-6763-1DCDD8F7601C}"/>
              </a:ext>
            </a:extLst>
          </p:cNvPr>
          <p:cNvSpPr txBox="1"/>
          <p:nvPr/>
        </p:nvSpPr>
        <p:spPr>
          <a:xfrm>
            <a:off x="5012014" y="4279159"/>
            <a:ext cx="1982798" cy="485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sz="700">
                <a:solidFill>
                  <a:srgbClr val="F1E1C0"/>
                </a:solidFill>
                <a:latin typeface="Bekaert Text"/>
              </a:rPr>
              <a:t>multiple safety awareness campaigns and enhanced life-saving-rules</a:t>
            </a:r>
            <a:endParaRPr lang="en-US" sz="700">
              <a:solidFill>
                <a:srgbClr val="F1E1C0"/>
              </a:solidFill>
              <a:latin typeface="Bekaert Text"/>
            </a:endParaRP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rgbClr val="01ADEF"/>
              </a:buClr>
              <a:defRPr/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开展多项安全宣传活动并强化生命安全准则</a:t>
            </a:r>
            <a:endParaRPr kumimoji="0" lang="en-BE" sz="700" b="0" i="0" u="none" strike="noStrike" kern="1200" cap="none" spc="0" normalizeH="0" baseline="0" noProof="0">
              <a:ln>
                <a:noFill/>
              </a:ln>
              <a:solidFill>
                <a:srgbClr val="F1E1C0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44" name="TextBox 54">
            <a:extLst>
              <a:ext uri="{FF2B5EF4-FFF2-40B4-BE49-F238E27FC236}">
                <a16:creationId xmlns:a16="http://schemas.microsoft.com/office/drawing/2014/main" id="{364E9DB8-E5A8-C7B9-C5B5-964F70C13311}"/>
              </a:ext>
            </a:extLst>
          </p:cNvPr>
          <p:cNvSpPr txBox="1"/>
          <p:nvPr/>
        </p:nvSpPr>
        <p:spPr>
          <a:xfrm>
            <a:off x="7080659" y="4279159"/>
            <a:ext cx="1708835" cy="485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sz="700">
                <a:solidFill>
                  <a:srgbClr val="F1E1C0"/>
                </a:solidFill>
                <a:latin typeface="Bekaert Text"/>
              </a:rPr>
              <a:t>actively supporting communities in 40+ countries</a:t>
            </a:r>
            <a:endParaRPr lang="en-US" sz="700">
              <a:solidFill>
                <a:srgbClr val="F1E1C0"/>
              </a:solidFill>
              <a:latin typeface="Bekaert Text"/>
            </a:endParaRP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rgbClr val="01ADEF"/>
              </a:buClr>
              <a:defRPr/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在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40</a:t>
            </a:r>
            <a:r>
              <a:rPr lang="zh-CN" altLang="en-US" sz="700">
                <a:solidFill>
                  <a:srgbClr val="F1E1C0"/>
                </a:solidFill>
                <a:latin typeface="Bekaert Text"/>
              </a:rPr>
              <a:t>多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个国家积极开展社区支持行动</a:t>
            </a:r>
            <a:endParaRPr kumimoji="0" lang="en-BE" sz="700" b="0" i="0" u="none" strike="noStrike" kern="1200" cap="none" spc="0" normalizeH="0" baseline="0" noProof="0">
              <a:ln>
                <a:noFill/>
              </a:ln>
              <a:solidFill>
                <a:srgbClr val="F1E1C0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45" name="TextBox 59">
            <a:extLst>
              <a:ext uri="{FF2B5EF4-FFF2-40B4-BE49-F238E27FC236}">
                <a16:creationId xmlns:a16="http://schemas.microsoft.com/office/drawing/2014/main" id="{D8CA0BAE-FBEE-777A-B768-6D06147B4CB5}"/>
              </a:ext>
            </a:extLst>
          </p:cNvPr>
          <p:cNvSpPr txBox="1"/>
          <p:nvPr/>
        </p:nvSpPr>
        <p:spPr>
          <a:xfrm>
            <a:off x="2345739" y="3690376"/>
            <a:ext cx="1266067" cy="60529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200" b="1">
                <a:solidFill>
                  <a:srgbClr val="F5E6C5"/>
                </a:solidFill>
                <a:latin typeface="Bekaert Headline"/>
              </a:rPr>
              <a:t>Assistance </a:t>
            </a:r>
            <a:r>
              <a:rPr lang="en-US" sz="1600" b="1" baseline="20000">
                <a:solidFill>
                  <a:srgbClr val="F5E6C5"/>
                </a:solidFill>
                <a:latin typeface="Bekaert Headline"/>
              </a:rPr>
              <a:t>Program</a:t>
            </a:r>
          </a:p>
          <a:p>
            <a:pPr algn="ctr">
              <a:spcAft>
                <a:spcPts val="800"/>
              </a:spcAft>
              <a:defRPr/>
            </a:pPr>
            <a:r>
              <a:rPr lang="zh-CN" altLang="en-US" sz="1600" b="1" baseline="20000">
                <a:solidFill>
                  <a:srgbClr val="F5E6C5"/>
                </a:solidFill>
                <a:latin typeface="Bekaert Headline"/>
              </a:rPr>
              <a:t>员工关爱计划</a:t>
            </a:r>
            <a:endParaRPr lang="en-US" sz="1200" b="1" baseline="20000"/>
          </a:p>
        </p:txBody>
      </p:sp>
      <p:sp>
        <p:nvSpPr>
          <p:cNvPr id="46" name="TextBox 71">
            <a:extLst>
              <a:ext uri="{FF2B5EF4-FFF2-40B4-BE49-F238E27FC236}">
                <a16:creationId xmlns:a16="http://schemas.microsoft.com/office/drawing/2014/main" id="{ADC390B1-3395-D63C-DC9E-DABFF43E57EC}"/>
              </a:ext>
            </a:extLst>
          </p:cNvPr>
          <p:cNvSpPr txBox="1"/>
          <p:nvPr/>
        </p:nvSpPr>
        <p:spPr>
          <a:xfrm>
            <a:off x="7012444" y="3699200"/>
            <a:ext cx="1708835" cy="65659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1ADEF"/>
              </a:buClr>
              <a:defRPr/>
            </a:pPr>
            <a:r>
              <a:rPr lang="en-BE" sz="1400" b="1">
                <a:solidFill>
                  <a:srgbClr val="F1E1C0"/>
                </a:solidFill>
                <a:latin typeface="Bekaert Headline"/>
              </a:rPr>
              <a:t>20 000+</a:t>
            </a:r>
            <a:r>
              <a:rPr kumimoji="0" lang="en-BE" sz="1400" b="1" i="0" u="none" strike="noStrike" kern="1200" cap="none" spc="0" normalizeH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  <a:t> </a:t>
            </a:r>
            <a:br>
              <a:rPr kumimoji="0" lang="en-BE" sz="1400" b="1" i="0" u="none" strike="noStrike" kern="1200" cap="none" spc="0" normalizeH="0" noProof="0">
                <a:ln>
                  <a:noFill/>
                </a:ln>
                <a:solidFill>
                  <a:srgbClr val="F1E1C0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</a:br>
            <a:r>
              <a:rPr lang="en-BE" b="1" baseline="30000">
                <a:solidFill>
                  <a:srgbClr val="F1E1C0"/>
                </a:solidFill>
                <a:latin typeface="Bekaert Headline"/>
              </a:rPr>
              <a:t>employees</a:t>
            </a:r>
            <a:endParaRPr lang="en-US" b="1" baseline="30000">
              <a:solidFill>
                <a:srgbClr val="F1E1C0"/>
              </a:solidFill>
              <a:latin typeface="Bekaert Headline"/>
            </a:endParaRPr>
          </a:p>
          <a:p>
            <a:pPr algn="ctr">
              <a:spcAft>
                <a:spcPts val="800"/>
              </a:spcAft>
              <a:buClr>
                <a:srgbClr val="01ADEF"/>
              </a:buClr>
              <a:defRPr/>
            </a:pPr>
            <a:r>
              <a:rPr lang="zh-CN" altLang="en-US" sz="1600" b="1" baseline="20000">
                <a:solidFill>
                  <a:srgbClr val="F5E6C5"/>
                </a:solidFill>
                <a:latin typeface="Bekaert Headline"/>
              </a:rPr>
              <a:t>员工</a:t>
            </a:r>
            <a:endParaRPr lang="en-US" sz="1600" b="1" baseline="20000">
              <a:solidFill>
                <a:srgbClr val="F5E6C5"/>
              </a:solidFill>
              <a:latin typeface="Bekaert Headline"/>
            </a:endParaRP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171A234F-4055-9288-EF09-377D99F9A185}"/>
              </a:ext>
            </a:extLst>
          </p:cNvPr>
          <p:cNvSpPr txBox="1">
            <a:spLocks/>
          </p:cNvSpPr>
          <p:nvPr/>
        </p:nvSpPr>
        <p:spPr>
          <a:xfrm>
            <a:off x="3366269" y="694177"/>
            <a:ext cx="3550032" cy="371384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400">
                <a:solidFill>
                  <a:schemeClr val="accent2"/>
                </a:solidFill>
              </a:rPr>
              <a:t>Ambition 2030</a:t>
            </a:r>
            <a:r>
              <a:rPr lang="zh-CN" altLang="en-US" sz="1400">
                <a:solidFill>
                  <a:schemeClr val="accent2"/>
                </a:solidFill>
              </a:rPr>
              <a:t>（</a:t>
            </a:r>
            <a:r>
              <a:rPr lang="en-US" altLang="zh-CN" sz="1400">
                <a:solidFill>
                  <a:schemeClr val="accent2"/>
                </a:solidFill>
              </a:rPr>
              <a:t>2030</a:t>
            </a:r>
            <a:r>
              <a:rPr lang="zh-CN" altLang="en-US" sz="1400">
                <a:solidFill>
                  <a:schemeClr val="accent2"/>
                </a:solidFill>
              </a:rPr>
              <a:t>年目标）</a:t>
            </a:r>
            <a:endParaRPr lang="en-GB" sz="14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975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10C72-D69E-B763-EE4F-25CB886E00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mountains in the distance&#10;&#10;Description automatically generated">
            <a:extLst>
              <a:ext uri="{FF2B5EF4-FFF2-40B4-BE49-F238E27FC236}">
                <a16:creationId xmlns:a16="http://schemas.microsoft.com/office/drawing/2014/main" id="{3FEC8097-3934-94E9-E795-AB0AFA5DBB9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86"/>
            <a:ext cx="9148069" cy="5141214"/>
          </a:xfrm>
          <a:prstGeom prst="rect">
            <a:avLst/>
          </a:prstGeom>
        </p:spPr>
      </p:pic>
      <p:sp>
        <p:nvSpPr>
          <p:cNvPr id="20" name="TextBox 77">
            <a:extLst>
              <a:ext uri="{FF2B5EF4-FFF2-40B4-BE49-F238E27FC236}">
                <a16:creationId xmlns:a16="http://schemas.microsoft.com/office/drawing/2014/main" id="{AB8AFC22-D93E-F805-CA83-F08DE14AC523}"/>
              </a:ext>
            </a:extLst>
          </p:cNvPr>
          <p:cNvSpPr txBox="1"/>
          <p:nvPr/>
        </p:nvSpPr>
        <p:spPr>
          <a:xfrm>
            <a:off x="36342" y="993276"/>
            <a:ext cx="19812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nl-BE" sz="2400" b="1">
                <a:solidFill>
                  <a:srgbClr val="106C8D"/>
                </a:solidFill>
                <a:latin typeface="+mj-lt"/>
              </a:rPr>
              <a:t>Strong</a:t>
            </a:r>
            <a:endParaRPr lang="en-BE" sz="2400" b="1">
              <a:solidFill>
                <a:srgbClr val="106C8D"/>
              </a:solidFill>
              <a:latin typeface="+mj-lt"/>
            </a:endParaRPr>
          </a:p>
        </p:txBody>
      </p:sp>
      <p:sp>
        <p:nvSpPr>
          <p:cNvPr id="22" name="TextBox 78">
            <a:extLst>
              <a:ext uri="{FF2B5EF4-FFF2-40B4-BE49-F238E27FC236}">
                <a16:creationId xmlns:a16="http://schemas.microsoft.com/office/drawing/2014/main" id="{AED29438-8765-0F95-B635-419EF5DFFA62}"/>
              </a:ext>
            </a:extLst>
          </p:cNvPr>
          <p:cNvSpPr txBox="1"/>
          <p:nvPr/>
        </p:nvSpPr>
        <p:spPr>
          <a:xfrm>
            <a:off x="370277" y="1555241"/>
            <a:ext cx="1261575" cy="485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US" sz="700">
                <a:solidFill>
                  <a:srgbClr val="106C8D"/>
                </a:solidFill>
              </a:rPr>
              <a:t>compliance management</a:t>
            </a: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zh-CN" altLang="en-US" sz="700">
                <a:solidFill>
                  <a:srgbClr val="106C8D"/>
                </a:solidFill>
              </a:rPr>
              <a:t>严格的合规管理</a:t>
            </a:r>
            <a:endParaRPr lang="en-US" sz="700">
              <a:solidFill>
                <a:srgbClr val="106C8D"/>
              </a:solidFill>
            </a:endParaRPr>
          </a:p>
        </p:txBody>
      </p:sp>
      <p:sp>
        <p:nvSpPr>
          <p:cNvPr id="23" name="TextBox 71">
            <a:extLst>
              <a:ext uri="{FF2B5EF4-FFF2-40B4-BE49-F238E27FC236}">
                <a16:creationId xmlns:a16="http://schemas.microsoft.com/office/drawing/2014/main" id="{4DD99920-F3F7-5FA2-5B39-6516CEE6BB1C}"/>
              </a:ext>
            </a:extLst>
          </p:cNvPr>
          <p:cNvSpPr txBox="1"/>
          <p:nvPr/>
        </p:nvSpPr>
        <p:spPr>
          <a:xfrm>
            <a:off x="1882282" y="993276"/>
            <a:ext cx="1708835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nl-BE" sz="2400" b="1">
                <a:solidFill>
                  <a:srgbClr val="106C8D"/>
                </a:solidFill>
                <a:latin typeface="+mj-lt"/>
              </a:rPr>
              <a:t>100%</a:t>
            </a:r>
            <a:endParaRPr lang="en-BE" sz="2400" b="1">
              <a:solidFill>
                <a:srgbClr val="106C8D"/>
              </a:solidFill>
              <a:latin typeface="+mj-lt"/>
            </a:endParaRPr>
          </a:p>
        </p:txBody>
      </p:sp>
      <p:sp>
        <p:nvSpPr>
          <p:cNvPr id="24" name="TextBox 72">
            <a:extLst>
              <a:ext uri="{FF2B5EF4-FFF2-40B4-BE49-F238E27FC236}">
                <a16:creationId xmlns:a16="http://schemas.microsoft.com/office/drawing/2014/main" id="{0D4B8AB9-9B80-BF41-5F79-0FE094C3B0F7}"/>
              </a:ext>
            </a:extLst>
          </p:cNvPr>
          <p:cNvSpPr txBox="1"/>
          <p:nvPr/>
        </p:nvSpPr>
        <p:spPr>
          <a:xfrm>
            <a:off x="2063210" y="1555241"/>
            <a:ext cx="1392767" cy="782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US" sz="700">
                <a:solidFill>
                  <a:srgbClr val="106C8D"/>
                </a:solidFill>
              </a:rPr>
              <a:t>of strategic suppliers to</a:t>
            </a:r>
            <a:br>
              <a:rPr lang="en-US" sz="700">
                <a:solidFill>
                  <a:srgbClr val="106C8D"/>
                </a:solidFill>
              </a:rPr>
            </a:br>
            <a:r>
              <a:rPr lang="en-US" sz="700">
                <a:solidFill>
                  <a:srgbClr val="106C8D"/>
                </a:solidFill>
              </a:rPr>
              <a:t>be leading in ESG ratings</a:t>
            </a: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zh-CN" altLang="en-US" sz="700">
                <a:solidFill>
                  <a:srgbClr val="106C8D"/>
                </a:solidFill>
                <a:latin typeface="Bekaert Text"/>
              </a:rPr>
              <a:t>战略供应商达到行业领先的</a:t>
            </a:r>
            <a:r>
              <a:rPr lang="en-US" altLang="zh-CN" sz="700">
                <a:solidFill>
                  <a:srgbClr val="106C8D"/>
                </a:solidFill>
                <a:latin typeface="Bekaert Text"/>
              </a:rPr>
              <a:t>ESG</a:t>
            </a:r>
            <a:r>
              <a:rPr lang="zh-CN" altLang="en-US" sz="700">
                <a:solidFill>
                  <a:srgbClr val="106C8D"/>
                </a:solidFill>
                <a:latin typeface="Bekaert Text"/>
              </a:rPr>
              <a:t>评级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106C8D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chemeClr val="accent1"/>
              </a:buClr>
            </a:pPr>
            <a:endParaRPr lang="en-US" sz="700">
              <a:solidFill>
                <a:srgbClr val="106C8D"/>
              </a:solidFill>
            </a:endParaRPr>
          </a:p>
        </p:txBody>
      </p:sp>
      <p:sp>
        <p:nvSpPr>
          <p:cNvPr id="25" name="TextBox 73">
            <a:extLst>
              <a:ext uri="{FF2B5EF4-FFF2-40B4-BE49-F238E27FC236}">
                <a16:creationId xmlns:a16="http://schemas.microsoft.com/office/drawing/2014/main" id="{DF72C486-1D2E-CF25-6B06-9F8E5D756978}"/>
              </a:ext>
            </a:extLst>
          </p:cNvPr>
          <p:cNvSpPr txBox="1"/>
          <p:nvPr/>
        </p:nvSpPr>
        <p:spPr>
          <a:xfrm>
            <a:off x="3483992" y="993276"/>
            <a:ext cx="19812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nl-BE" sz="2400" b="1">
                <a:solidFill>
                  <a:srgbClr val="106C8D"/>
                </a:solidFill>
                <a:latin typeface="+mj-lt"/>
              </a:rPr>
              <a:t>100%</a:t>
            </a:r>
            <a:endParaRPr lang="en-BE" sz="2400" b="1">
              <a:solidFill>
                <a:srgbClr val="106C8D"/>
              </a:solidFill>
              <a:latin typeface="+mj-lt"/>
            </a:endParaRPr>
          </a:p>
        </p:txBody>
      </p:sp>
      <p:sp>
        <p:nvSpPr>
          <p:cNvPr id="26" name="TextBox 74">
            <a:extLst>
              <a:ext uri="{FF2B5EF4-FFF2-40B4-BE49-F238E27FC236}">
                <a16:creationId xmlns:a16="http://schemas.microsoft.com/office/drawing/2014/main" id="{78C9B0E0-43BF-1796-3D73-4274454F04B4}"/>
              </a:ext>
            </a:extLst>
          </p:cNvPr>
          <p:cNvSpPr txBox="1"/>
          <p:nvPr/>
        </p:nvSpPr>
        <p:spPr>
          <a:xfrm>
            <a:off x="3741649" y="1555241"/>
            <a:ext cx="1536095" cy="485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US" sz="700">
                <a:solidFill>
                  <a:srgbClr val="106C8D"/>
                </a:solidFill>
              </a:rPr>
              <a:t>of spend with suppliers who sign off code of conduct</a:t>
            </a: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chemeClr val="accent1"/>
              </a:buClr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106C8D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与签署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106C8D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《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106C8D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行为准则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106C8D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》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106C8D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的供应商合作</a:t>
            </a:r>
          </a:p>
        </p:txBody>
      </p:sp>
      <p:sp>
        <p:nvSpPr>
          <p:cNvPr id="27" name="TextBox 79">
            <a:extLst>
              <a:ext uri="{FF2B5EF4-FFF2-40B4-BE49-F238E27FC236}">
                <a16:creationId xmlns:a16="http://schemas.microsoft.com/office/drawing/2014/main" id="{C258326D-E926-21C9-0EDC-37B00DADBF9B}"/>
              </a:ext>
            </a:extLst>
          </p:cNvPr>
          <p:cNvSpPr txBox="1"/>
          <p:nvPr/>
        </p:nvSpPr>
        <p:spPr>
          <a:xfrm>
            <a:off x="5322501" y="993276"/>
            <a:ext cx="19812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nl-BE" sz="2400" b="1">
                <a:solidFill>
                  <a:srgbClr val="106C8D"/>
                </a:solidFill>
                <a:latin typeface="+mj-lt"/>
              </a:rPr>
              <a:t>Partner</a:t>
            </a:r>
            <a:endParaRPr lang="en-BE" sz="2400" b="1">
              <a:solidFill>
                <a:srgbClr val="106C8D"/>
              </a:solidFill>
              <a:latin typeface="+mj-lt"/>
            </a:endParaRPr>
          </a:p>
        </p:txBody>
      </p:sp>
      <p:sp>
        <p:nvSpPr>
          <p:cNvPr id="30" name="TextBox 80">
            <a:extLst>
              <a:ext uri="{FF2B5EF4-FFF2-40B4-BE49-F238E27FC236}">
                <a16:creationId xmlns:a16="http://schemas.microsoft.com/office/drawing/2014/main" id="{4EBE187E-43F6-ED62-79A2-BA9B405F6BF9}"/>
              </a:ext>
            </a:extLst>
          </p:cNvPr>
          <p:cNvSpPr txBox="1"/>
          <p:nvPr/>
        </p:nvSpPr>
        <p:spPr>
          <a:xfrm>
            <a:off x="5533120" y="1555241"/>
            <a:ext cx="1587886" cy="485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US" sz="700">
                <a:solidFill>
                  <a:srgbClr val="106C8D"/>
                </a:solidFill>
              </a:rPr>
              <a:t>with suppliers and customers across the value chain</a:t>
            </a: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chemeClr val="accent1"/>
              </a:buClr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106C8D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与价值链的客户和供应商们合作</a:t>
            </a:r>
          </a:p>
        </p:txBody>
      </p:sp>
      <p:sp>
        <p:nvSpPr>
          <p:cNvPr id="35" name="TextBox 75">
            <a:extLst>
              <a:ext uri="{FF2B5EF4-FFF2-40B4-BE49-F238E27FC236}">
                <a16:creationId xmlns:a16="http://schemas.microsoft.com/office/drawing/2014/main" id="{244B7002-6A63-6013-FD37-F3EDA4BF2EC0}"/>
              </a:ext>
            </a:extLst>
          </p:cNvPr>
          <p:cNvSpPr txBox="1"/>
          <p:nvPr/>
        </p:nvSpPr>
        <p:spPr>
          <a:xfrm>
            <a:off x="7428393" y="993276"/>
            <a:ext cx="1198941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nl-BE" sz="2400" b="1">
                <a:solidFill>
                  <a:srgbClr val="106C8D"/>
                </a:solidFill>
                <a:latin typeface="+mj-lt"/>
              </a:rPr>
              <a:t>100%</a:t>
            </a:r>
            <a:endParaRPr lang="en-BE" sz="2400" b="1">
              <a:solidFill>
                <a:srgbClr val="106C8D"/>
              </a:solidFill>
              <a:latin typeface="+mj-lt"/>
            </a:endParaRPr>
          </a:p>
        </p:txBody>
      </p:sp>
      <p:sp>
        <p:nvSpPr>
          <p:cNvPr id="36" name="TextBox 76">
            <a:extLst>
              <a:ext uri="{FF2B5EF4-FFF2-40B4-BE49-F238E27FC236}">
                <a16:creationId xmlns:a16="http://schemas.microsoft.com/office/drawing/2014/main" id="{C711FDE5-2973-3C18-3EE1-7E0A436CEEAA}"/>
              </a:ext>
            </a:extLst>
          </p:cNvPr>
          <p:cNvSpPr txBox="1"/>
          <p:nvPr/>
        </p:nvSpPr>
        <p:spPr>
          <a:xfrm>
            <a:off x="7233921" y="1555241"/>
            <a:ext cx="1587886" cy="485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US" sz="700">
                <a:solidFill>
                  <a:srgbClr val="106C8D"/>
                </a:solidFill>
              </a:rPr>
              <a:t>transparent and </a:t>
            </a:r>
            <a:br>
              <a:rPr lang="en-US" sz="700">
                <a:solidFill>
                  <a:srgbClr val="106C8D"/>
                </a:solidFill>
              </a:rPr>
            </a:br>
            <a:r>
              <a:rPr lang="en-US" sz="700">
                <a:solidFill>
                  <a:srgbClr val="106C8D"/>
                </a:solidFill>
              </a:rPr>
              <a:t>integrated reporting</a:t>
            </a: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chemeClr val="accent1"/>
              </a:buClr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106C8D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透明和综合的报告系统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D294898B-103B-A4DE-53C0-66FA1F1C59FC}"/>
              </a:ext>
            </a:extLst>
          </p:cNvPr>
          <p:cNvSpPr txBox="1">
            <a:spLocks/>
          </p:cNvSpPr>
          <p:nvPr/>
        </p:nvSpPr>
        <p:spPr>
          <a:xfrm>
            <a:off x="3273660" y="385443"/>
            <a:ext cx="5353674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400" b="1"/>
              <a:t>Act with integrity </a:t>
            </a:r>
            <a:r>
              <a:rPr lang="zh-CN" altLang="en-US" sz="2400" b="1"/>
              <a:t>诚信行事</a:t>
            </a:r>
            <a:endParaRPr lang="en-GB" sz="2400" b="1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1F9598E9-270A-1909-9DA9-A1B8C7B2EF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17542" y="0"/>
            <a:ext cx="1279635" cy="1279635"/>
          </a:xfrm>
          <a:prstGeom prst="rect">
            <a:avLst/>
          </a:prstGeom>
        </p:spPr>
      </p:pic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632382E-9989-055D-0D86-06F930471F28}"/>
              </a:ext>
            </a:extLst>
          </p:cNvPr>
          <p:cNvSpPr txBox="1">
            <a:spLocks/>
          </p:cNvSpPr>
          <p:nvPr/>
        </p:nvSpPr>
        <p:spPr>
          <a:xfrm>
            <a:off x="3726377" y="714386"/>
            <a:ext cx="3292281" cy="312390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400">
                <a:solidFill>
                  <a:schemeClr val="accent2"/>
                </a:solidFill>
              </a:rPr>
              <a:t>Ambition 2030 </a:t>
            </a:r>
            <a:r>
              <a:rPr lang="zh-CN" altLang="en-US" sz="1400">
                <a:solidFill>
                  <a:schemeClr val="accent2"/>
                </a:solidFill>
              </a:rPr>
              <a:t>（</a:t>
            </a:r>
            <a:r>
              <a:rPr lang="en-US" altLang="zh-CN" sz="1400">
                <a:solidFill>
                  <a:schemeClr val="accent2"/>
                </a:solidFill>
              </a:rPr>
              <a:t>2030</a:t>
            </a:r>
            <a:r>
              <a:rPr lang="zh-CN" altLang="en-US" sz="1400">
                <a:solidFill>
                  <a:schemeClr val="accent2"/>
                </a:solidFill>
              </a:rPr>
              <a:t>年目标）</a:t>
            </a:r>
            <a:endParaRPr lang="en-GB" sz="1400">
              <a:solidFill>
                <a:schemeClr val="accent2"/>
              </a:solidFill>
            </a:endParaRPr>
          </a:p>
        </p:txBody>
      </p:sp>
      <p:sp>
        <p:nvSpPr>
          <p:cNvPr id="40" name="TextBox 71">
            <a:extLst>
              <a:ext uri="{FF2B5EF4-FFF2-40B4-BE49-F238E27FC236}">
                <a16:creationId xmlns:a16="http://schemas.microsoft.com/office/drawing/2014/main" id="{DBE7EAB7-704F-C457-E28C-3D88C7EB4590}"/>
              </a:ext>
            </a:extLst>
          </p:cNvPr>
          <p:cNvSpPr txBox="1"/>
          <p:nvPr/>
        </p:nvSpPr>
        <p:spPr>
          <a:xfrm>
            <a:off x="3780699" y="3626024"/>
            <a:ext cx="1708835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kumimoji="0" lang="nl-BE" sz="2400" b="1" i="0" u="none" strike="noStrike" kern="1200" cap="none" spc="0" normalizeH="0" baseline="0" noProof="0">
                <a:ln>
                  <a:noFill/>
                </a:ln>
                <a:solidFill>
                  <a:srgbClr val="C1DEEE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  <a:t>94%</a:t>
            </a:r>
            <a:endParaRPr kumimoji="0" lang="en-BE" sz="2400" b="1" i="0" u="none" strike="noStrike" kern="1200" cap="none" spc="0" normalizeH="0" baseline="0" noProof="0">
              <a:ln>
                <a:noFill/>
              </a:ln>
              <a:solidFill>
                <a:srgbClr val="C1DEEE"/>
              </a:solidFill>
              <a:effectLst/>
              <a:uLnTx/>
              <a:uFillTx/>
              <a:latin typeface="Bekaert Headline"/>
              <a:ea typeface="+mn-ea"/>
              <a:cs typeface="+mn-cs"/>
            </a:endParaRPr>
          </a:p>
        </p:txBody>
      </p:sp>
      <p:sp>
        <p:nvSpPr>
          <p:cNvPr id="41" name="TextBox 72">
            <a:extLst>
              <a:ext uri="{FF2B5EF4-FFF2-40B4-BE49-F238E27FC236}">
                <a16:creationId xmlns:a16="http://schemas.microsoft.com/office/drawing/2014/main" id="{BCA26D6C-5B93-ACE0-C6AA-44C6C1C14ACB}"/>
              </a:ext>
            </a:extLst>
          </p:cNvPr>
          <p:cNvSpPr txBox="1"/>
          <p:nvPr/>
        </p:nvSpPr>
        <p:spPr>
          <a:xfrm>
            <a:off x="3802290" y="4166013"/>
            <a:ext cx="1708835" cy="485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sz="700">
                <a:solidFill>
                  <a:srgbClr val="E6E6E6"/>
                </a:solidFill>
                <a:latin typeface="Bekaert Text"/>
              </a:rPr>
              <a:t>s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pend with suppliers committing to Code of Conduct Supplier</a:t>
            </a: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rgbClr val="01ADEF"/>
              </a:buClr>
              <a:defRPr/>
            </a:pPr>
            <a:r>
              <a:rPr lang="zh-CN" altLang="en-US" sz="700">
                <a:solidFill>
                  <a:srgbClr val="E6E6E6"/>
                </a:solidFill>
                <a:latin typeface="Bekaert Text"/>
              </a:rPr>
              <a:t>供应商签署</a:t>
            </a:r>
            <a:r>
              <a:rPr lang="en-US" altLang="zh-CN" sz="700">
                <a:solidFill>
                  <a:srgbClr val="E6E6E6"/>
                </a:solidFill>
                <a:latin typeface="Bekaert Text"/>
              </a:rPr>
              <a:t>《</a:t>
            </a:r>
            <a:r>
              <a:rPr lang="zh-CN" altLang="en-US" sz="700">
                <a:solidFill>
                  <a:srgbClr val="E6E6E6"/>
                </a:solidFill>
                <a:latin typeface="Bekaert Text"/>
              </a:rPr>
              <a:t>行为准则</a:t>
            </a:r>
            <a:r>
              <a:rPr lang="en-US" altLang="zh-CN" sz="700">
                <a:solidFill>
                  <a:srgbClr val="E6E6E6"/>
                </a:solidFill>
                <a:latin typeface="Bekaert Text"/>
              </a:rPr>
              <a:t>》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E6E6E6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42" name="TextBox 73">
            <a:extLst>
              <a:ext uri="{FF2B5EF4-FFF2-40B4-BE49-F238E27FC236}">
                <a16:creationId xmlns:a16="http://schemas.microsoft.com/office/drawing/2014/main" id="{1439BC53-2037-F501-35B3-97B523029505}"/>
              </a:ext>
            </a:extLst>
          </p:cNvPr>
          <p:cNvSpPr txBox="1"/>
          <p:nvPr/>
        </p:nvSpPr>
        <p:spPr>
          <a:xfrm>
            <a:off x="1850899" y="3636037"/>
            <a:ext cx="19812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sz="2400" b="1">
                <a:solidFill>
                  <a:srgbClr val="C1DEEE"/>
                </a:solidFill>
                <a:latin typeface="Bekaert Headline"/>
              </a:rPr>
              <a:t>5</a:t>
            </a:r>
            <a:r>
              <a:rPr kumimoji="0" lang="nl-BE" sz="2400" b="1" i="0" u="none" strike="noStrike" kern="1200" cap="none" spc="0" normalizeH="0" baseline="0" noProof="0">
                <a:ln>
                  <a:noFill/>
                </a:ln>
                <a:solidFill>
                  <a:srgbClr val="C1DEEE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  <a:t>1%</a:t>
            </a:r>
            <a:endParaRPr kumimoji="0" lang="en-BE" sz="2400" b="1" i="0" u="none" strike="noStrike" kern="1200" cap="none" spc="0" normalizeH="0" baseline="0" noProof="0">
              <a:ln>
                <a:noFill/>
              </a:ln>
              <a:solidFill>
                <a:srgbClr val="C1DEEE"/>
              </a:solidFill>
              <a:effectLst/>
              <a:uLnTx/>
              <a:uFillTx/>
              <a:latin typeface="Bekaert Headline"/>
              <a:ea typeface="+mn-ea"/>
              <a:cs typeface="+mn-cs"/>
            </a:endParaRPr>
          </a:p>
        </p:txBody>
      </p:sp>
      <p:sp>
        <p:nvSpPr>
          <p:cNvPr id="43" name="TextBox 74">
            <a:extLst>
              <a:ext uri="{FF2B5EF4-FFF2-40B4-BE49-F238E27FC236}">
                <a16:creationId xmlns:a16="http://schemas.microsoft.com/office/drawing/2014/main" id="{BEE13406-2989-7671-822C-F183A383F629}"/>
              </a:ext>
            </a:extLst>
          </p:cNvPr>
          <p:cNvSpPr txBox="1"/>
          <p:nvPr/>
        </p:nvSpPr>
        <p:spPr>
          <a:xfrm>
            <a:off x="2066483" y="4174516"/>
            <a:ext cx="1465884" cy="582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sz="700">
                <a:solidFill>
                  <a:srgbClr val="E6E6E6"/>
                </a:solidFill>
                <a:latin typeface="Bekaert Text"/>
              </a:rPr>
              <a:t>o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f strategic supplier spend with </a:t>
            </a:r>
            <a:r>
              <a:rPr kumimoji="0" lang="en-US" sz="7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Ecovadis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 score 45+</a:t>
            </a: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rgbClr val="01ADEF"/>
              </a:buClr>
              <a:defRPr/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战略供应商达到</a:t>
            </a:r>
            <a:r>
              <a:rPr kumimoji="0" lang="en-US" altLang="zh-CN" sz="7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Ecovadis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铜牌级（</a:t>
            </a:r>
            <a:r>
              <a:rPr lang="en-US" altLang="zh-CN" sz="700">
                <a:solidFill>
                  <a:srgbClr val="E6E6E6"/>
                </a:solidFill>
                <a:latin typeface="Bekaert Text"/>
              </a:rPr>
              <a:t>45</a:t>
            </a:r>
            <a:r>
              <a:rPr lang="zh-CN" altLang="en-US" sz="700">
                <a:solidFill>
                  <a:srgbClr val="E6E6E6"/>
                </a:solidFill>
                <a:latin typeface="Bekaert Text"/>
              </a:rPr>
              <a:t>分）以上的标准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E6E6E6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44" name="TextBox 79">
            <a:extLst>
              <a:ext uri="{FF2B5EF4-FFF2-40B4-BE49-F238E27FC236}">
                <a16:creationId xmlns:a16="http://schemas.microsoft.com/office/drawing/2014/main" id="{BBB9911A-1541-9A38-2311-A907F34C6CCC}"/>
              </a:ext>
            </a:extLst>
          </p:cNvPr>
          <p:cNvSpPr txBox="1"/>
          <p:nvPr/>
        </p:nvSpPr>
        <p:spPr>
          <a:xfrm>
            <a:off x="85283" y="3633166"/>
            <a:ext cx="19812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kumimoji="0" lang="nl-BE" sz="2400" b="1" i="0" u="none" strike="noStrike" kern="1200" cap="none" spc="0" normalizeH="0" baseline="0" noProof="0">
                <a:ln>
                  <a:noFill/>
                </a:ln>
                <a:solidFill>
                  <a:srgbClr val="C1DEEE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  <a:t>100%</a:t>
            </a:r>
            <a:endParaRPr kumimoji="0" lang="en-BE" sz="2400" b="1" i="0" u="none" strike="noStrike" kern="1200" cap="none" spc="0" normalizeH="0" baseline="0" noProof="0">
              <a:ln>
                <a:noFill/>
              </a:ln>
              <a:solidFill>
                <a:srgbClr val="C1DEEE"/>
              </a:solidFill>
              <a:effectLst/>
              <a:uLnTx/>
              <a:uFillTx/>
              <a:latin typeface="Bekaert Headline"/>
              <a:ea typeface="+mn-ea"/>
              <a:cs typeface="+mn-cs"/>
            </a:endParaRPr>
          </a:p>
        </p:txBody>
      </p:sp>
      <p:sp>
        <p:nvSpPr>
          <p:cNvPr id="45" name="TextBox 74">
            <a:extLst>
              <a:ext uri="{FF2B5EF4-FFF2-40B4-BE49-F238E27FC236}">
                <a16:creationId xmlns:a16="http://schemas.microsoft.com/office/drawing/2014/main" id="{A4F26DA3-9A48-6C55-BFC7-6B81CAB415EF}"/>
              </a:ext>
            </a:extLst>
          </p:cNvPr>
          <p:cNvSpPr txBox="1"/>
          <p:nvPr/>
        </p:nvSpPr>
        <p:spPr>
          <a:xfrm>
            <a:off x="342941" y="4154088"/>
            <a:ext cx="1465884" cy="582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sz="700">
                <a:solidFill>
                  <a:srgbClr val="E6E6E6"/>
                </a:solidFill>
                <a:latin typeface="Bekaert Text"/>
              </a:rPr>
              <a:t>o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f Bekaert PC users signed Code of Conduct</a:t>
            </a: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rgbClr val="01ADEF"/>
              </a:buClr>
              <a:defRPr/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贝卡尔特全体电脑用户均已签署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《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行为准则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》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E6E6E6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46" name="TextBox 71">
            <a:extLst>
              <a:ext uri="{FF2B5EF4-FFF2-40B4-BE49-F238E27FC236}">
                <a16:creationId xmlns:a16="http://schemas.microsoft.com/office/drawing/2014/main" id="{02E7151F-5D3C-DA17-9C87-F6E0B67DA81E}"/>
              </a:ext>
            </a:extLst>
          </p:cNvPr>
          <p:cNvSpPr txBox="1"/>
          <p:nvPr/>
        </p:nvSpPr>
        <p:spPr>
          <a:xfrm>
            <a:off x="7203750" y="3654244"/>
            <a:ext cx="1708835" cy="512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kumimoji="0" lang="en-BE" b="1" i="0" u="none" strike="noStrike" kern="1200" cap="none" spc="0" normalizeH="0" baseline="0" noProof="0">
                <a:ln>
                  <a:noFill/>
                </a:ln>
                <a:solidFill>
                  <a:srgbClr val="C1DEEE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  <a:t>CSRD</a:t>
            </a:r>
            <a:r>
              <a:rPr kumimoji="0" lang="en-BE" sz="2000" b="1" i="0" u="none" strike="noStrike" kern="1200" cap="none" spc="0" normalizeH="0" baseline="30000" noProof="0">
                <a:ln>
                  <a:noFill/>
                </a:ln>
                <a:solidFill>
                  <a:srgbClr val="C1DEEE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  <a:t> </a:t>
            </a:r>
            <a:r>
              <a:rPr kumimoji="0" lang="en-BE" sz="1400" b="1" i="0" u="none" strike="noStrike" kern="1200" cap="none" spc="0" normalizeH="0" baseline="30000" noProof="0">
                <a:ln>
                  <a:noFill/>
                </a:ln>
                <a:solidFill>
                  <a:srgbClr val="C1DEEE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  <a:t>complian</a:t>
            </a:r>
            <a:r>
              <a:rPr lang="en-BE" sz="1400" b="1" baseline="30000">
                <a:solidFill>
                  <a:srgbClr val="C1DEEE"/>
                </a:solidFill>
                <a:latin typeface="Bekaert Headline"/>
              </a:rPr>
              <a:t>ce</a:t>
            </a:r>
            <a:r>
              <a:rPr lang="zh-CN" altLang="en-US" sz="1400" b="1" baseline="30000">
                <a:solidFill>
                  <a:srgbClr val="C1DEEE"/>
                </a:solidFill>
                <a:latin typeface="Bekaert Headline"/>
              </a:rPr>
              <a:t>合规</a:t>
            </a:r>
            <a:endParaRPr kumimoji="0" lang="en-BE" i="0" u="none" strike="noStrike" kern="1200" cap="none" spc="0" normalizeH="0" baseline="30000" noProof="0">
              <a:ln>
                <a:noFill/>
              </a:ln>
              <a:solidFill>
                <a:srgbClr val="C1DEEE"/>
              </a:solidFill>
              <a:effectLst/>
              <a:uLnTx/>
              <a:uFillTx/>
              <a:latin typeface="Bekaert Headline"/>
              <a:ea typeface="+mn-ea"/>
              <a:cs typeface="+mn-cs"/>
            </a:endParaRPr>
          </a:p>
        </p:txBody>
      </p:sp>
      <p:sp>
        <p:nvSpPr>
          <p:cNvPr id="47" name="TextBox 72">
            <a:extLst>
              <a:ext uri="{FF2B5EF4-FFF2-40B4-BE49-F238E27FC236}">
                <a16:creationId xmlns:a16="http://schemas.microsoft.com/office/drawing/2014/main" id="{4CD683EE-E030-6DD1-78CA-17CA41CBB662}"/>
              </a:ext>
            </a:extLst>
          </p:cNvPr>
          <p:cNvSpPr txBox="1"/>
          <p:nvPr/>
        </p:nvSpPr>
        <p:spPr>
          <a:xfrm>
            <a:off x="7369697" y="4139683"/>
            <a:ext cx="1431362" cy="582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sz="700">
                <a:solidFill>
                  <a:srgbClr val="E6E6E6"/>
                </a:solidFill>
                <a:latin typeface="Bekaert Text"/>
              </a:rPr>
              <a:t> CSRD-compliant reporting </a:t>
            </a:r>
            <a:br>
              <a:rPr lang="en-BE" sz="700">
                <a:solidFill>
                  <a:srgbClr val="E6E6E6"/>
                </a:solidFill>
                <a:latin typeface="Bekaert Text"/>
              </a:rPr>
            </a:br>
            <a:r>
              <a:rPr lang="en-BE" sz="700">
                <a:solidFill>
                  <a:srgbClr val="E6E6E6"/>
                </a:solidFill>
                <a:latin typeface="Bekaert Text"/>
              </a:rPr>
              <a:t>under lim</a:t>
            </a:r>
            <a:r>
              <a:rPr lang="en-GB" sz="700" err="1">
                <a:solidFill>
                  <a:srgbClr val="E6E6E6"/>
                </a:solidFill>
                <a:latin typeface="Bekaert Text"/>
              </a:rPr>
              <a:t>i</a:t>
            </a:r>
            <a:r>
              <a:rPr lang="en-BE" sz="700">
                <a:solidFill>
                  <a:srgbClr val="E6E6E6"/>
                </a:solidFill>
                <a:latin typeface="Bekaert Text"/>
              </a:rPr>
              <a:t>ted assurance</a:t>
            </a:r>
            <a:endParaRPr lang="en-US" sz="700">
              <a:solidFill>
                <a:srgbClr val="E6E6E6"/>
              </a:solidFill>
              <a:latin typeface="Bekaert Text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根据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CSRD</a:t>
            </a:r>
            <a:r>
              <a:rPr lang="zh-CN" altLang="en-US" sz="700">
                <a:solidFill>
                  <a:srgbClr val="E6E6E6"/>
                </a:solidFill>
                <a:latin typeface="Bekaert Text"/>
              </a:rPr>
              <a:t>要求编制报告，设置了独立鉴证机制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E6E6E6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</p:txBody>
      </p:sp>
      <p:sp>
        <p:nvSpPr>
          <p:cNvPr id="48" name="TextBox 71">
            <a:extLst>
              <a:ext uri="{FF2B5EF4-FFF2-40B4-BE49-F238E27FC236}">
                <a16:creationId xmlns:a16="http://schemas.microsoft.com/office/drawing/2014/main" id="{043CD239-5417-31CE-6739-618662D31759}"/>
              </a:ext>
            </a:extLst>
          </p:cNvPr>
          <p:cNvSpPr txBox="1"/>
          <p:nvPr/>
        </p:nvSpPr>
        <p:spPr>
          <a:xfrm>
            <a:off x="5561998" y="3654244"/>
            <a:ext cx="1708835" cy="5745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lang="en-BE" b="1">
                <a:solidFill>
                  <a:srgbClr val="C1DEEE"/>
                </a:solidFill>
                <a:latin typeface="Bekaert Headline"/>
              </a:rPr>
              <a:t>External</a:t>
            </a:r>
            <a:br>
              <a:rPr kumimoji="0" lang="en-BE" sz="2000" b="1" i="0" u="none" strike="noStrike" kern="1200" cap="none" spc="0" normalizeH="0" baseline="0" noProof="0">
                <a:ln>
                  <a:noFill/>
                </a:ln>
                <a:solidFill>
                  <a:srgbClr val="C1DEEE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</a:br>
            <a:r>
              <a:rPr kumimoji="0" lang="en-BE" sz="2000" b="1" i="0" u="none" strike="noStrike" kern="1200" cap="none" spc="0" normalizeH="0" baseline="30000" noProof="0">
                <a:ln>
                  <a:noFill/>
                </a:ln>
                <a:solidFill>
                  <a:srgbClr val="C1DEEE"/>
                </a:solidFill>
                <a:effectLst/>
                <a:uLnTx/>
                <a:uFillTx/>
                <a:latin typeface="Bekaert Headline"/>
                <a:ea typeface="+mn-ea"/>
                <a:cs typeface="+mn-cs"/>
              </a:rPr>
              <a:t>recognition</a:t>
            </a:r>
            <a:r>
              <a:rPr lang="zh-CN" altLang="en-US" b="1" baseline="30000">
                <a:solidFill>
                  <a:srgbClr val="C1DEEE"/>
                </a:solidFill>
                <a:latin typeface="Bekaert Headline"/>
              </a:rPr>
              <a:t>荣誉</a:t>
            </a:r>
            <a:endParaRPr kumimoji="0" lang="en-BE" i="0" u="none" strike="noStrike" kern="1200" cap="none" spc="0" normalizeH="0" baseline="30000" noProof="0">
              <a:ln>
                <a:noFill/>
              </a:ln>
              <a:solidFill>
                <a:srgbClr val="C1DEEE"/>
              </a:solidFill>
              <a:effectLst/>
              <a:uLnTx/>
              <a:uFillTx/>
              <a:latin typeface="Bekaert Headline"/>
              <a:ea typeface="+mn-ea"/>
              <a:cs typeface="+mn-cs"/>
            </a:endParaRPr>
          </a:p>
        </p:txBody>
      </p:sp>
      <p:sp>
        <p:nvSpPr>
          <p:cNvPr id="49" name="TextBox 72">
            <a:extLst>
              <a:ext uri="{FF2B5EF4-FFF2-40B4-BE49-F238E27FC236}">
                <a16:creationId xmlns:a16="http://schemas.microsoft.com/office/drawing/2014/main" id="{F8B2F141-704E-2C94-1858-8F8BE1C97E1C}"/>
              </a:ext>
            </a:extLst>
          </p:cNvPr>
          <p:cNvSpPr txBox="1"/>
          <p:nvPr/>
        </p:nvSpPr>
        <p:spPr>
          <a:xfrm>
            <a:off x="5489535" y="4136933"/>
            <a:ext cx="1783940" cy="1175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800"/>
              </a:spcAft>
              <a:buClr>
                <a:srgbClr val="01ADEF"/>
              </a:buClr>
              <a:defRPr/>
            </a:pPr>
            <a:r>
              <a:rPr lang="en-US" sz="700">
                <a:solidFill>
                  <a:srgbClr val="E6E6E6"/>
                </a:solidFill>
                <a:latin typeface="Bekaert Text"/>
              </a:rPr>
              <a:t>listed in Time’s Top 500 Most Sustainable Companies and recognized by </a:t>
            </a:r>
            <a:r>
              <a:rPr lang="en-BE" sz="700">
                <a:solidFill>
                  <a:srgbClr val="E6E6E6"/>
                </a:solidFill>
                <a:latin typeface="Bekaert Text"/>
              </a:rPr>
              <a:t>ESG </a:t>
            </a:r>
            <a:r>
              <a:rPr lang="en-US" sz="700">
                <a:solidFill>
                  <a:srgbClr val="E6E6E6"/>
                </a:solidFill>
                <a:latin typeface="Bekaert Text"/>
              </a:rPr>
              <a:t>ratings</a:t>
            </a: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rgbClr val="01ADEF"/>
              </a:buClr>
              <a:defRPr/>
            </a:pP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荣膺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《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时代周刊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》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全球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500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强最具可持续发展企业榜单，并获得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ESG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评级机构权威认可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E6E6E6"/>
              </a:solidFill>
              <a:effectLst/>
              <a:uLnTx/>
              <a:uFillTx/>
              <a:latin typeface="Bekaert Text"/>
              <a:ea typeface="+mn-ea"/>
              <a:cs typeface="+mn-cs"/>
            </a:endParaRPr>
          </a:p>
          <a:p>
            <a:pPr algn="ctr">
              <a:lnSpc>
                <a:spcPct val="90000"/>
              </a:lnSpc>
              <a:spcAft>
                <a:spcPts val="800"/>
              </a:spcAft>
              <a:buClr>
                <a:srgbClr val="01ADEF"/>
              </a:buClr>
              <a:defRPr/>
            </a:pPr>
            <a:endParaRPr lang="en-US" sz="700">
              <a:solidFill>
                <a:srgbClr val="E6E6E6"/>
              </a:solidFill>
              <a:latin typeface="Bekaert Text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endParaRPr lang="en-US" sz="700">
              <a:solidFill>
                <a:srgbClr val="E6E6E6"/>
              </a:solidFill>
              <a:latin typeface="Bekaert Text"/>
            </a:endParaRP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58A82C78-CF22-C6E3-B024-1D8182316929}"/>
              </a:ext>
            </a:extLst>
          </p:cNvPr>
          <p:cNvSpPr txBox="1">
            <a:spLocks/>
          </p:cNvSpPr>
          <p:nvPr/>
        </p:nvSpPr>
        <p:spPr>
          <a:xfrm>
            <a:off x="0" y="3283089"/>
            <a:ext cx="9144000" cy="317700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600" b="1">
                <a:solidFill>
                  <a:schemeClr val="accent2"/>
                </a:solidFill>
              </a:rPr>
              <a:t>202</a:t>
            </a:r>
            <a:r>
              <a:rPr lang="en-BE" sz="1600" b="1">
                <a:solidFill>
                  <a:schemeClr val="accent2"/>
                </a:solidFill>
              </a:rPr>
              <a:t>4</a:t>
            </a:r>
            <a:r>
              <a:rPr lang="en-GB" sz="1600" b="1">
                <a:solidFill>
                  <a:schemeClr val="accent2"/>
                </a:solidFill>
              </a:rPr>
              <a:t> Highlights</a:t>
            </a:r>
            <a:r>
              <a:rPr lang="zh-CN" altLang="en-US" sz="1600" b="1">
                <a:solidFill>
                  <a:schemeClr val="accent2"/>
                </a:solidFill>
              </a:rPr>
              <a:t>（</a:t>
            </a:r>
            <a:r>
              <a:rPr lang="en-US" altLang="zh-CN" sz="1600" b="1">
                <a:solidFill>
                  <a:schemeClr val="accent2"/>
                </a:solidFill>
              </a:rPr>
              <a:t>2024</a:t>
            </a:r>
            <a:r>
              <a:rPr lang="zh-CN" altLang="en-US" sz="1600" b="1">
                <a:solidFill>
                  <a:schemeClr val="accent2"/>
                </a:solidFill>
              </a:rPr>
              <a:t>年关键成果）</a:t>
            </a:r>
            <a:endParaRPr lang="en-GB" sz="1600" b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069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9DC9693-121C-5F8E-7E1A-62035C278A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E7F514EF-E5DE-9665-26EE-6C31B73E9F72}"/>
              </a:ext>
            </a:extLst>
          </p:cNvPr>
          <p:cNvSpPr/>
          <p:nvPr/>
        </p:nvSpPr>
        <p:spPr>
          <a:xfrm flipV="1">
            <a:off x="0" y="3041364"/>
            <a:ext cx="9162218" cy="135239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2EEDD39-BEFA-06E6-4AE6-C8AF17194230}"/>
              </a:ext>
            </a:extLst>
          </p:cNvPr>
          <p:cNvGrpSpPr/>
          <p:nvPr/>
        </p:nvGrpSpPr>
        <p:grpSpPr>
          <a:xfrm>
            <a:off x="346780" y="3834895"/>
            <a:ext cx="8322616" cy="1000356"/>
            <a:chOff x="346780" y="831326"/>
            <a:chExt cx="8322616" cy="1000356"/>
          </a:xfrm>
        </p:grpSpPr>
        <p:pic>
          <p:nvPicPr>
            <p:cNvPr id="7" name="Picture 6" descr="A grey and white label with text and numbers&#10;&#10;AI-generated content may be incorrect.">
              <a:extLst>
                <a:ext uri="{FF2B5EF4-FFF2-40B4-BE49-F238E27FC236}">
                  <a16:creationId xmlns:a16="http://schemas.microsoft.com/office/drawing/2014/main" id="{D6B7005B-BFA2-CC58-F772-DAE04BBEDB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6794" y="831326"/>
              <a:ext cx="876048" cy="876048"/>
            </a:xfrm>
            <a:prstGeom prst="rect">
              <a:avLst/>
            </a:prstGeom>
          </p:spPr>
        </p:pic>
        <p:pic>
          <p:nvPicPr>
            <p:cNvPr id="9" name="Picture 8" descr="A red sign with white text&#10;&#10;AI-generated content may be incorrect.">
              <a:extLst>
                <a:ext uri="{FF2B5EF4-FFF2-40B4-BE49-F238E27FC236}">
                  <a16:creationId xmlns:a16="http://schemas.microsoft.com/office/drawing/2014/main" id="{99D6804B-247A-8E41-DEAA-A9AA37324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780" y="879046"/>
              <a:ext cx="919053" cy="919053"/>
            </a:xfrm>
            <a:prstGeom prst="rect">
              <a:avLst/>
            </a:prstGeom>
          </p:spPr>
        </p:pic>
        <p:pic>
          <p:nvPicPr>
            <p:cNvPr id="11" name="Picture 10" descr="A gold circle with black text&#10;&#10;AI-generated content may be incorrect.">
              <a:extLst>
                <a:ext uri="{FF2B5EF4-FFF2-40B4-BE49-F238E27FC236}">
                  <a16:creationId xmlns:a16="http://schemas.microsoft.com/office/drawing/2014/main" id="{34BA8B85-89FB-E461-1D38-68D2ABC78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5389" y="997675"/>
              <a:ext cx="834007" cy="834007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048505A2-799E-67BB-7B5C-9A1C6E17C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543646" y="1070053"/>
              <a:ext cx="1208333" cy="537037"/>
            </a:xfrm>
            <a:prstGeom prst="rect">
              <a:avLst/>
            </a:prstGeom>
          </p:spPr>
        </p:pic>
        <p:pic>
          <p:nvPicPr>
            <p:cNvPr id="15" name="Picture 14" descr="A green and grey logo&#10;&#10;AI-generated content may be incorrect.">
              <a:extLst>
                <a:ext uri="{FF2B5EF4-FFF2-40B4-BE49-F238E27FC236}">
                  <a16:creationId xmlns:a16="http://schemas.microsoft.com/office/drawing/2014/main" id="{64D30A90-16F4-3F4A-8870-58061AA0C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4932" y="1090825"/>
              <a:ext cx="1368964" cy="365728"/>
            </a:xfrm>
            <a:prstGeom prst="rect">
              <a:avLst/>
            </a:prstGeom>
          </p:spPr>
        </p:pic>
        <p:pic>
          <p:nvPicPr>
            <p:cNvPr id="17" name="Picture 16" descr="A black and white sign with a yellow logo&#10;&#10;AI-generated content may be incorrect.">
              <a:extLst>
                <a:ext uri="{FF2B5EF4-FFF2-40B4-BE49-F238E27FC236}">
                  <a16:creationId xmlns:a16="http://schemas.microsoft.com/office/drawing/2014/main" id="{EBE8F2B0-B2E2-30E3-49D3-723B764D0EB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8290" y="1090825"/>
              <a:ext cx="884277" cy="539610"/>
            </a:xfrm>
            <a:prstGeom prst="rect">
              <a:avLst/>
            </a:prstGeom>
          </p:spPr>
        </p:pic>
      </p:grpSp>
      <p:pic>
        <p:nvPicPr>
          <p:cNvPr id="5" name="Picture 4" descr="A group of wind turbines in a field&#10;&#10;AI-generated content may be incorrect.">
            <a:extLst>
              <a:ext uri="{FF2B5EF4-FFF2-40B4-BE49-F238E27FC236}">
                <a16:creationId xmlns:a16="http://schemas.microsoft.com/office/drawing/2014/main" id="{81649121-9DA0-E006-A13B-8FBC608A29F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527" y="134758"/>
            <a:ext cx="8853715" cy="35828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9A09ED7-4FA9-94E5-F48A-8E9A4194C0C6}"/>
              </a:ext>
            </a:extLst>
          </p:cNvPr>
          <p:cNvSpPr txBox="1">
            <a:spLocks/>
          </p:cNvSpPr>
          <p:nvPr/>
        </p:nvSpPr>
        <p:spPr>
          <a:xfrm>
            <a:off x="146528" y="252092"/>
            <a:ext cx="8735144" cy="42115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/>
              <a:t>Our sustainability ratings </a:t>
            </a:r>
            <a:r>
              <a:rPr lang="zh-CN" altLang="en-US" sz="2400"/>
              <a:t>我们的可持续评级</a:t>
            </a:r>
            <a:endParaRPr lang="en-US" sz="1800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4F52C5AC-24B7-E0FB-017C-34A9900A041B}"/>
              </a:ext>
            </a:extLst>
          </p:cNvPr>
          <p:cNvSpPr/>
          <p:nvPr/>
        </p:nvSpPr>
        <p:spPr>
          <a:xfrm>
            <a:off x="3726180" y="4835251"/>
            <a:ext cx="1729740" cy="173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E560FCE6-0F0F-FEC8-82A8-5B4526BC2CC1}"/>
              </a:ext>
            </a:extLst>
          </p:cNvPr>
          <p:cNvSpPr txBox="1"/>
          <p:nvPr/>
        </p:nvSpPr>
        <p:spPr>
          <a:xfrm>
            <a:off x="2688010" y="4812175"/>
            <a:ext cx="3711272" cy="2318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US" sz="800">
                <a:hlinkClick r:id="rId11"/>
              </a:rPr>
              <a:t>https://www.bekaert.com/en/sustainability/sustainability-standards</a:t>
            </a:r>
            <a:r>
              <a:rPr lang="en-BE" sz="800">
                <a:hlinkClick r:id="rId11"/>
              </a:rPr>
              <a:t> </a:t>
            </a:r>
            <a:endParaRPr lang="en-BE" sz="1200"/>
          </a:p>
        </p:txBody>
      </p:sp>
    </p:spTree>
    <p:extLst>
      <p:ext uri="{BB962C8B-B14F-4D97-AF65-F5344CB8AC3E}">
        <p14:creationId xmlns:p14="http://schemas.microsoft.com/office/powerpoint/2010/main" val="684075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C8A27A-074D-8E71-A82E-7207E2C681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and person working on a computer&#10;&#10;AI-generated content may be incorrect.">
            <a:extLst>
              <a:ext uri="{FF2B5EF4-FFF2-40B4-BE49-F238E27FC236}">
                <a16:creationId xmlns:a16="http://schemas.microsoft.com/office/drawing/2014/main" id="{C31B2BF0-F77C-B45F-2466-A697FE912D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" y="-2286"/>
            <a:ext cx="9159240" cy="514807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666245-ED97-B297-D743-8E94E2A15D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8B57AA4-CC86-403A-9F2D-99B44CA83CE4}" type="slidenum">
              <a:rPr lang="nl-BE" smtClean="0"/>
              <a:pPr/>
              <a:t>24</a:t>
            </a:fld>
            <a:endParaRPr lang="nl-BE"/>
          </a:p>
        </p:txBody>
      </p:sp>
      <p:sp>
        <p:nvSpPr>
          <p:cNvPr id="15" name="Title 25">
            <a:extLst>
              <a:ext uri="{FF2B5EF4-FFF2-40B4-BE49-F238E27FC236}">
                <a16:creationId xmlns:a16="http://schemas.microsoft.com/office/drawing/2014/main" id="{5C10349E-8575-275C-E646-F8430A80C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706" y="4030003"/>
            <a:ext cx="7489574" cy="554037"/>
          </a:xfrm>
        </p:spPr>
        <p:txBody>
          <a:bodyPr vert="horz"/>
          <a:lstStyle/>
          <a:p>
            <a:r>
              <a:rPr lang="en-US" altLang="zh-CN" sz="3200" b="1"/>
              <a:t>Bekaert in China </a:t>
            </a:r>
            <a:r>
              <a:rPr lang="zh-CN" altLang="en-US" sz="3200" b="1"/>
              <a:t>贝卡尔特在中国</a:t>
            </a:r>
            <a:endParaRPr lang="en-US" sz="3200" b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44144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9B99FC-28E3-0DFD-5BF2-732B90F88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FFD979-DE47-C219-4B01-678965A0308E}"/>
              </a:ext>
            </a:extLst>
          </p:cNvPr>
          <p:cNvSpPr/>
          <p:nvPr/>
        </p:nvSpPr>
        <p:spPr>
          <a:xfrm>
            <a:off x="687089" y="1822661"/>
            <a:ext cx="1755157" cy="1976087"/>
          </a:xfrm>
          <a:prstGeom prst="rect">
            <a:avLst/>
          </a:prstGeom>
          <a:solidFill>
            <a:srgbClr val="EBE9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US" sz="1200" b="0" i="0" err="1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BA7B30B-66A8-577F-A829-10879FF4C8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BA7B30B-66A8-577F-A829-10879FF4C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B1E8F6-4CD2-786F-40A4-DCA4143E55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2E27FB-0757-49EC-804C-188AB4A925B6}" type="slidenum">
              <a:rPr lang="nl-BE" smtClean="0"/>
              <a:pPr/>
              <a:t>25</a:t>
            </a:fld>
            <a:endParaRPr lang="nl-B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839180-D37F-6563-F231-7B27BDB7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282073"/>
            <a:ext cx="8634220" cy="311693"/>
          </a:xfrm>
        </p:spPr>
        <p:txBody>
          <a:bodyPr vert="horz"/>
          <a:lstStyle/>
          <a:p>
            <a:r>
              <a:rPr lang="en-US" altLang="zh-CN" sz="1800"/>
              <a:t>Bekaert China at a</a:t>
            </a:r>
            <a:r>
              <a:rPr lang="zh-CN" altLang="en-US" sz="1800"/>
              <a:t> </a:t>
            </a:r>
            <a:r>
              <a:rPr lang="en-US" altLang="zh-CN" sz="1800"/>
              <a:t>glance </a:t>
            </a:r>
            <a:r>
              <a:rPr lang="zh-CN" altLang="en-US" sz="1800"/>
              <a:t>贝卡尔特中国概览</a:t>
            </a:r>
            <a:r>
              <a:rPr lang="en-US" altLang="zh-CN" sz="1800"/>
              <a:t> </a:t>
            </a:r>
            <a:endParaRPr lang="en-US" sz="180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EA6784C-259D-B5E4-80B3-4E717121B794}"/>
              </a:ext>
            </a:extLst>
          </p:cNvPr>
          <p:cNvGrpSpPr/>
          <p:nvPr/>
        </p:nvGrpSpPr>
        <p:grpSpPr>
          <a:xfrm>
            <a:off x="938948" y="1266259"/>
            <a:ext cx="1239656" cy="1208973"/>
            <a:chOff x="938948" y="1266259"/>
            <a:chExt cx="1239656" cy="1208973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06EBC0C-5038-B49B-6268-E2AC50C8D001}"/>
                </a:ext>
              </a:extLst>
            </p:cNvPr>
            <p:cNvSpPr/>
            <p:nvPr/>
          </p:nvSpPr>
          <p:spPr>
            <a:xfrm>
              <a:off x="938948" y="1266259"/>
              <a:ext cx="1239656" cy="120897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rgbClr val="0F516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59F8EC6-FC76-AB99-4641-360777ABE6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07711" y="1372610"/>
              <a:ext cx="918359" cy="918359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E2EBA180-5503-EE24-F9A4-83447987611F}"/>
              </a:ext>
            </a:extLst>
          </p:cNvPr>
          <p:cNvSpPr txBox="1"/>
          <p:nvPr/>
        </p:nvSpPr>
        <p:spPr>
          <a:xfrm>
            <a:off x="938948" y="2596710"/>
            <a:ext cx="13623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100" b="1">
                <a:solidFill>
                  <a:srgbClr val="0F516E"/>
                </a:solidFill>
              </a:rPr>
              <a:t>EMPLOYEES</a:t>
            </a:r>
          </a:p>
          <a:p>
            <a:pPr algn="ctr">
              <a:buClr>
                <a:schemeClr val="accent1"/>
              </a:buClr>
            </a:pPr>
            <a:r>
              <a:rPr lang="zh-CN" altLang="en-US" sz="1100" b="1">
                <a:solidFill>
                  <a:srgbClr val="0F516E"/>
                </a:solidFill>
              </a:rPr>
              <a:t>员工</a:t>
            </a:r>
            <a:endParaRPr lang="en-US" sz="1100" b="1" err="1">
              <a:solidFill>
                <a:srgbClr val="0F516E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C35108D-49F9-D65C-A16A-646E3E48647B}"/>
              </a:ext>
            </a:extLst>
          </p:cNvPr>
          <p:cNvSpPr txBox="1"/>
          <p:nvPr/>
        </p:nvSpPr>
        <p:spPr>
          <a:xfrm>
            <a:off x="965028" y="3245761"/>
            <a:ext cx="1310233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US" sz="2400">
                <a:solidFill>
                  <a:schemeClr val="bg1">
                    <a:lumMod val="65000"/>
                  </a:schemeClr>
                </a:solidFill>
                <a:latin typeface="+mj-lt"/>
              </a:rPr>
              <a:t>6500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673E8D9-B036-E66B-0FB9-0FCC243DCA81}"/>
              </a:ext>
            </a:extLst>
          </p:cNvPr>
          <p:cNvSpPr/>
          <p:nvPr/>
        </p:nvSpPr>
        <p:spPr>
          <a:xfrm>
            <a:off x="2617393" y="1822662"/>
            <a:ext cx="1755157" cy="1976086"/>
          </a:xfrm>
          <a:prstGeom prst="rect">
            <a:avLst/>
          </a:prstGeom>
          <a:solidFill>
            <a:srgbClr val="EBE9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AA01124-5F5B-5074-A395-9E46A1A20BCB}"/>
              </a:ext>
            </a:extLst>
          </p:cNvPr>
          <p:cNvSpPr/>
          <p:nvPr/>
        </p:nvSpPr>
        <p:spPr>
          <a:xfrm>
            <a:off x="2881281" y="1266259"/>
            <a:ext cx="1239656" cy="1208973"/>
          </a:xfrm>
          <a:prstGeom prst="ellipse">
            <a:avLst/>
          </a:prstGeom>
          <a:solidFill>
            <a:schemeClr val="bg1"/>
          </a:solidFill>
          <a:ln w="76200">
            <a:solidFill>
              <a:srgbClr val="D7D2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83CFFF5-CB5B-DB96-2338-B2A63667D80F}"/>
              </a:ext>
            </a:extLst>
          </p:cNvPr>
          <p:cNvSpPr txBox="1"/>
          <p:nvPr/>
        </p:nvSpPr>
        <p:spPr>
          <a:xfrm>
            <a:off x="2681830" y="2596710"/>
            <a:ext cx="166310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1000" b="1">
                <a:solidFill>
                  <a:srgbClr val="0F516E"/>
                </a:solidFill>
              </a:defRPr>
            </a:lvl1pPr>
          </a:lstStyle>
          <a:p>
            <a:r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t>PRODUCTION </a:t>
            </a:r>
          </a:p>
          <a:p>
            <a:r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t>SITES</a:t>
            </a:r>
          </a:p>
          <a:p>
            <a:r>
              <a:rPr lang="zh-CN" alt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t>生产基地</a:t>
            </a:r>
            <a:endParaRPr lang="en-US" sz="1100" err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75DA158-E8D6-9CC7-5A99-88661EBFE539}"/>
              </a:ext>
            </a:extLst>
          </p:cNvPr>
          <p:cNvSpPr txBox="1"/>
          <p:nvPr/>
        </p:nvSpPr>
        <p:spPr>
          <a:xfrm>
            <a:off x="2988675" y="3224940"/>
            <a:ext cx="1012591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  <a:defRPr sz="24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13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2CE09B6-ACCD-90E6-0116-2D22209D9BC9}"/>
              </a:ext>
            </a:extLst>
          </p:cNvPr>
          <p:cNvSpPr/>
          <p:nvPr/>
        </p:nvSpPr>
        <p:spPr>
          <a:xfrm>
            <a:off x="4584277" y="1822661"/>
            <a:ext cx="1755157" cy="1976085"/>
          </a:xfrm>
          <a:prstGeom prst="rect">
            <a:avLst/>
          </a:prstGeom>
          <a:solidFill>
            <a:srgbClr val="EBE9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695AF33-803D-43FF-DD4B-4C928D317159}"/>
              </a:ext>
            </a:extLst>
          </p:cNvPr>
          <p:cNvSpPr/>
          <p:nvPr/>
        </p:nvSpPr>
        <p:spPr>
          <a:xfrm>
            <a:off x="4848165" y="1266258"/>
            <a:ext cx="1239656" cy="1208973"/>
          </a:xfrm>
          <a:prstGeom prst="ellipse">
            <a:avLst/>
          </a:prstGeom>
          <a:solidFill>
            <a:schemeClr val="bg1"/>
          </a:solidFill>
          <a:ln w="76200">
            <a:solidFill>
              <a:srgbClr val="9F63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3ABD409-8E22-D733-E216-0E7B46C63A1D}"/>
              </a:ext>
            </a:extLst>
          </p:cNvPr>
          <p:cNvSpPr txBox="1"/>
          <p:nvPr/>
        </p:nvSpPr>
        <p:spPr>
          <a:xfrm>
            <a:off x="4571753" y="2596710"/>
            <a:ext cx="179198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sz="1100">
                <a:solidFill>
                  <a:srgbClr val="9F6340"/>
                </a:solidFill>
              </a:rPr>
              <a:t>R&amp;D/ENGINEERING ITES</a:t>
            </a:r>
            <a:endParaRPr lang="en-US" sz="1100">
              <a:solidFill>
                <a:srgbClr val="9F6340"/>
              </a:solidFill>
            </a:endParaRPr>
          </a:p>
          <a:p>
            <a:r>
              <a:rPr lang="zh-CN" altLang="en-US" sz="1100">
                <a:solidFill>
                  <a:srgbClr val="9F6340"/>
                </a:solidFill>
              </a:rPr>
              <a:t>研发</a:t>
            </a:r>
            <a:r>
              <a:rPr lang="en-US" altLang="zh-CN" sz="1100">
                <a:solidFill>
                  <a:srgbClr val="9F6340"/>
                </a:solidFill>
              </a:rPr>
              <a:t>/</a:t>
            </a:r>
            <a:r>
              <a:rPr lang="zh-CN" altLang="en-US" sz="1100">
                <a:solidFill>
                  <a:srgbClr val="9F6340"/>
                </a:solidFill>
              </a:rPr>
              <a:t>工程中心</a:t>
            </a:r>
            <a:endParaRPr lang="en-US" sz="1100" err="1">
              <a:solidFill>
                <a:srgbClr val="9F634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21FDE3C-5774-F456-E46E-FA8B5D9A972B}"/>
              </a:ext>
            </a:extLst>
          </p:cNvPr>
          <p:cNvSpPr txBox="1"/>
          <p:nvPr/>
        </p:nvSpPr>
        <p:spPr>
          <a:xfrm>
            <a:off x="5023308" y="3230014"/>
            <a:ext cx="1012591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  <a:defRPr sz="24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2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E2BC49B-7C81-64D5-788A-750EA080CFBC}"/>
              </a:ext>
            </a:extLst>
          </p:cNvPr>
          <p:cNvSpPr/>
          <p:nvPr/>
        </p:nvSpPr>
        <p:spPr>
          <a:xfrm>
            <a:off x="6532745" y="1838074"/>
            <a:ext cx="1755157" cy="1960672"/>
          </a:xfrm>
          <a:prstGeom prst="rect">
            <a:avLst/>
          </a:prstGeom>
          <a:solidFill>
            <a:srgbClr val="EBE9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D1CEC82-CF8B-61AC-03C6-C9A366155921}"/>
              </a:ext>
            </a:extLst>
          </p:cNvPr>
          <p:cNvSpPr/>
          <p:nvPr/>
        </p:nvSpPr>
        <p:spPr>
          <a:xfrm>
            <a:off x="6796633" y="1281671"/>
            <a:ext cx="1239656" cy="1208973"/>
          </a:xfrm>
          <a:prstGeom prst="ellipse">
            <a:avLst/>
          </a:prstGeom>
          <a:solidFill>
            <a:schemeClr val="bg1"/>
          </a:solidFill>
          <a:ln w="76200">
            <a:solidFill>
              <a:srgbClr val="5E7D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EFF02E9-B01E-9433-6388-A3DB3C4CFAC2}"/>
              </a:ext>
            </a:extLst>
          </p:cNvPr>
          <p:cNvSpPr txBox="1"/>
          <p:nvPr/>
        </p:nvSpPr>
        <p:spPr>
          <a:xfrm>
            <a:off x="6796633" y="2596710"/>
            <a:ext cx="13623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100" b="1">
                <a:solidFill>
                  <a:srgbClr val="5E7D53"/>
                </a:solidFill>
              </a:rPr>
              <a:t>INVESTMENT</a:t>
            </a:r>
          </a:p>
          <a:p>
            <a:pPr algn="ctr">
              <a:buClr>
                <a:schemeClr val="accent1"/>
              </a:buClr>
            </a:pPr>
            <a:r>
              <a:rPr lang="zh-CN" altLang="en-US" sz="1100" b="1">
                <a:solidFill>
                  <a:srgbClr val="5E7D53"/>
                </a:solidFill>
              </a:rPr>
              <a:t>累计总投资</a:t>
            </a:r>
            <a:endParaRPr lang="en-US" sz="1100" b="1" err="1">
              <a:solidFill>
                <a:srgbClr val="5E7D53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D98387E-6BD7-0020-134F-8C3FF5FDC8FA}"/>
              </a:ext>
            </a:extLst>
          </p:cNvPr>
          <p:cNvSpPr txBox="1"/>
          <p:nvPr/>
        </p:nvSpPr>
        <p:spPr>
          <a:xfrm>
            <a:off x="6407183" y="3115725"/>
            <a:ext cx="20497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  <a:defRPr sz="24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nl-BE" altLang="zh-CN" sz="1800"/>
              <a:t>€1</a:t>
            </a:r>
            <a:r>
              <a:rPr lang="en-US" altLang="zh-CN" sz="1800"/>
              <a:t>.5</a:t>
            </a:r>
            <a:r>
              <a:rPr lang="nl-BE" altLang="zh-CN" sz="1800"/>
              <a:t> b</a:t>
            </a:r>
            <a:r>
              <a:rPr lang="en-US" altLang="zh-CN" sz="1800"/>
              <a:t>n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altLang="zh-CN" sz="1800"/>
              <a:t>15</a:t>
            </a:r>
            <a:r>
              <a:rPr lang="zh-CN" altLang="en-US" sz="1800"/>
              <a:t>亿欧元</a:t>
            </a:r>
            <a:endParaRPr lang="en-US" sz="1800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A02FF0B1-4ADB-A174-C2C6-42B8D005D5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t="33158"/>
          <a:stretch/>
        </p:blipFill>
        <p:spPr>
          <a:xfrm>
            <a:off x="2937566" y="1531422"/>
            <a:ext cx="1139584" cy="761719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AF23248C-7E0A-9F1D-001A-8D6BEA19C49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72548" y="1323122"/>
            <a:ext cx="999079" cy="99907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02EA620D-93A5-C0C7-9B07-9586BBA94F8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73016" y="1426976"/>
            <a:ext cx="809625" cy="80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3177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45C7A6-E33B-2139-2841-41EDB970C4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60F00EAE-30A3-B8D8-EE6B-E47CECF02625}"/>
              </a:ext>
            </a:extLst>
          </p:cNvPr>
          <p:cNvGrpSpPr/>
          <p:nvPr/>
        </p:nvGrpSpPr>
        <p:grpSpPr>
          <a:xfrm>
            <a:off x="526210" y="902525"/>
            <a:ext cx="3996547" cy="3164973"/>
            <a:chOff x="893157" y="965205"/>
            <a:chExt cx="4457446" cy="3600418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C4A9A68-ED19-CD68-02E3-B088016AF190}"/>
                </a:ext>
              </a:extLst>
            </p:cNvPr>
            <p:cNvGrpSpPr/>
            <p:nvPr/>
          </p:nvGrpSpPr>
          <p:grpSpPr>
            <a:xfrm>
              <a:off x="893157" y="965205"/>
              <a:ext cx="4457446" cy="3600418"/>
              <a:chOff x="467544" y="1156620"/>
              <a:chExt cx="6526893" cy="5272088"/>
            </a:xfrm>
            <a:solidFill>
              <a:schemeClr val="accent6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" name="Freeform 22">
                <a:extLst>
                  <a:ext uri="{FF2B5EF4-FFF2-40B4-BE49-F238E27FC236}">
                    <a16:creationId xmlns:a16="http://schemas.microsoft.com/office/drawing/2014/main" id="{FAABA9CA-F138-2E28-3312-06203E5BB58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31986" y="2794916"/>
                <a:ext cx="700012" cy="966787"/>
              </a:xfrm>
              <a:custGeom>
                <a:avLst/>
                <a:gdLst>
                  <a:gd name="T0" fmla="*/ 17 w 404"/>
                  <a:gd name="T1" fmla="*/ 352 h 583"/>
                  <a:gd name="T2" fmla="*/ 48 w 404"/>
                  <a:gd name="T3" fmla="*/ 330 h 583"/>
                  <a:gd name="T4" fmla="*/ 61 w 404"/>
                  <a:gd name="T5" fmla="*/ 287 h 583"/>
                  <a:gd name="T6" fmla="*/ 39 w 404"/>
                  <a:gd name="T7" fmla="*/ 261 h 583"/>
                  <a:gd name="T8" fmla="*/ 39 w 404"/>
                  <a:gd name="T9" fmla="*/ 226 h 583"/>
                  <a:gd name="T10" fmla="*/ 17 w 404"/>
                  <a:gd name="T11" fmla="*/ 178 h 583"/>
                  <a:gd name="T12" fmla="*/ 9 w 404"/>
                  <a:gd name="T13" fmla="*/ 148 h 583"/>
                  <a:gd name="T14" fmla="*/ 17 w 404"/>
                  <a:gd name="T15" fmla="*/ 122 h 583"/>
                  <a:gd name="T16" fmla="*/ 26 w 404"/>
                  <a:gd name="T17" fmla="*/ 87 h 583"/>
                  <a:gd name="T18" fmla="*/ 43 w 404"/>
                  <a:gd name="T19" fmla="*/ 65 h 583"/>
                  <a:gd name="T20" fmla="*/ 70 w 404"/>
                  <a:gd name="T21" fmla="*/ 113 h 583"/>
                  <a:gd name="T22" fmla="*/ 113 w 404"/>
                  <a:gd name="T23" fmla="*/ 83 h 583"/>
                  <a:gd name="T24" fmla="*/ 143 w 404"/>
                  <a:gd name="T25" fmla="*/ 78 h 583"/>
                  <a:gd name="T26" fmla="*/ 187 w 404"/>
                  <a:gd name="T27" fmla="*/ 57 h 583"/>
                  <a:gd name="T28" fmla="*/ 209 w 404"/>
                  <a:gd name="T29" fmla="*/ 17 h 583"/>
                  <a:gd name="T30" fmla="*/ 230 w 404"/>
                  <a:gd name="T31" fmla="*/ 4 h 583"/>
                  <a:gd name="T32" fmla="*/ 265 w 404"/>
                  <a:gd name="T33" fmla="*/ 39 h 583"/>
                  <a:gd name="T34" fmla="*/ 291 w 404"/>
                  <a:gd name="T35" fmla="*/ 104 h 583"/>
                  <a:gd name="T36" fmla="*/ 335 w 404"/>
                  <a:gd name="T37" fmla="*/ 117 h 583"/>
                  <a:gd name="T38" fmla="*/ 357 w 404"/>
                  <a:gd name="T39" fmla="*/ 161 h 583"/>
                  <a:gd name="T40" fmla="*/ 387 w 404"/>
                  <a:gd name="T41" fmla="*/ 187 h 583"/>
                  <a:gd name="T42" fmla="*/ 391 w 404"/>
                  <a:gd name="T43" fmla="*/ 209 h 583"/>
                  <a:gd name="T44" fmla="*/ 361 w 404"/>
                  <a:gd name="T45" fmla="*/ 274 h 583"/>
                  <a:gd name="T46" fmla="*/ 339 w 404"/>
                  <a:gd name="T47" fmla="*/ 283 h 583"/>
                  <a:gd name="T48" fmla="*/ 300 w 404"/>
                  <a:gd name="T49" fmla="*/ 287 h 583"/>
                  <a:gd name="T50" fmla="*/ 283 w 404"/>
                  <a:gd name="T51" fmla="*/ 257 h 583"/>
                  <a:gd name="T52" fmla="*/ 252 w 404"/>
                  <a:gd name="T53" fmla="*/ 222 h 583"/>
                  <a:gd name="T54" fmla="*/ 239 w 404"/>
                  <a:gd name="T55" fmla="*/ 204 h 583"/>
                  <a:gd name="T56" fmla="*/ 239 w 404"/>
                  <a:gd name="T57" fmla="*/ 178 h 583"/>
                  <a:gd name="T58" fmla="*/ 204 w 404"/>
                  <a:gd name="T59" fmla="*/ 165 h 583"/>
                  <a:gd name="T60" fmla="*/ 165 w 404"/>
                  <a:gd name="T61" fmla="*/ 161 h 583"/>
                  <a:gd name="T62" fmla="*/ 143 w 404"/>
                  <a:gd name="T63" fmla="*/ 187 h 583"/>
                  <a:gd name="T64" fmla="*/ 139 w 404"/>
                  <a:gd name="T65" fmla="*/ 226 h 583"/>
                  <a:gd name="T66" fmla="*/ 122 w 404"/>
                  <a:gd name="T67" fmla="*/ 261 h 583"/>
                  <a:gd name="T68" fmla="*/ 161 w 404"/>
                  <a:gd name="T69" fmla="*/ 274 h 583"/>
                  <a:gd name="T70" fmla="*/ 187 w 404"/>
                  <a:gd name="T71" fmla="*/ 274 h 583"/>
                  <a:gd name="T72" fmla="*/ 217 w 404"/>
                  <a:gd name="T73" fmla="*/ 287 h 583"/>
                  <a:gd name="T74" fmla="*/ 213 w 404"/>
                  <a:gd name="T75" fmla="*/ 313 h 583"/>
                  <a:gd name="T76" fmla="*/ 230 w 404"/>
                  <a:gd name="T77" fmla="*/ 344 h 583"/>
                  <a:gd name="T78" fmla="*/ 265 w 404"/>
                  <a:gd name="T79" fmla="*/ 344 h 583"/>
                  <a:gd name="T80" fmla="*/ 287 w 404"/>
                  <a:gd name="T81" fmla="*/ 365 h 583"/>
                  <a:gd name="T82" fmla="*/ 283 w 404"/>
                  <a:gd name="T83" fmla="*/ 387 h 583"/>
                  <a:gd name="T84" fmla="*/ 248 w 404"/>
                  <a:gd name="T85" fmla="*/ 413 h 583"/>
                  <a:gd name="T86" fmla="*/ 204 w 404"/>
                  <a:gd name="T87" fmla="*/ 443 h 583"/>
                  <a:gd name="T88" fmla="*/ 191 w 404"/>
                  <a:gd name="T89" fmla="*/ 461 h 583"/>
                  <a:gd name="T90" fmla="*/ 157 w 404"/>
                  <a:gd name="T91" fmla="*/ 517 h 583"/>
                  <a:gd name="T92" fmla="*/ 157 w 404"/>
                  <a:gd name="T93" fmla="*/ 565 h 583"/>
                  <a:gd name="T94" fmla="*/ 135 w 404"/>
                  <a:gd name="T95" fmla="*/ 570 h 583"/>
                  <a:gd name="T96" fmla="*/ 113 w 404"/>
                  <a:gd name="T97" fmla="*/ 574 h 583"/>
                  <a:gd name="T98" fmla="*/ 70 w 404"/>
                  <a:gd name="T99" fmla="*/ 574 h 583"/>
                  <a:gd name="T100" fmla="*/ 26 w 404"/>
                  <a:gd name="T101" fmla="*/ 561 h 583"/>
                  <a:gd name="T102" fmla="*/ 26 w 404"/>
                  <a:gd name="T103" fmla="*/ 530 h 583"/>
                  <a:gd name="T104" fmla="*/ 39 w 404"/>
                  <a:gd name="T105" fmla="*/ 487 h 583"/>
                  <a:gd name="T106" fmla="*/ 43 w 404"/>
                  <a:gd name="T107" fmla="*/ 439 h 583"/>
                  <a:gd name="T108" fmla="*/ 4 w 404"/>
                  <a:gd name="T109" fmla="*/ 404 h 583"/>
                  <a:gd name="T110" fmla="*/ 230 w 404"/>
                  <a:gd name="T111" fmla="*/ 239 h 583"/>
                  <a:gd name="T112" fmla="*/ 213 w 404"/>
                  <a:gd name="T113" fmla="*/ 252 h 583"/>
                  <a:gd name="T114" fmla="*/ 204 w 404"/>
                  <a:gd name="T115" fmla="*/ 230 h 583"/>
                  <a:gd name="T116" fmla="*/ 230 w 404"/>
                  <a:gd name="T117" fmla="*/ 222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04" h="583">
                    <a:moveTo>
                      <a:pt x="4" y="387"/>
                    </a:moveTo>
                    <a:lnTo>
                      <a:pt x="4" y="383"/>
                    </a:lnTo>
                    <a:lnTo>
                      <a:pt x="4" y="378"/>
                    </a:lnTo>
                    <a:lnTo>
                      <a:pt x="9" y="370"/>
                    </a:lnTo>
                    <a:lnTo>
                      <a:pt x="13" y="370"/>
                    </a:lnTo>
                    <a:lnTo>
                      <a:pt x="17" y="370"/>
                    </a:lnTo>
                    <a:lnTo>
                      <a:pt x="22" y="357"/>
                    </a:lnTo>
                    <a:lnTo>
                      <a:pt x="17" y="352"/>
                    </a:lnTo>
                    <a:lnTo>
                      <a:pt x="17" y="348"/>
                    </a:lnTo>
                    <a:lnTo>
                      <a:pt x="13" y="344"/>
                    </a:lnTo>
                    <a:lnTo>
                      <a:pt x="22" y="335"/>
                    </a:lnTo>
                    <a:lnTo>
                      <a:pt x="22" y="330"/>
                    </a:lnTo>
                    <a:lnTo>
                      <a:pt x="30" y="330"/>
                    </a:lnTo>
                    <a:lnTo>
                      <a:pt x="35" y="335"/>
                    </a:lnTo>
                    <a:lnTo>
                      <a:pt x="43" y="330"/>
                    </a:lnTo>
                    <a:lnTo>
                      <a:pt x="48" y="330"/>
                    </a:lnTo>
                    <a:lnTo>
                      <a:pt x="56" y="322"/>
                    </a:lnTo>
                    <a:lnTo>
                      <a:pt x="56" y="317"/>
                    </a:lnTo>
                    <a:lnTo>
                      <a:pt x="56" y="313"/>
                    </a:lnTo>
                    <a:lnTo>
                      <a:pt x="56" y="309"/>
                    </a:lnTo>
                    <a:lnTo>
                      <a:pt x="56" y="304"/>
                    </a:lnTo>
                    <a:lnTo>
                      <a:pt x="61" y="296"/>
                    </a:lnTo>
                    <a:lnTo>
                      <a:pt x="61" y="291"/>
                    </a:lnTo>
                    <a:lnTo>
                      <a:pt x="61" y="287"/>
                    </a:lnTo>
                    <a:lnTo>
                      <a:pt x="56" y="283"/>
                    </a:lnTo>
                    <a:lnTo>
                      <a:pt x="52" y="283"/>
                    </a:lnTo>
                    <a:lnTo>
                      <a:pt x="52" y="278"/>
                    </a:lnTo>
                    <a:lnTo>
                      <a:pt x="52" y="274"/>
                    </a:lnTo>
                    <a:lnTo>
                      <a:pt x="48" y="265"/>
                    </a:lnTo>
                    <a:lnTo>
                      <a:pt x="48" y="261"/>
                    </a:lnTo>
                    <a:lnTo>
                      <a:pt x="43" y="261"/>
                    </a:lnTo>
                    <a:lnTo>
                      <a:pt x="39" y="261"/>
                    </a:lnTo>
                    <a:lnTo>
                      <a:pt x="26" y="261"/>
                    </a:lnTo>
                    <a:lnTo>
                      <a:pt x="17" y="252"/>
                    </a:lnTo>
                    <a:lnTo>
                      <a:pt x="17" y="248"/>
                    </a:lnTo>
                    <a:lnTo>
                      <a:pt x="26" y="239"/>
                    </a:lnTo>
                    <a:lnTo>
                      <a:pt x="30" y="235"/>
                    </a:lnTo>
                    <a:lnTo>
                      <a:pt x="35" y="235"/>
                    </a:lnTo>
                    <a:lnTo>
                      <a:pt x="39" y="230"/>
                    </a:lnTo>
                    <a:lnTo>
                      <a:pt x="39" y="226"/>
                    </a:lnTo>
                    <a:lnTo>
                      <a:pt x="35" y="217"/>
                    </a:lnTo>
                    <a:lnTo>
                      <a:pt x="35" y="209"/>
                    </a:lnTo>
                    <a:lnTo>
                      <a:pt x="35" y="204"/>
                    </a:lnTo>
                    <a:lnTo>
                      <a:pt x="30" y="200"/>
                    </a:lnTo>
                    <a:lnTo>
                      <a:pt x="26" y="196"/>
                    </a:lnTo>
                    <a:lnTo>
                      <a:pt x="26" y="187"/>
                    </a:lnTo>
                    <a:lnTo>
                      <a:pt x="22" y="187"/>
                    </a:lnTo>
                    <a:lnTo>
                      <a:pt x="17" y="178"/>
                    </a:lnTo>
                    <a:lnTo>
                      <a:pt x="17" y="174"/>
                    </a:lnTo>
                    <a:lnTo>
                      <a:pt x="9" y="170"/>
                    </a:lnTo>
                    <a:lnTo>
                      <a:pt x="4" y="165"/>
                    </a:lnTo>
                    <a:lnTo>
                      <a:pt x="0" y="161"/>
                    </a:lnTo>
                    <a:lnTo>
                      <a:pt x="4" y="157"/>
                    </a:lnTo>
                    <a:lnTo>
                      <a:pt x="9" y="157"/>
                    </a:lnTo>
                    <a:lnTo>
                      <a:pt x="9" y="152"/>
                    </a:lnTo>
                    <a:lnTo>
                      <a:pt x="9" y="148"/>
                    </a:lnTo>
                    <a:lnTo>
                      <a:pt x="4" y="148"/>
                    </a:lnTo>
                    <a:lnTo>
                      <a:pt x="4" y="144"/>
                    </a:lnTo>
                    <a:lnTo>
                      <a:pt x="4" y="139"/>
                    </a:lnTo>
                    <a:lnTo>
                      <a:pt x="4" y="135"/>
                    </a:lnTo>
                    <a:lnTo>
                      <a:pt x="9" y="126"/>
                    </a:lnTo>
                    <a:lnTo>
                      <a:pt x="9" y="122"/>
                    </a:lnTo>
                    <a:lnTo>
                      <a:pt x="13" y="122"/>
                    </a:lnTo>
                    <a:lnTo>
                      <a:pt x="17" y="122"/>
                    </a:lnTo>
                    <a:lnTo>
                      <a:pt x="17" y="117"/>
                    </a:lnTo>
                    <a:lnTo>
                      <a:pt x="22" y="117"/>
                    </a:lnTo>
                    <a:lnTo>
                      <a:pt x="22" y="109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1"/>
                    </a:lnTo>
                    <a:lnTo>
                      <a:pt x="26" y="87"/>
                    </a:lnTo>
                    <a:lnTo>
                      <a:pt x="30" y="87"/>
                    </a:lnTo>
                    <a:lnTo>
                      <a:pt x="30" y="83"/>
                    </a:lnTo>
                    <a:lnTo>
                      <a:pt x="35" y="78"/>
                    </a:lnTo>
                    <a:lnTo>
                      <a:pt x="35" y="74"/>
                    </a:lnTo>
                    <a:lnTo>
                      <a:pt x="35" y="70"/>
                    </a:lnTo>
                    <a:lnTo>
                      <a:pt x="39" y="70"/>
                    </a:lnTo>
                    <a:lnTo>
                      <a:pt x="39" y="65"/>
                    </a:lnTo>
                    <a:lnTo>
                      <a:pt x="43" y="65"/>
                    </a:lnTo>
                    <a:lnTo>
                      <a:pt x="52" y="61"/>
                    </a:lnTo>
                    <a:lnTo>
                      <a:pt x="56" y="65"/>
                    </a:lnTo>
                    <a:lnTo>
                      <a:pt x="65" y="83"/>
                    </a:lnTo>
                    <a:lnTo>
                      <a:pt x="65" y="91"/>
                    </a:lnTo>
                    <a:lnTo>
                      <a:pt x="65" y="100"/>
                    </a:lnTo>
                    <a:lnTo>
                      <a:pt x="61" y="113"/>
                    </a:lnTo>
                    <a:lnTo>
                      <a:pt x="65" y="113"/>
                    </a:lnTo>
                    <a:lnTo>
                      <a:pt x="70" y="113"/>
                    </a:lnTo>
                    <a:lnTo>
                      <a:pt x="74" y="113"/>
                    </a:lnTo>
                    <a:lnTo>
                      <a:pt x="78" y="113"/>
                    </a:lnTo>
                    <a:lnTo>
                      <a:pt x="87" y="113"/>
                    </a:lnTo>
                    <a:lnTo>
                      <a:pt x="91" y="109"/>
                    </a:lnTo>
                    <a:lnTo>
                      <a:pt x="91" y="104"/>
                    </a:lnTo>
                    <a:lnTo>
                      <a:pt x="96" y="100"/>
                    </a:lnTo>
                    <a:lnTo>
                      <a:pt x="100" y="96"/>
                    </a:lnTo>
                    <a:lnTo>
                      <a:pt x="113" y="83"/>
                    </a:lnTo>
                    <a:lnTo>
                      <a:pt x="117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3"/>
                    </a:lnTo>
                    <a:lnTo>
                      <a:pt x="135" y="83"/>
                    </a:lnTo>
                    <a:lnTo>
                      <a:pt x="139" y="83"/>
                    </a:lnTo>
                    <a:lnTo>
                      <a:pt x="143" y="78"/>
                    </a:lnTo>
                    <a:lnTo>
                      <a:pt x="143" y="74"/>
                    </a:lnTo>
                    <a:lnTo>
                      <a:pt x="148" y="74"/>
                    </a:lnTo>
                    <a:lnTo>
                      <a:pt x="152" y="65"/>
                    </a:lnTo>
                    <a:lnTo>
                      <a:pt x="157" y="65"/>
                    </a:lnTo>
                    <a:lnTo>
                      <a:pt x="161" y="65"/>
                    </a:lnTo>
                    <a:lnTo>
                      <a:pt x="165" y="70"/>
                    </a:lnTo>
                    <a:lnTo>
                      <a:pt x="183" y="70"/>
                    </a:lnTo>
                    <a:lnTo>
                      <a:pt x="187" y="57"/>
                    </a:lnTo>
                    <a:lnTo>
                      <a:pt x="183" y="39"/>
                    </a:lnTo>
                    <a:lnTo>
                      <a:pt x="178" y="35"/>
                    </a:lnTo>
                    <a:lnTo>
                      <a:pt x="178" y="30"/>
                    </a:lnTo>
                    <a:lnTo>
                      <a:pt x="183" y="26"/>
                    </a:lnTo>
                    <a:lnTo>
                      <a:pt x="191" y="22"/>
                    </a:lnTo>
                    <a:lnTo>
                      <a:pt x="196" y="17"/>
                    </a:lnTo>
                    <a:lnTo>
                      <a:pt x="204" y="17"/>
                    </a:lnTo>
                    <a:lnTo>
                      <a:pt x="209" y="17"/>
                    </a:lnTo>
                    <a:lnTo>
                      <a:pt x="213" y="17"/>
                    </a:lnTo>
                    <a:lnTo>
                      <a:pt x="217" y="17"/>
                    </a:lnTo>
                    <a:lnTo>
                      <a:pt x="217" y="13"/>
                    </a:lnTo>
                    <a:lnTo>
                      <a:pt x="217" y="9"/>
                    </a:lnTo>
                    <a:lnTo>
                      <a:pt x="222" y="0"/>
                    </a:lnTo>
                    <a:lnTo>
                      <a:pt x="222" y="4"/>
                    </a:lnTo>
                    <a:lnTo>
                      <a:pt x="226" y="4"/>
                    </a:lnTo>
                    <a:lnTo>
                      <a:pt x="230" y="4"/>
                    </a:lnTo>
                    <a:lnTo>
                      <a:pt x="230" y="0"/>
                    </a:lnTo>
                    <a:lnTo>
                      <a:pt x="235" y="4"/>
                    </a:lnTo>
                    <a:lnTo>
                      <a:pt x="243" y="17"/>
                    </a:lnTo>
                    <a:lnTo>
                      <a:pt x="248" y="22"/>
                    </a:lnTo>
                    <a:lnTo>
                      <a:pt x="248" y="26"/>
                    </a:lnTo>
                    <a:lnTo>
                      <a:pt x="257" y="35"/>
                    </a:lnTo>
                    <a:lnTo>
                      <a:pt x="261" y="39"/>
                    </a:lnTo>
                    <a:lnTo>
                      <a:pt x="265" y="39"/>
                    </a:lnTo>
                    <a:lnTo>
                      <a:pt x="270" y="44"/>
                    </a:lnTo>
                    <a:lnTo>
                      <a:pt x="274" y="52"/>
                    </a:lnTo>
                    <a:lnTo>
                      <a:pt x="274" y="57"/>
                    </a:lnTo>
                    <a:lnTo>
                      <a:pt x="270" y="74"/>
                    </a:lnTo>
                    <a:lnTo>
                      <a:pt x="278" y="83"/>
                    </a:lnTo>
                    <a:lnTo>
                      <a:pt x="287" y="96"/>
                    </a:lnTo>
                    <a:lnTo>
                      <a:pt x="287" y="104"/>
                    </a:lnTo>
                    <a:lnTo>
                      <a:pt x="291" y="104"/>
                    </a:lnTo>
                    <a:lnTo>
                      <a:pt x="304" y="104"/>
                    </a:lnTo>
                    <a:lnTo>
                      <a:pt x="322" y="104"/>
                    </a:lnTo>
                    <a:lnTo>
                      <a:pt x="326" y="100"/>
                    </a:lnTo>
                    <a:lnTo>
                      <a:pt x="330" y="100"/>
                    </a:lnTo>
                    <a:lnTo>
                      <a:pt x="344" y="100"/>
                    </a:lnTo>
                    <a:lnTo>
                      <a:pt x="344" y="104"/>
                    </a:lnTo>
                    <a:lnTo>
                      <a:pt x="344" y="109"/>
                    </a:lnTo>
                    <a:lnTo>
                      <a:pt x="335" y="117"/>
                    </a:lnTo>
                    <a:lnTo>
                      <a:pt x="335" y="126"/>
                    </a:lnTo>
                    <a:lnTo>
                      <a:pt x="330" y="130"/>
                    </a:lnTo>
                    <a:lnTo>
                      <a:pt x="326" y="135"/>
                    </a:lnTo>
                    <a:lnTo>
                      <a:pt x="326" y="139"/>
                    </a:lnTo>
                    <a:lnTo>
                      <a:pt x="335" y="148"/>
                    </a:lnTo>
                    <a:lnTo>
                      <a:pt x="344" y="152"/>
                    </a:lnTo>
                    <a:lnTo>
                      <a:pt x="352" y="157"/>
                    </a:lnTo>
                    <a:lnTo>
                      <a:pt x="357" y="161"/>
                    </a:lnTo>
                    <a:lnTo>
                      <a:pt x="361" y="161"/>
                    </a:lnTo>
                    <a:lnTo>
                      <a:pt x="365" y="161"/>
                    </a:lnTo>
                    <a:lnTo>
                      <a:pt x="370" y="161"/>
                    </a:lnTo>
                    <a:lnTo>
                      <a:pt x="378" y="161"/>
                    </a:lnTo>
                    <a:lnTo>
                      <a:pt x="378" y="165"/>
                    </a:lnTo>
                    <a:lnTo>
                      <a:pt x="383" y="170"/>
                    </a:lnTo>
                    <a:lnTo>
                      <a:pt x="383" y="178"/>
                    </a:lnTo>
                    <a:lnTo>
                      <a:pt x="387" y="187"/>
                    </a:lnTo>
                    <a:lnTo>
                      <a:pt x="387" y="183"/>
                    </a:lnTo>
                    <a:lnTo>
                      <a:pt x="391" y="183"/>
                    </a:lnTo>
                    <a:lnTo>
                      <a:pt x="396" y="183"/>
                    </a:lnTo>
                    <a:lnTo>
                      <a:pt x="396" y="191"/>
                    </a:lnTo>
                    <a:lnTo>
                      <a:pt x="400" y="196"/>
                    </a:lnTo>
                    <a:lnTo>
                      <a:pt x="404" y="200"/>
                    </a:lnTo>
                    <a:lnTo>
                      <a:pt x="400" y="204"/>
                    </a:lnTo>
                    <a:lnTo>
                      <a:pt x="391" y="209"/>
                    </a:lnTo>
                    <a:lnTo>
                      <a:pt x="387" y="213"/>
                    </a:lnTo>
                    <a:lnTo>
                      <a:pt x="374" y="230"/>
                    </a:lnTo>
                    <a:lnTo>
                      <a:pt x="370" y="244"/>
                    </a:lnTo>
                    <a:lnTo>
                      <a:pt x="374" y="257"/>
                    </a:lnTo>
                    <a:lnTo>
                      <a:pt x="374" y="261"/>
                    </a:lnTo>
                    <a:lnTo>
                      <a:pt x="370" y="261"/>
                    </a:lnTo>
                    <a:lnTo>
                      <a:pt x="365" y="265"/>
                    </a:lnTo>
                    <a:lnTo>
                      <a:pt x="361" y="274"/>
                    </a:lnTo>
                    <a:lnTo>
                      <a:pt x="361" y="278"/>
                    </a:lnTo>
                    <a:lnTo>
                      <a:pt x="357" y="283"/>
                    </a:lnTo>
                    <a:lnTo>
                      <a:pt x="352" y="283"/>
                    </a:lnTo>
                    <a:lnTo>
                      <a:pt x="357" y="283"/>
                    </a:lnTo>
                    <a:lnTo>
                      <a:pt x="357" y="278"/>
                    </a:lnTo>
                    <a:lnTo>
                      <a:pt x="348" y="283"/>
                    </a:lnTo>
                    <a:lnTo>
                      <a:pt x="344" y="283"/>
                    </a:lnTo>
                    <a:lnTo>
                      <a:pt x="339" y="283"/>
                    </a:lnTo>
                    <a:lnTo>
                      <a:pt x="335" y="283"/>
                    </a:lnTo>
                    <a:lnTo>
                      <a:pt x="330" y="287"/>
                    </a:lnTo>
                    <a:lnTo>
                      <a:pt x="322" y="296"/>
                    </a:lnTo>
                    <a:lnTo>
                      <a:pt x="317" y="296"/>
                    </a:lnTo>
                    <a:lnTo>
                      <a:pt x="313" y="296"/>
                    </a:lnTo>
                    <a:lnTo>
                      <a:pt x="309" y="291"/>
                    </a:lnTo>
                    <a:lnTo>
                      <a:pt x="304" y="287"/>
                    </a:lnTo>
                    <a:lnTo>
                      <a:pt x="300" y="287"/>
                    </a:lnTo>
                    <a:lnTo>
                      <a:pt x="296" y="287"/>
                    </a:lnTo>
                    <a:lnTo>
                      <a:pt x="291" y="278"/>
                    </a:lnTo>
                    <a:lnTo>
                      <a:pt x="291" y="274"/>
                    </a:lnTo>
                    <a:lnTo>
                      <a:pt x="287" y="274"/>
                    </a:lnTo>
                    <a:lnTo>
                      <a:pt x="283" y="270"/>
                    </a:lnTo>
                    <a:lnTo>
                      <a:pt x="283" y="265"/>
                    </a:lnTo>
                    <a:lnTo>
                      <a:pt x="283" y="261"/>
                    </a:lnTo>
                    <a:lnTo>
                      <a:pt x="283" y="257"/>
                    </a:lnTo>
                    <a:lnTo>
                      <a:pt x="278" y="257"/>
                    </a:lnTo>
                    <a:lnTo>
                      <a:pt x="274" y="261"/>
                    </a:lnTo>
                    <a:lnTo>
                      <a:pt x="270" y="261"/>
                    </a:lnTo>
                    <a:lnTo>
                      <a:pt x="265" y="261"/>
                    </a:lnTo>
                    <a:lnTo>
                      <a:pt x="257" y="244"/>
                    </a:lnTo>
                    <a:lnTo>
                      <a:pt x="252" y="235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7" y="226"/>
                    </a:lnTo>
                    <a:lnTo>
                      <a:pt x="261" y="226"/>
                    </a:lnTo>
                    <a:lnTo>
                      <a:pt x="261" y="217"/>
                    </a:lnTo>
                    <a:lnTo>
                      <a:pt x="257" y="213"/>
                    </a:lnTo>
                    <a:lnTo>
                      <a:pt x="257" y="209"/>
                    </a:lnTo>
                    <a:lnTo>
                      <a:pt x="248" y="209"/>
                    </a:lnTo>
                    <a:lnTo>
                      <a:pt x="243" y="204"/>
                    </a:lnTo>
                    <a:lnTo>
                      <a:pt x="239" y="204"/>
                    </a:lnTo>
                    <a:lnTo>
                      <a:pt x="235" y="204"/>
                    </a:lnTo>
                    <a:lnTo>
                      <a:pt x="235" y="200"/>
                    </a:lnTo>
                    <a:lnTo>
                      <a:pt x="230" y="200"/>
                    </a:lnTo>
                    <a:lnTo>
                      <a:pt x="230" y="196"/>
                    </a:lnTo>
                    <a:lnTo>
                      <a:pt x="226" y="183"/>
                    </a:lnTo>
                    <a:lnTo>
                      <a:pt x="230" y="183"/>
                    </a:lnTo>
                    <a:lnTo>
                      <a:pt x="235" y="178"/>
                    </a:lnTo>
                    <a:lnTo>
                      <a:pt x="239" y="178"/>
                    </a:lnTo>
                    <a:lnTo>
                      <a:pt x="243" y="170"/>
                    </a:lnTo>
                    <a:lnTo>
                      <a:pt x="239" y="170"/>
                    </a:lnTo>
                    <a:lnTo>
                      <a:pt x="235" y="170"/>
                    </a:lnTo>
                    <a:lnTo>
                      <a:pt x="230" y="170"/>
                    </a:lnTo>
                    <a:lnTo>
                      <a:pt x="213" y="170"/>
                    </a:lnTo>
                    <a:lnTo>
                      <a:pt x="209" y="170"/>
                    </a:lnTo>
                    <a:lnTo>
                      <a:pt x="204" y="170"/>
                    </a:lnTo>
                    <a:lnTo>
                      <a:pt x="204" y="165"/>
                    </a:lnTo>
                    <a:lnTo>
                      <a:pt x="200" y="165"/>
                    </a:lnTo>
                    <a:lnTo>
                      <a:pt x="196" y="161"/>
                    </a:lnTo>
                    <a:lnTo>
                      <a:pt x="191" y="157"/>
                    </a:lnTo>
                    <a:lnTo>
                      <a:pt x="187" y="152"/>
                    </a:lnTo>
                    <a:lnTo>
                      <a:pt x="178" y="148"/>
                    </a:lnTo>
                    <a:lnTo>
                      <a:pt x="174" y="152"/>
                    </a:lnTo>
                    <a:lnTo>
                      <a:pt x="165" y="157"/>
                    </a:lnTo>
                    <a:lnTo>
                      <a:pt x="165" y="161"/>
                    </a:lnTo>
                    <a:lnTo>
                      <a:pt x="170" y="165"/>
                    </a:lnTo>
                    <a:lnTo>
                      <a:pt x="174" y="170"/>
                    </a:lnTo>
                    <a:lnTo>
                      <a:pt x="165" y="174"/>
                    </a:lnTo>
                    <a:lnTo>
                      <a:pt x="157" y="174"/>
                    </a:lnTo>
                    <a:lnTo>
                      <a:pt x="157" y="178"/>
                    </a:lnTo>
                    <a:lnTo>
                      <a:pt x="152" y="183"/>
                    </a:lnTo>
                    <a:lnTo>
                      <a:pt x="148" y="187"/>
                    </a:lnTo>
                    <a:lnTo>
                      <a:pt x="143" y="187"/>
                    </a:lnTo>
                    <a:lnTo>
                      <a:pt x="139" y="187"/>
                    </a:lnTo>
                    <a:lnTo>
                      <a:pt x="130" y="191"/>
                    </a:lnTo>
                    <a:lnTo>
                      <a:pt x="130" y="196"/>
                    </a:lnTo>
                    <a:lnTo>
                      <a:pt x="135" y="200"/>
                    </a:lnTo>
                    <a:lnTo>
                      <a:pt x="139" y="204"/>
                    </a:lnTo>
                    <a:lnTo>
                      <a:pt x="143" y="209"/>
                    </a:lnTo>
                    <a:lnTo>
                      <a:pt x="143" y="213"/>
                    </a:lnTo>
                    <a:lnTo>
                      <a:pt x="139" y="226"/>
                    </a:lnTo>
                    <a:lnTo>
                      <a:pt x="135" y="226"/>
                    </a:lnTo>
                    <a:lnTo>
                      <a:pt x="126" y="230"/>
                    </a:lnTo>
                    <a:lnTo>
                      <a:pt x="122" y="230"/>
                    </a:lnTo>
                    <a:lnTo>
                      <a:pt x="122" y="235"/>
                    </a:lnTo>
                    <a:lnTo>
                      <a:pt x="117" y="244"/>
                    </a:lnTo>
                    <a:lnTo>
                      <a:pt x="122" y="248"/>
                    </a:lnTo>
                    <a:lnTo>
                      <a:pt x="122" y="257"/>
                    </a:lnTo>
                    <a:lnTo>
                      <a:pt x="122" y="261"/>
                    </a:lnTo>
                    <a:lnTo>
                      <a:pt x="117" y="261"/>
                    </a:lnTo>
                    <a:lnTo>
                      <a:pt x="122" y="274"/>
                    </a:lnTo>
                    <a:lnTo>
                      <a:pt x="139" y="278"/>
                    </a:lnTo>
                    <a:lnTo>
                      <a:pt x="143" y="283"/>
                    </a:lnTo>
                    <a:lnTo>
                      <a:pt x="148" y="278"/>
                    </a:lnTo>
                    <a:lnTo>
                      <a:pt x="152" y="274"/>
                    </a:lnTo>
                    <a:lnTo>
                      <a:pt x="157" y="274"/>
                    </a:lnTo>
                    <a:lnTo>
                      <a:pt x="161" y="274"/>
                    </a:lnTo>
                    <a:lnTo>
                      <a:pt x="165" y="274"/>
                    </a:lnTo>
                    <a:lnTo>
                      <a:pt x="170" y="274"/>
                    </a:lnTo>
                    <a:lnTo>
                      <a:pt x="174" y="278"/>
                    </a:lnTo>
                    <a:lnTo>
                      <a:pt x="183" y="283"/>
                    </a:lnTo>
                    <a:lnTo>
                      <a:pt x="187" y="283"/>
                    </a:lnTo>
                    <a:lnTo>
                      <a:pt x="191" y="278"/>
                    </a:lnTo>
                    <a:lnTo>
                      <a:pt x="187" y="278"/>
                    </a:lnTo>
                    <a:lnTo>
                      <a:pt x="187" y="274"/>
                    </a:lnTo>
                    <a:lnTo>
                      <a:pt x="196" y="265"/>
                    </a:lnTo>
                    <a:lnTo>
                      <a:pt x="200" y="265"/>
                    </a:lnTo>
                    <a:lnTo>
                      <a:pt x="204" y="265"/>
                    </a:lnTo>
                    <a:lnTo>
                      <a:pt x="209" y="265"/>
                    </a:lnTo>
                    <a:lnTo>
                      <a:pt x="209" y="270"/>
                    </a:lnTo>
                    <a:lnTo>
                      <a:pt x="209" y="274"/>
                    </a:lnTo>
                    <a:lnTo>
                      <a:pt x="213" y="278"/>
                    </a:lnTo>
                    <a:lnTo>
                      <a:pt x="217" y="287"/>
                    </a:lnTo>
                    <a:lnTo>
                      <a:pt x="217" y="296"/>
                    </a:lnTo>
                    <a:lnTo>
                      <a:pt x="217" y="300"/>
                    </a:lnTo>
                    <a:lnTo>
                      <a:pt x="222" y="300"/>
                    </a:lnTo>
                    <a:lnTo>
                      <a:pt x="222" y="304"/>
                    </a:lnTo>
                    <a:lnTo>
                      <a:pt x="222" y="309"/>
                    </a:lnTo>
                    <a:lnTo>
                      <a:pt x="217" y="309"/>
                    </a:lnTo>
                    <a:lnTo>
                      <a:pt x="217" y="313"/>
                    </a:lnTo>
                    <a:lnTo>
                      <a:pt x="213" y="313"/>
                    </a:lnTo>
                    <a:lnTo>
                      <a:pt x="209" y="317"/>
                    </a:lnTo>
                    <a:lnTo>
                      <a:pt x="209" y="322"/>
                    </a:lnTo>
                    <a:lnTo>
                      <a:pt x="209" y="326"/>
                    </a:lnTo>
                    <a:lnTo>
                      <a:pt x="213" y="330"/>
                    </a:lnTo>
                    <a:lnTo>
                      <a:pt x="213" y="335"/>
                    </a:lnTo>
                    <a:lnTo>
                      <a:pt x="217" y="335"/>
                    </a:lnTo>
                    <a:lnTo>
                      <a:pt x="226" y="344"/>
                    </a:lnTo>
                    <a:lnTo>
                      <a:pt x="230" y="344"/>
                    </a:lnTo>
                    <a:lnTo>
                      <a:pt x="235" y="339"/>
                    </a:lnTo>
                    <a:lnTo>
                      <a:pt x="239" y="339"/>
                    </a:lnTo>
                    <a:lnTo>
                      <a:pt x="239" y="344"/>
                    </a:lnTo>
                    <a:lnTo>
                      <a:pt x="252" y="348"/>
                    </a:lnTo>
                    <a:lnTo>
                      <a:pt x="257" y="348"/>
                    </a:lnTo>
                    <a:lnTo>
                      <a:pt x="261" y="348"/>
                    </a:lnTo>
                    <a:lnTo>
                      <a:pt x="261" y="344"/>
                    </a:lnTo>
                    <a:lnTo>
                      <a:pt x="265" y="344"/>
                    </a:lnTo>
                    <a:lnTo>
                      <a:pt x="270" y="344"/>
                    </a:lnTo>
                    <a:lnTo>
                      <a:pt x="274" y="344"/>
                    </a:lnTo>
                    <a:lnTo>
                      <a:pt x="278" y="352"/>
                    </a:lnTo>
                    <a:lnTo>
                      <a:pt x="278" y="357"/>
                    </a:lnTo>
                    <a:lnTo>
                      <a:pt x="283" y="357"/>
                    </a:lnTo>
                    <a:lnTo>
                      <a:pt x="283" y="361"/>
                    </a:lnTo>
                    <a:lnTo>
                      <a:pt x="287" y="361"/>
                    </a:lnTo>
                    <a:lnTo>
                      <a:pt x="287" y="365"/>
                    </a:lnTo>
                    <a:lnTo>
                      <a:pt x="291" y="370"/>
                    </a:lnTo>
                    <a:lnTo>
                      <a:pt x="296" y="370"/>
                    </a:lnTo>
                    <a:lnTo>
                      <a:pt x="291" y="370"/>
                    </a:lnTo>
                    <a:lnTo>
                      <a:pt x="291" y="374"/>
                    </a:lnTo>
                    <a:lnTo>
                      <a:pt x="291" y="378"/>
                    </a:lnTo>
                    <a:lnTo>
                      <a:pt x="291" y="383"/>
                    </a:lnTo>
                    <a:lnTo>
                      <a:pt x="287" y="387"/>
                    </a:lnTo>
                    <a:lnTo>
                      <a:pt x="283" y="387"/>
                    </a:lnTo>
                    <a:lnTo>
                      <a:pt x="278" y="391"/>
                    </a:lnTo>
                    <a:lnTo>
                      <a:pt x="278" y="396"/>
                    </a:lnTo>
                    <a:lnTo>
                      <a:pt x="278" y="400"/>
                    </a:lnTo>
                    <a:lnTo>
                      <a:pt x="274" y="409"/>
                    </a:lnTo>
                    <a:lnTo>
                      <a:pt x="270" y="409"/>
                    </a:lnTo>
                    <a:lnTo>
                      <a:pt x="261" y="409"/>
                    </a:lnTo>
                    <a:lnTo>
                      <a:pt x="252" y="413"/>
                    </a:lnTo>
                    <a:lnTo>
                      <a:pt x="248" y="413"/>
                    </a:lnTo>
                    <a:lnTo>
                      <a:pt x="239" y="413"/>
                    </a:lnTo>
                    <a:lnTo>
                      <a:pt x="230" y="413"/>
                    </a:lnTo>
                    <a:lnTo>
                      <a:pt x="226" y="417"/>
                    </a:lnTo>
                    <a:lnTo>
                      <a:pt x="222" y="430"/>
                    </a:lnTo>
                    <a:lnTo>
                      <a:pt x="222" y="435"/>
                    </a:lnTo>
                    <a:lnTo>
                      <a:pt x="217" y="435"/>
                    </a:lnTo>
                    <a:lnTo>
                      <a:pt x="209" y="448"/>
                    </a:lnTo>
                    <a:lnTo>
                      <a:pt x="204" y="443"/>
                    </a:lnTo>
                    <a:lnTo>
                      <a:pt x="204" y="439"/>
                    </a:lnTo>
                    <a:lnTo>
                      <a:pt x="200" y="439"/>
                    </a:lnTo>
                    <a:lnTo>
                      <a:pt x="200" y="443"/>
                    </a:lnTo>
                    <a:lnTo>
                      <a:pt x="196" y="452"/>
                    </a:lnTo>
                    <a:lnTo>
                      <a:pt x="196" y="457"/>
                    </a:lnTo>
                    <a:lnTo>
                      <a:pt x="200" y="457"/>
                    </a:lnTo>
                    <a:lnTo>
                      <a:pt x="196" y="461"/>
                    </a:lnTo>
                    <a:lnTo>
                      <a:pt x="191" y="461"/>
                    </a:lnTo>
                    <a:lnTo>
                      <a:pt x="183" y="461"/>
                    </a:lnTo>
                    <a:lnTo>
                      <a:pt x="183" y="465"/>
                    </a:lnTo>
                    <a:lnTo>
                      <a:pt x="178" y="478"/>
                    </a:lnTo>
                    <a:lnTo>
                      <a:pt x="174" y="483"/>
                    </a:lnTo>
                    <a:lnTo>
                      <a:pt x="174" y="491"/>
                    </a:lnTo>
                    <a:lnTo>
                      <a:pt x="170" y="500"/>
                    </a:lnTo>
                    <a:lnTo>
                      <a:pt x="165" y="513"/>
                    </a:lnTo>
                    <a:lnTo>
                      <a:pt x="157" y="517"/>
                    </a:lnTo>
                    <a:lnTo>
                      <a:pt x="152" y="517"/>
                    </a:lnTo>
                    <a:lnTo>
                      <a:pt x="148" y="526"/>
                    </a:lnTo>
                    <a:lnTo>
                      <a:pt x="148" y="530"/>
                    </a:lnTo>
                    <a:lnTo>
                      <a:pt x="143" y="543"/>
                    </a:lnTo>
                    <a:lnTo>
                      <a:pt x="148" y="552"/>
                    </a:lnTo>
                    <a:lnTo>
                      <a:pt x="152" y="557"/>
                    </a:lnTo>
                    <a:lnTo>
                      <a:pt x="157" y="561"/>
                    </a:lnTo>
                    <a:lnTo>
                      <a:pt x="157" y="565"/>
                    </a:lnTo>
                    <a:lnTo>
                      <a:pt x="157" y="570"/>
                    </a:lnTo>
                    <a:lnTo>
                      <a:pt x="152" y="574"/>
                    </a:lnTo>
                    <a:lnTo>
                      <a:pt x="152" y="578"/>
                    </a:lnTo>
                    <a:lnTo>
                      <a:pt x="148" y="578"/>
                    </a:lnTo>
                    <a:lnTo>
                      <a:pt x="143" y="574"/>
                    </a:lnTo>
                    <a:lnTo>
                      <a:pt x="143" y="570"/>
                    </a:lnTo>
                    <a:lnTo>
                      <a:pt x="139" y="570"/>
                    </a:lnTo>
                    <a:lnTo>
                      <a:pt x="135" y="570"/>
                    </a:lnTo>
                    <a:lnTo>
                      <a:pt x="130" y="574"/>
                    </a:lnTo>
                    <a:lnTo>
                      <a:pt x="130" y="578"/>
                    </a:lnTo>
                    <a:lnTo>
                      <a:pt x="126" y="583"/>
                    </a:lnTo>
                    <a:lnTo>
                      <a:pt x="122" y="583"/>
                    </a:lnTo>
                    <a:lnTo>
                      <a:pt x="122" y="578"/>
                    </a:lnTo>
                    <a:lnTo>
                      <a:pt x="117" y="578"/>
                    </a:lnTo>
                    <a:lnTo>
                      <a:pt x="117" y="574"/>
                    </a:lnTo>
                    <a:lnTo>
                      <a:pt x="113" y="574"/>
                    </a:lnTo>
                    <a:lnTo>
                      <a:pt x="104" y="578"/>
                    </a:lnTo>
                    <a:lnTo>
                      <a:pt x="100" y="578"/>
                    </a:lnTo>
                    <a:lnTo>
                      <a:pt x="96" y="578"/>
                    </a:lnTo>
                    <a:lnTo>
                      <a:pt x="91" y="578"/>
                    </a:lnTo>
                    <a:lnTo>
                      <a:pt x="87" y="574"/>
                    </a:lnTo>
                    <a:lnTo>
                      <a:pt x="83" y="574"/>
                    </a:lnTo>
                    <a:lnTo>
                      <a:pt x="78" y="574"/>
                    </a:lnTo>
                    <a:lnTo>
                      <a:pt x="70" y="574"/>
                    </a:lnTo>
                    <a:lnTo>
                      <a:pt x="65" y="574"/>
                    </a:lnTo>
                    <a:lnTo>
                      <a:pt x="61" y="570"/>
                    </a:lnTo>
                    <a:lnTo>
                      <a:pt x="52" y="565"/>
                    </a:lnTo>
                    <a:lnTo>
                      <a:pt x="43" y="565"/>
                    </a:lnTo>
                    <a:lnTo>
                      <a:pt x="39" y="565"/>
                    </a:lnTo>
                    <a:lnTo>
                      <a:pt x="35" y="565"/>
                    </a:lnTo>
                    <a:lnTo>
                      <a:pt x="30" y="561"/>
                    </a:lnTo>
                    <a:lnTo>
                      <a:pt x="26" y="561"/>
                    </a:lnTo>
                    <a:lnTo>
                      <a:pt x="22" y="561"/>
                    </a:lnTo>
                    <a:lnTo>
                      <a:pt x="22" y="557"/>
                    </a:lnTo>
                    <a:lnTo>
                      <a:pt x="22" y="552"/>
                    </a:lnTo>
                    <a:lnTo>
                      <a:pt x="17" y="548"/>
                    </a:lnTo>
                    <a:lnTo>
                      <a:pt x="13" y="543"/>
                    </a:lnTo>
                    <a:lnTo>
                      <a:pt x="13" y="535"/>
                    </a:lnTo>
                    <a:lnTo>
                      <a:pt x="17" y="535"/>
                    </a:lnTo>
                    <a:lnTo>
                      <a:pt x="26" y="530"/>
                    </a:lnTo>
                    <a:lnTo>
                      <a:pt x="35" y="522"/>
                    </a:lnTo>
                    <a:lnTo>
                      <a:pt x="35" y="513"/>
                    </a:lnTo>
                    <a:lnTo>
                      <a:pt x="30" y="509"/>
                    </a:lnTo>
                    <a:lnTo>
                      <a:pt x="30" y="504"/>
                    </a:lnTo>
                    <a:lnTo>
                      <a:pt x="30" y="500"/>
                    </a:lnTo>
                    <a:lnTo>
                      <a:pt x="35" y="496"/>
                    </a:lnTo>
                    <a:lnTo>
                      <a:pt x="39" y="491"/>
                    </a:lnTo>
                    <a:lnTo>
                      <a:pt x="39" y="487"/>
                    </a:lnTo>
                    <a:lnTo>
                      <a:pt x="39" y="483"/>
                    </a:lnTo>
                    <a:lnTo>
                      <a:pt x="43" y="474"/>
                    </a:lnTo>
                    <a:lnTo>
                      <a:pt x="48" y="470"/>
                    </a:lnTo>
                    <a:lnTo>
                      <a:pt x="48" y="465"/>
                    </a:lnTo>
                    <a:lnTo>
                      <a:pt x="52" y="461"/>
                    </a:lnTo>
                    <a:lnTo>
                      <a:pt x="52" y="452"/>
                    </a:lnTo>
                    <a:lnTo>
                      <a:pt x="48" y="448"/>
                    </a:lnTo>
                    <a:lnTo>
                      <a:pt x="43" y="439"/>
                    </a:lnTo>
                    <a:lnTo>
                      <a:pt x="35" y="430"/>
                    </a:lnTo>
                    <a:lnTo>
                      <a:pt x="30" y="417"/>
                    </a:lnTo>
                    <a:lnTo>
                      <a:pt x="26" y="413"/>
                    </a:lnTo>
                    <a:lnTo>
                      <a:pt x="17" y="409"/>
                    </a:lnTo>
                    <a:lnTo>
                      <a:pt x="13" y="409"/>
                    </a:lnTo>
                    <a:lnTo>
                      <a:pt x="9" y="409"/>
                    </a:lnTo>
                    <a:lnTo>
                      <a:pt x="9" y="404"/>
                    </a:lnTo>
                    <a:lnTo>
                      <a:pt x="4" y="404"/>
                    </a:lnTo>
                    <a:lnTo>
                      <a:pt x="4" y="396"/>
                    </a:lnTo>
                    <a:lnTo>
                      <a:pt x="4" y="387"/>
                    </a:lnTo>
                    <a:close/>
                    <a:moveTo>
                      <a:pt x="235" y="217"/>
                    </a:moveTo>
                    <a:lnTo>
                      <a:pt x="230" y="222"/>
                    </a:lnTo>
                    <a:lnTo>
                      <a:pt x="230" y="226"/>
                    </a:lnTo>
                    <a:lnTo>
                      <a:pt x="230" y="230"/>
                    </a:lnTo>
                    <a:lnTo>
                      <a:pt x="230" y="235"/>
                    </a:lnTo>
                    <a:lnTo>
                      <a:pt x="230" y="239"/>
                    </a:lnTo>
                    <a:lnTo>
                      <a:pt x="235" y="239"/>
                    </a:lnTo>
                    <a:lnTo>
                      <a:pt x="235" y="248"/>
                    </a:lnTo>
                    <a:lnTo>
                      <a:pt x="235" y="257"/>
                    </a:lnTo>
                    <a:lnTo>
                      <a:pt x="235" y="261"/>
                    </a:lnTo>
                    <a:lnTo>
                      <a:pt x="230" y="261"/>
                    </a:lnTo>
                    <a:lnTo>
                      <a:pt x="226" y="261"/>
                    </a:lnTo>
                    <a:lnTo>
                      <a:pt x="213" y="257"/>
                    </a:lnTo>
                    <a:lnTo>
                      <a:pt x="213" y="252"/>
                    </a:lnTo>
                    <a:lnTo>
                      <a:pt x="217" y="248"/>
                    </a:lnTo>
                    <a:lnTo>
                      <a:pt x="213" y="248"/>
                    </a:lnTo>
                    <a:lnTo>
                      <a:pt x="213" y="244"/>
                    </a:lnTo>
                    <a:lnTo>
                      <a:pt x="209" y="244"/>
                    </a:lnTo>
                    <a:lnTo>
                      <a:pt x="204" y="244"/>
                    </a:lnTo>
                    <a:lnTo>
                      <a:pt x="204" y="239"/>
                    </a:lnTo>
                    <a:lnTo>
                      <a:pt x="204" y="235"/>
                    </a:lnTo>
                    <a:lnTo>
                      <a:pt x="204" y="230"/>
                    </a:lnTo>
                    <a:lnTo>
                      <a:pt x="204" y="226"/>
                    </a:lnTo>
                    <a:lnTo>
                      <a:pt x="209" y="226"/>
                    </a:lnTo>
                    <a:lnTo>
                      <a:pt x="213" y="226"/>
                    </a:lnTo>
                    <a:lnTo>
                      <a:pt x="217" y="226"/>
                    </a:lnTo>
                    <a:lnTo>
                      <a:pt x="222" y="226"/>
                    </a:lnTo>
                    <a:lnTo>
                      <a:pt x="222" y="222"/>
                    </a:lnTo>
                    <a:lnTo>
                      <a:pt x="226" y="222"/>
                    </a:lnTo>
                    <a:lnTo>
                      <a:pt x="230" y="222"/>
                    </a:lnTo>
                    <a:lnTo>
                      <a:pt x="230" y="217"/>
                    </a:lnTo>
                    <a:lnTo>
                      <a:pt x="235" y="21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4" name="Freeform 23">
                <a:extLst>
                  <a:ext uri="{FF2B5EF4-FFF2-40B4-BE49-F238E27FC236}">
                    <a16:creationId xmlns:a16="http://schemas.microsoft.com/office/drawing/2014/main" id="{E0191C64-4C9A-6ACB-B2E2-AE3F3BCB9B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84653" y="4080792"/>
                <a:ext cx="1634369" cy="1176338"/>
              </a:xfrm>
              <a:custGeom>
                <a:avLst/>
                <a:gdLst>
                  <a:gd name="T0" fmla="*/ 552 w 943"/>
                  <a:gd name="T1" fmla="*/ 548 h 713"/>
                  <a:gd name="T2" fmla="*/ 513 w 943"/>
                  <a:gd name="T3" fmla="*/ 539 h 713"/>
                  <a:gd name="T4" fmla="*/ 482 w 943"/>
                  <a:gd name="T5" fmla="*/ 487 h 713"/>
                  <a:gd name="T6" fmla="*/ 461 w 943"/>
                  <a:gd name="T7" fmla="*/ 522 h 713"/>
                  <a:gd name="T8" fmla="*/ 417 w 943"/>
                  <a:gd name="T9" fmla="*/ 583 h 713"/>
                  <a:gd name="T10" fmla="*/ 387 w 943"/>
                  <a:gd name="T11" fmla="*/ 639 h 713"/>
                  <a:gd name="T12" fmla="*/ 378 w 943"/>
                  <a:gd name="T13" fmla="*/ 692 h 713"/>
                  <a:gd name="T14" fmla="*/ 321 w 943"/>
                  <a:gd name="T15" fmla="*/ 709 h 713"/>
                  <a:gd name="T16" fmla="*/ 282 w 943"/>
                  <a:gd name="T17" fmla="*/ 692 h 713"/>
                  <a:gd name="T18" fmla="*/ 269 w 943"/>
                  <a:gd name="T19" fmla="*/ 639 h 713"/>
                  <a:gd name="T20" fmla="*/ 239 w 943"/>
                  <a:gd name="T21" fmla="*/ 587 h 713"/>
                  <a:gd name="T22" fmla="*/ 200 w 943"/>
                  <a:gd name="T23" fmla="*/ 548 h 713"/>
                  <a:gd name="T24" fmla="*/ 174 w 943"/>
                  <a:gd name="T25" fmla="*/ 518 h 713"/>
                  <a:gd name="T26" fmla="*/ 134 w 943"/>
                  <a:gd name="T27" fmla="*/ 470 h 713"/>
                  <a:gd name="T28" fmla="*/ 104 w 943"/>
                  <a:gd name="T29" fmla="*/ 492 h 713"/>
                  <a:gd name="T30" fmla="*/ 100 w 943"/>
                  <a:gd name="T31" fmla="*/ 413 h 713"/>
                  <a:gd name="T32" fmla="*/ 100 w 943"/>
                  <a:gd name="T33" fmla="*/ 322 h 713"/>
                  <a:gd name="T34" fmla="*/ 78 w 943"/>
                  <a:gd name="T35" fmla="*/ 248 h 713"/>
                  <a:gd name="T36" fmla="*/ 78 w 943"/>
                  <a:gd name="T37" fmla="*/ 213 h 713"/>
                  <a:gd name="T38" fmla="*/ 30 w 943"/>
                  <a:gd name="T39" fmla="*/ 131 h 713"/>
                  <a:gd name="T40" fmla="*/ 13 w 943"/>
                  <a:gd name="T41" fmla="*/ 74 h 713"/>
                  <a:gd name="T42" fmla="*/ 39 w 943"/>
                  <a:gd name="T43" fmla="*/ 31 h 713"/>
                  <a:gd name="T44" fmla="*/ 69 w 943"/>
                  <a:gd name="T45" fmla="*/ 13 h 713"/>
                  <a:gd name="T46" fmla="*/ 104 w 943"/>
                  <a:gd name="T47" fmla="*/ 61 h 713"/>
                  <a:gd name="T48" fmla="*/ 161 w 943"/>
                  <a:gd name="T49" fmla="*/ 122 h 713"/>
                  <a:gd name="T50" fmla="*/ 200 w 943"/>
                  <a:gd name="T51" fmla="*/ 126 h 713"/>
                  <a:gd name="T52" fmla="*/ 239 w 943"/>
                  <a:gd name="T53" fmla="*/ 135 h 713"/>
                  <a:gd name="T54" fmla="*/ 278 w 943"/>
                  <a:gd name="T55" fmla="*/ 92 h 713"/>
                  <a:gd name="T56" fmla="*/ 317 w 943"/>
                  <a:gd name="T57" fmla="*/ 100 h 713"/>
                  <a:gd name="T58" fmla="*/ 369 w 943"/>
                  <a:gd name="T59" fmla="*/ 65 h 713"/>
                  <a:gd name="T60" fmla="*/ 369 w 943"/>
                  <a:gd name="T61" fmla="*/ 13 h 713"/>
                  <a:gd name="T62" fmla="*/ 421 w 943"/>
                  <a:gd name="T63" fmla="*/ 18 h 713"/>
                  <a:gd name="T64" fmla="*/ 465 w 943"/>
                  <a:gd name="T65" fmla="*/ 48 h 713"/>
                  <a:gd name="T66" fmla="*/ 504 w 943"/>
                  <a:gd name="T67" fmla="*/ 96 h 713"/>
                  <a:gd name="T68" fmla="*/ 522 w 943"/>
                  <a:gd name="T69" fmla="*/ 135 h 713"/>
                  <a:gd name="T70" fmla="*/ 582 w 943"/>
                  <a:gd name="T71" fmla="*/ 126 h 713"/>
                  <a:gd name="T72" fmla="*/ 630 w 943"/>
                  <a:gd name="T73" fmla="*/ 122 h 713"/>
                  <a:gd name="T74" fmla="*/ 652 w 943"/>
                  <a:gd name="T75" fmla="*/ 144 h 713"/>
                  <a:gd name="T76" fmla="*/ 704 w 943"/>
                  <a:gd name="T77" fmla="*/ 131 h 713"/>
                  <a:gd name="T78" fmla="*/ 739 w 943"/>
                  <a:gd name="T79" fmla="*/ 161 h 713"/>
                  <a:gd name="T80" fmla="*/ 804 w 943"/>
                  <a:gd name="T81" fmla="*/ 165 h 713"/>
                  <a:gd name="T82" fmla="*/ 865 w 943"/>
                  <a:gd name="T83" fmla="*/ 200 h 713"/>
                  <a:gd name="T84" fmla="*/ 909 w 943"/>
                  <a:gd name="T85" fmla="*/ 226 h 713"/>
                  <a:gd name="T86" fmla="*/ 939 w 943"/>
                  <a:gd name="T87" fmla="*/ 257 h 713"/>
                  <a:gd name="T88" fmla="*/ 913 w 943"/>
                  <a:gd name="T89" fmla="*/ 287 h 713"/>
                  <a:gd name="T90" fmla="*/ 835 w 943"/>
                  <a:gd name="T91" fmla="*/ 318 h 713"/>
                  <a:gd name="T92" fmla="*/ 826 w 943"/>
                  <a:gd name="T93" fmla="*/ 361 h 713"/>
                  <a:gd name="T94" fmla="*/ 835 w 943"/>
                  <a:gd name="T95" fmla="*/ 383 h 713"/>
                  <a:gd name="T96" fmla="*/ 882 w 943"/>
                  <a:gd name="T97" fmla="*/ 444 h 713"/>
                  <a:gd name="T98" fmla="*/ 878 w 943"/>
                  <a:gd name="T99" fmla="*/ 509 h 713"/>
                  <a:gd name="T100" fmla="*/ 839 w 943"/>
                  <a:gd name="T101" fmla="*/ 500 h 713"/>
                  <a:gd name="T102" fmla="*/ 822 w 943"/>
                  <a:gd name="T103" fmla="*/ 483 h 713"/>
                  <a:gd name="T104" fmla="*/ 778 w 943"/>
                  <a:gd name="T105" fmla="*/ 452 h 713"/>
                  <a:gd name="T106" fmla="*/ 748 w 943"/>
                  <a:gd name="T107" fmla="*/ 431 h 713"/>
                  <a:gd name="T108" fmla="*/ 722 w 943"/>
                  <a:gd name="T109" fmla="*/ 465 h 713"/>
                  <a:gd name="T110" fmla="*/ 691 w 943"/>
                  <a:gd name="T111" fmla="*/ 505 h 713"/>
                  <a:gd name="T112" fmla="*/ 674 w 943"/>
                  <a:gd name="T113" fmla="*/ 487 h 713"/>
                  <a:gd name="T114" fmla="*/ 604 w 943"/>
                  <a:gd name="T115" fmla="*/ 500 h 713"/>
                  <a:gd name="T116" fmla="*/ 656 w 943"/>
                  <a:gd name="T117" fmla="*/ 552 h 713"/>
                  <a:gd name="T118" fmla="*/ 582 w 943"/>
                  <a:gd name="T119" fmla="*/ 565 h 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43" h="713">
                    <a:moveTo>
                      <a:pt x="578" y="570"/>
                    </a:moveTo>
                    <a:lnTo>
                      <a:pt x="578" y="565"/>
                    </a:lnTo>
                    <a:lnTo>
                      <a:pt x="574" y="552"/>
                    </a:lnTo>
                    <a:lnTo>
                      <a:pt x="578" y="552"/>
                    </a:lnTo>
                    <a:lnTo>
                      <a:pt x="578" y="548"/>
                    </a:lnTo>
                    <a:lnTo>
                      <a:pt x="578" y="544"/>
                    </a:lnTo>
                    <a:lnTo>
                      <a:pt x="569" y="539"/>
                    </a:lnTo>
                    <a:lnTo>
                      <a:pt x="561" y="535"/>
                    </a:lnTo>
                    <a:lnTo>
                      <a:pt x="556" y="535"/>
                    </a:lnTo>
                    <a:lnTo>
                      <a:pt x="552" y="539"/>
                    </a:lnTo>
                    <a:lnTo>
                      <a:pt x="552" y="544"/>
                    </a:lnTo>
                    <a:lnTo>
                      <a:pt x="552" y="548"/>
                    </a:lnTo>
                    <a:lnTo>
                      <a:pt x="548" y="552"/>
                    </a:lnTo>
                    <a:lnTo>
                      <a:pt x="526" y="557"/>
                    </a:lnTo>
                    <a:lnTo>
                      <a:pt x="522" y="557"/>
                    </a:lnTo>
                    <a:lnTo>
                      <a:pt x="517" y="557"/>
                    </a:lnTo>
                    <a:lnTo>
                      <a:pt x="513" y="552"/>
                    </a:lnTo>
                    <a:lnTo>
                      <a:pt x="508" y="552"/>
                    </a:lnTo>
                    <a:lnTo>
                      <a:pt x="508" y="548"/>
                    </a:lnTo>
                    <a:lnTo>
                      <a:pt x="504" y="548"/>
                    </a:lnTo>
                    <a:lnTo>
                      <a:pt x="500" y="544"/>
                    </a:lnTo>
                    <a:lnTo>
                      <a:pt x="504" y="539"/>
                    </a:lnTo>
                    <a:lnTo>
                      <a:pt x="508" y="539"/>
                    </a:lnTo>
                    <a:lnTo>
                      <a:pt x="513" y="539"/>
                    </a:lnTo>
                    <a:lnTo>
                      <a:pt x="513" y="535"/>
                    </a:lnTo>
                    <a:lnTo>
                      <a:pt x="508" y="522"/>
                    </a:lnTo>
                    <a:lnTo>
                      <a:pt x="508" y="518"/>
                    </a:lnTo>
                    <a:lnTo>
                      <a:pt x="504" y="518"/>
                    </a:lnTo>
                    <a:lnTo>
                      <a:pt x="500" y="518"/>
                    </a:lnTo>
                    <a:lnTo>
                      <a:pt x="500" y="513"/>
                    </a:lnTo>
                    <a:lnTo>
                      <a:pt x="495" y="500"/>
                    </a:lnTo>
                    <a:lnTo>
                      <a:pt x="500" y="496"/>
                    </a:lnTo>
                    <a:lnTo>
                      <a:pt x="504" y="492"/>
                    </a:lnTo>
                    <a:lnTo>
                      <a:pt x="504" y="487"/>
                    </a:lnTo>
                    <a:lnTo>
                      <a:pt x="495" y="487"/>
                    </a:lnTo>
                    <a:lnTo>
                      <a:pt x="482" y="487"/>
                    </a:lnTo>
                    <a:lnTo>
                      <a:pt x="478" y="492"/>
                    </a:lnTo>
                    <a:lnTo>
                      <a:pt x="474" y="492"/>
                    </a:lnTo>
                    <a:lnTo>
                      <a:pt x="469" y="487"/>
                    </a:lnTo>
                    <a:lnTo>
                      <a:pt x="465" y="487"/>
                    </a:lnTo>
                    <a:lnTo>
                      <a:pt x="461" y="496"/>
                    </a:lnTo>
                    <a:lnTo>
                      <a:pt x="461" y="500"/>
                    </a:lnTo>
                    <a:lnTo>
                      <a:pt x="465" y="500"/>
                    </a:lnTo>
                    <a:lnTo>
                      <a:pt x="465" y="509"/>
                    </a:lnTo>
                    <a:lnTo>
                      <a:pt x="469" y="518"/>
                    </a:lnTo>
                    <a:lnTo>
                      <a:pt x="465" y="518"/>
                    </a:lnTo>
                    <a:lnTo>
                      <a:pt x="465" y="522"/>
                    </a:lnTo>
                    <a:lnTo>
                      <a:pt x="461" y="522"/>
                    </a:lnTo>
                    <a:lnTo>
                      <a:pt x="456" y="526"/>
                    </a:lnTo>
                    <a:lnTo>
                      <a:pt x="452" y="522"/>
                    </a:lnTo>
                    <a:lnTo>
                      <a:pt x="448" y="522"/>
                    </a:lnTo>
                    <a:lnTo>
                      <a:pt x="443" y="522"/>
                    </a:lnTo>
                    <a:lnTo>
                      <a:pt x="435" y="531"/>
                    </a:lnTo>
                    <a:lnTo>
                      <a:pt x="435" y="535"/>
                    </a:lnTo>
                    <a:lnTo>
                      <a:pt x="435" y="539"/>
                    </a:lnTo>
                    <a:lnTo>
                      <a:pt x="439" y="548"/>
                    </a:lnTo>
                    <a:lnTo>
                      <a:pt x="439" y="557"/>
                    </a:lnTo>
                    <a:lnTo>
                      <a:pt x="435" y="561"/>
                    </a:lnTo>
                    <a:lnTo>
                      <a:pt x="430" y="565"/>
                    </a:lnTo>
                    <a:lnTo>
                      <a:pt x="417" y="583"/>
                    </a:lnTo>
                    <a:lnTo>
                      <a:pt x="413" y="583"/>
                    </a:lnTo>
                    <a:lnTo>
                      <a:pt x="408" y="587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395" y="596"/>
                    </a:lnTo>
                    <a:lnTo>
                      <a:pt x="387" y="605"/>
                    </a:lnTo>
                    <a:lnTo>
                      <a:pt x="387" y="609"/>
                    </a:lnTo>
                    <a:lnTo>
                      <a:pt x="391" y="609"/>
                    </a:lnTo>
                    <a:lnTo>
                      <a:pt x="391" y="622"/>
                    </a:lnTo>
                    <a:lnTo>
                      <a:pt x="387" y="626"/>
                    </a:lnTo>
                    <a:lnTo>
                      <a:pt x="387" y="635"/>
                    </a:lnTo>
                    <a:lnTo>
                      <a:pt x="387" y="639"/>
                    </a:lnTo>
                    <a:lnTo>
                      <a:pt x="391" y="639"/>
                    </a:lnTo>
                    <a:lnTo>
                      <a:pt x="391" y="644"/>
                    </a:lnTo>
                    <a:lnTo>
                      <a:pt x="395" y="648"/>
                    </a:lnTo>
                    <a:lnTo>
                      <a:pt x="395" y="657"/>
                    </a:lnTo>
                    <a:lnTo>
                      <a:pt x="400" y="661"/>
                    </a:lnTo>
                    <a:lnTo>
                      <a:pt x="400" y="670"/>
                    </a:lnTo>
                    <a:lnTo>
                      <a:pt x="395" y="674"/>
                    </a:lnTo>
                    <a:lnTo>
                      <a:pt x="395" y="683"/>
                    </a:lnTo>
                    <a:lnTo>
                      <a:pt x="395" y="687"/>
                    </a:lnTo>
                    <a:lnTo>
                      <a:pt x="391" y="687"/>
                    </a:lnTo>
                    <a:lnTo>
                      <a:pt x="387" y="687"/>
                    </a:lnTo>
                    <a:lnTo>
                      <a:pt x="378" y="692"/>
                    </a:lnTo>
                    <a:lnTo>
                      <a:pt x="374" y="696"/>
                    </a:lnTo>
                    <a:lnTo>
                      <a:pt x="374" y="700"/>
                    </a:lnTo>
                    <a:lnTo>
                      <a:pt x="369" y="700"/>
                    </a:lnTo>
                    <a:lnTo>
                      <a:pt x="365" y="696"/>
                    </a:lnTo>
                    <a:lnTo>
                      <a:pt x="365" y="692"/>
                    </a:lnTo>
                    <a:lnTo>
                      <a:pt x="361" y="687"/>
                    </a:lnTo>
                    <a:lnTo>
                      <a:pt x="343" y="696"/>
                    </a:lnTo>
                    <a:lnTo>
                      <a:pt x="339" y="696"/>
                    </a:lnTo>
                    <a:lnTo>
                      <a:pt x="335" y="696"/>
                    </a:lnTo>
                    <a:lnTo>
                      <a:pt x="330" y="700"/>
                    </a:lnTo>
                    <a:lnTo>
                      <a:pt x="326" y="709"/>
                    </a:lnTo>
                    <a:lnTo>
                      <a:pt x="321" y="709"/>
                    </a:lnTo>
                    <a:lnTo>
                      <a:pt x="313" y="709"/>
                    </a:lnTo>
                    <a:lnTo>
                      <a:pt x="308" y="709"/>
                    </a:lnTo>
                    <a:lnTo>
                      <a:pt x="304" y="713"/>
                    </a:lnTo>
                    <a:lnTo>
                      <a:pt x="300" y="709"/>
                    </a:lnTo>
                    <a:lnTo>
                      <a:pt x="295" y="709"/>
                    </a:lnTo>
                    <a:lnTo>
                      <a:pt x="295" y="705"/>
                    </a:lnTo>
                    <a:lnTo>
                      <a:pt x="300" y="705"/>
                    </a:lnTo>
                    <a:lnTo>
                      <a:pt x="300" y="700"/>
                    </a:lnTo>
                    <a:lnTo>
                      <a:pt x="291" y="696"/>
                    </a:lnTo>
                    <a:lnTo>
                      <a:pt x="287" y="696"/>
                    </a:lnTo>
                    <a:lnTo>
                      <a:pt x="282" y="696"/>
                    </a:lnTo>
                    <a:lnTo>
                      <a:pt x="282" y="692"/>
                    </a:lnTo>
                    <a:lnTo>
                      <a:pt x="287" y="687"/>
                    </a:lnTo>
                    <a:lnTo>
                      <a:pt x="287" y="683"/>
                    </a:lnTo>
                    <a:lnTo>
                      <a:pt x="282" y="678"/>
                    </a:lnTo>
                    <a:lnTo>
                      <a:pt x="282" y="674"/>
                    </a:lnTo>
                    <a:lnTo>
                      <a:pt x="278" y="670"/>
                    </a:lnTo>
                    <a:lnTo>
                      <a:pt x="274" y="670"/>
                    </a:lnTo>
                    <a:lnTo>
                      <a:pt x="269" y="665"/>
                    </a:lnTo>
                    <a:lnTo>
                      <a:pt x="274" y="661"/>
                    </a:lnTo>
                    <a:lnTo>
                      <a:pt x="278" y="652"/>
                    </a:lnTo>
                    <a:lnTo>
                      <a:pt x="278" y="648"/>
                    </a:lnTo>
                    <a:lnTo>
                      <a:pt x="274" y="644"/>
                    </a:lnTo>
                    <a:lnTo>
                      <a:pt x="269" y="639"/>
                    </a:lnTo>
                    <a:lnTo>
                      <a:pt x="252" y="622"/>
                    </a:lnTo>
                    <a:lnTo>
                      <a:pt x="252" y="618"/>
                    </a:lnTo>
                    <a:lnTo>
                      <a:pt x="252" y="613"/>
                    </a:lnTo>
                    <a:lnTo>
                      <a:pt x="252" y="609"/>
                    </a:lnTo>
                    <a:lnTo>
                      <a:pt x="248" y="609"/>
                    </a:lnTo>
                    <a:lnTo>
                      <a:pt x="243" y="609"/>
                    </a:lnTo>
                    <a:lnTo>
                      <a:pt x="239" y="609"/>
                    </a:lnTo>
                    <a:lnTo>
                      <a:pt x="239" y="605"/>
                    </a:lnTo>
                    <a:lnTo>
                      <a:pt x="239" y="600"/>
                    </a:lnTo>
                    <a:lnTo>
                      <a:pt x="239" y="596"/>
                    </a:lnTo>
                    <a:lnTo>
                      <a:pt x="239" y="592"/>
                    </a:lnTo>
                    <a:lnTo>
                      <a:pt x="239" y="587"/>
                    </a:lnTo>
                    <a:lnTo>
                      <a:pt x="230" y="574"/>
                    </a:lnTo>
                    <a:lnTo>
                      <a:pt x="230" y="570"/>
                    </a:lnTo>
                    <a:lnTo>
                      <a:pt x="226" y="565"/>
                    </a:lnTo>
                    <a:lnTo>
                      <a:pt x="221" y="557"/>
                    </a:lnTo>
                    <a:lnTo>
                      <a:pt x="217" y="552"/>
                    </a:lnTo>
                    <a:lnTo>
                      <a:pt x="217" y="548"/>
                    </a:lnTo>
                    <a:lnTo>
                      <a:pt x="217" y="544"/>
                    </a:lnTo>
                    <a:lnTo>
                      <a:pt x="213" y="544"/>
                    </a:lnTo>
                    <a:lnTo>
                      <a:pt x="208" y="548"/>
                    </a:lnTo>
                    <a:lnTo>
                      <a:pt x="208" y="552"/>
                    </a:lnTo>
                    <a:lnTo>
                      <a:pt x="204" y="552"/>
                    </a:lnTo>
                    <a:lnTo>
                      <a:pt x="200" y="548"/>
                    </a:lnTo>
                    <a:lnTo>
                      <a:pt x="195" y="548"/>
                    </a:lnTo>
                    <a:lnTo>
                      <a:pt x="195" y="552"/>
                    </a:lnTo>
                    <a:lnTo>
                      <a:pt x="191" y="557"/>
                    </a:lnTo>
                    <a:lnTo>
                      <a:pt x="187" y="557"/>
                    </a:lnTo>
                    <a:lnTo>
                      <a:pt x="187" y="552"/>
                    </a:lnTo>
                    <a:lnTo>
                      <a:pt x="187" y="548"/>
                    </a:lnTo>
                    <a:lnTo>
                      <a:pt x="178" y="539"/>
                    </a:lnTo>
                    <a:lnTo>
                      <a:pt x="169" y="531"/>
                    </a:lnTo>
                    <a:lnTo>
                      <a:pt x="169" y="526"/>
                    </a:lnTo>
                    <a:lnTo>
                      <a:pt x="169" y="522"/>
                    </a:lnTo>
                    <a:lnTo>
                      <a:pt x="169" y="518"/>
                    </a:lnTo>
                    <a:lnTo>
                      <a:pt x="174" y="518"/>
                    </a:lnTo>
                    <a:lnTo>
                      <a:pt x="178" y="518"/>
                    </a:lnTo>
                    <a:lnTo>
                      <a:pt x="178" y="513"/>
                    </a:lnTo>
                    <a:lnTo>
                      <a:pt x="178" y="505"/>
                    </a:lnTo>
                    <a:lnTo>
                      <a:pt x="174" y="500"/>
                    </a:lnTo>
                    <a:lnTo>
                      <a:pt x="165" y="492"/>
                    </a:lnTo>
                    <a:lnTo>
                      <a:pt x="165" y="487"/>
                    </a:lnTo>
                    <a:lnTo>
                      <a:pt x="165" y="483"/>
                    </a:lnTo>
                    <a:lnTo>
                      <a:pt x="156" y="474"/>
                    </a:lnTo>
                    <a:lnTo>
                      <a:pt x="152" y="470"/>
                    </a:lnTo>
                    <a:lnTo>
                      <a:pt x="148" y="457"/>
                    </a:lnTo>
                    <a:lnTo>
                      <a:pt x="139" y="461"/>
                    </a:lnTo>
                    <a:lnTo>
                      <a:pt x="134" y="470"/>
                    </a:lnTo>
                    <a:lnTo>
                      <a:pt x="130" y="474"/>
                    </a:lnTo>
                    <a:lnTo>
                      <a:pt x="130" y="479"/>
                    </a:lnTo>
                    <a:lnTo>
                      <a:pt x="126" y="483"/>
                    </a:lnTo>
                    <a:lnTo>
                      <a:pt x="121" y="483"/>
                    </a:lnTo>
                    <a:lnTo>
                      <a:pt x="117" y="487"/>
                    </a:lnTo>
                    <a:lnTo>
                      <a:pt x="121" y="500"/>
                    </a:lnTo>
                    <a:lnTo>
                      <a:pt x="121" y="505"/>
                    </a:lnTo>
                    <a:lnTo>
                      <a:pt x="121" y="509"/>
                    </a:lnTo>
                    <a:lnTo>
                      <a:pt x="117" y="518"/>
                    </a:lnTo>
                    <a:lnTo>
                      <a:pt x="108" y="500"/>
                    </a:lnTo>
                    <a:lnTo>
                      <a:pt x="104" y="496"/>
                    </a:lnTo>
                    <a:lnTo>
                      <a:pt x="104" y="492"/>
                    </a:lnTo>
                    <a:lnTo>
                      <a:pt x="104" y="487"/>
                    </a:lnTo>
                    <a:lnTo>
                      <a:pt x="104" y="483"/>
                    </a:lnTo>
                    <a:lnTo>
                      <a:pt x="104" y="479"/>
                    </a:lnTo>
                    <a:lnTo>
                      <a:pt x="100" y="470"/>
                    </a:lnTo>
                    <a:lnTo>
                      <a:pt x="100" y="465"/>
                    </a:lnTo>
                    <a:lnTo>
                      <a:pt x="100" y="457"/>
                    </a:lnTo>
                    <a:lnTo>
                      <a:pt x="100" y="452"/>
                    </a:lnTo>
                    <a:lnTo>
                      <a:pt x="104" y="439"/>
                    </a:lnTo>
                    <a:lnTo>
                      <a:pt x="104" y="426"/>
                    </a:lnTo>
                    <a:lnTo>
                      <a:pt x="104" y="422"/>
                    </a:lnTo>
                    <a:lnTo>
                      <a:pt x="100" y="418"/>
                    </a:lnTo>
                    <a:lnTo>
                      <a:pt x="100" y="413"/>
                    </a:lnTo>
                    <a:lnTo>
                      <a:pt x="100" y="409"/>
                    </a:lnTo>
                    <a:lnTo>
                      <a:pt x="100" y="396"/>
                    </a:lnTo>
                    <a:lnTo>
                      <a:pt x="100" y="392"/>
                    </a:lnTo>
                    <a:lnTo>
                      <a:pt x="95" y="383"/>
                    </a:lnTo>
                    <a:lnTo>
                      <a:pt x="100" y="370"/>
                    </a:lnTo>
                    <a:lnTo>
                      <a:pt x="104" y="361"/>
                    </a:lnTo>
                    <a:lnTo>
                      <a:pt x="104" y="352"/>
                    </a:lnTo>
                    <a:lnTo>
                      <a:pt x="100" y="344"/>
                    </a:lnTo>
                    <a:lnTo>
                      <a:pt x="100" y="339"/>
                    </a:lnTo>
                    <a:lnTo>
                      <a:pt x="100" y="335"/>
                    </a:lnTo>
                    <a:lnTo>
                      <a:pt x="100" y="326"/>
                    </a:lnTo>
                    <a:lnTo>
                      <a:pt x="100" y="322"/>
                    </a:lnTo>
                    <a:lnTo>
                      <a:pt x="100" y="313"/>
                    </a:lnTo>
                    <a:lnTo>
                      <a:pt x="100" y="305"/>
                    </a:lnTo>
                    <a:lnTo>
                      <a:pt x="95" y="300"/>
                    </a:lnTo>
                    <a:lnTo>
                      <a:pt x="100" y="292"/>
                    </a:lnTo>
                    <a:lnTo>
                      <a:pt x="95" y="287"/>
                    </a:lnTo>
                    <a:lnTo>
                      <a:pt x="95" y="283"/>
                    </a:lnTo>
                    <a:lnTo>
                      <a:pt x="91" y="279"/>
                    </a:lnTo>
                    <a:lnTo>
                      <a:pt x="87" y="274"/>
                    </a:lnTo>
                    <a:lnTo>
                      <a:pt x="87" y="265"/>
                    </a:lnTo>
                    <a:lnTo>
                      <a:pt x="87" y="261"/>
                    </a:lnTo>
                    <a:lnTo>
                      <a:pt x="78" y="252"/>
                    </a:lnTo>
                    <a:lnTo>
                      <a:pt x="78" y="248"/>
                    </a:lnTo>
                    <a:lnTo>
                      <a:pt x="78" y="244"/>
                    </a:lnTo>
                    <a:lnTo>
                      <a:pt x="78" y="239"/>
                    </a:lnTo>
                    <a:lnTo>
                      <a:pt x="82" y="239"/>
                    </a:lnTo>
                    <a:lnTo>
                      <a:pt x="87" y="239"/>
                    </a:lnTo>
                    <a:lnTo>
                      <a:pt x="87" y="244"/>
                    </a:lnTo>
                    <a:lnTo>
                      <a:pt x="91" y="244"/>
                    </a:lnTo>
                    <a:lnTo>
                      <a:pt x="95" y="239"/>
                    </a:lnTo>
                    <a:lnTo>
                      <a:pt x="100" y="235"/>
                    </a:lnTo>
                    <a:lnTo>
                      <a:pt x="95" y="231"/>
                    </a:lnTo>
                    <a:lnTo>
                      <a:pt x="91" y="226"/>
                    </a:lnTo>
                    <a:lnTo>
                      <a:pt x="87" y="222"/>
                    </a:lnTo>
                    <a:lnTo>
                      <a:pt x="78" y="213"/>
                    </a:lnTo>
                    <a:lnTo>
                      <a:pt x="69" y="196"/>
                    </a:lnTo>
                    <a:lnTo>
                      <a:pt x="69" y="192"/>
                    </a:lnTo>
                    <a:lnTo>
                      <a:pt x="69" y="187"/>
                    </a:lnTo>
                    <a:lnTo>
                      <a:pt x="69" y="183"/>
                    </a:lnTo>
                    <a:lnTo>
                      <a:pt x="69" y="179"/>
                    </a:lnTo>
                    <a:lnTo>
                      <a:pt x="69" y="174"/>
                    </a:lnTo>
                    <a:lnTo>
                      <a:pt x="65" y="170"/>
                    </a:lnTo>
                    <a:lnTo>
                      <a:pt x="56" y="157"/>
                    </a:lnTo>
                    <a:lnTo>
                      <a:pt x="56" y="144"/>
                    </a:lnTo>
                    <a:lnTo>
                      <a:pt x="43" y="135"/>
                    </a:lnTo>
                    <a:lnTo>
                      <a:pt x="34" y="131"/>
                    </a:lnTo>
                    <a:lnTo>
                      <a:pt x="30" y="131"/>
                    </a:lnTo>
                    <a:lnTo>
                      <a:pt x="26" y="126"/>
                    </a:lnTo>
                    <a:lnTo>
                      <a:pt x="21" y="126"/>
                    </a:lnTo>
                    <a:lnTo>
                      <a:pt x="17" y="126"/>
                    </a:lnTo>
                    <a:lnTo>
                      <a:pt x="4" y="113"/>
                    </a:lnTo>
                    <a:lnTo>
                      <a:pt x="4" y="109"/>
                    </a:lnTo>
                    <a:lnTo>
                      <a:pt x="0" y="105"/>
                    </a:lnTo>
                    <a:lnTo>
                      <a:pt x="8" y="100"/>
                    </a:lnTo>
                    <a:lnTo>
                      <a:pt x="13" y="100"/>
                    </a:lnTo>
                    <a:lnTo>
                      <a:pt x="13" y="96"/>
                    </a:lnTo>
                    <a:lnTo>
                      <a:pt x="8" y="87"/>
                    </a:lnTo>
                    <a:lnTo>
                      <a:pt x="8" y="83"/>
                    </a:lnTo>
                    <a:lnTo>
                      <a:pt x="13" y="74"/>
                    </a:lnTo>
                    <a:lnTo>
                      <a:pt x="13" y="70"/>
                    </a:lnTo>
                    <a:lnTo>
                      <a:pt x="21" y="74"/>
                    </a:lnTo>
                    <a:lnTo>
                      <a:pt x="21" y="70"/>
                    </a:lnTo>
                    <a:lnTo>
                      <a:pt x="26" y="70"/>
                    </a:lnTo>
                    <a:lnTo>
                      <a:pt x="26" y="65"/>
                    </a:lnTo>
                    <a:lnTo>
                      <a:pt x="26" y="61"/>
                    </a:lnTo>
                    <a:lnTo>
                      <a:pt x="30" y="57"/>
                    </a:lnTo>
                    <a:lnTo>
                      <a:pt x="39" y="52"/>
                    </a:lnTo>
                    <a:lnTo>
                      <a:pt x="39" y="48"/>
                    </a:lnTo>
                    <a:lnTo>
                      <a:pt x="39" y="39"/>
                    </a:lnTo>
                    <a:lnTo>
                      <a:pt x="39" y="35"/>
                    </a:lnTo>
                    <a:lnTo>
                      <a:pt x="39" y="31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3"/>
                    </a:lnTo>
                    <a:lnTo>
                      <a:pt x="39" y="13"/>
                    </a:lnTo>
                    <a:lnTo>
                      <a:pt x="43" y="13"/>
                    </a:lnTo>
                    <a:lnTo>
                      <a:pt x="43" y="9"/>
                    </a:lnTo>
                    <a:lnTo>
                      <a:pt x="48" y="9"/>
                    </a:lnTo>
                    <a:lnTo>
                      <a:pt x="52" y="5"/>
                    </a:lnTo>
                    <a:lnTo>
                      <a:pt x="56" y="5"/>
                    </a:lnTo>
                    <a:lnTo>
                      <a:pt x="65" y="9"/>
                    </a:lnTo>
                    <a:lnTo>
                      <a:pt x="69" y="9"/>
                    </a:lnTo>
                    <a:lnTo>
                      <a:pt x="69" y="13"/>
                    </a:lnTo>
                    <a:lnTo>
                      <a:pt x="69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7" y="22"/>
                    </a:lnTo>
                    <a:lnTo>
                      <a:pt x="91" y="26"/>
                    </a:lnTo>
                    <a:lnTo>
                      <a:pt x="95" y="31"/>
                    </a:lnTo>
                    <a:lnTo>
                      <a:pt x="95" y="35"/>
                    </a:lnTo>
                    <a:lnTo>
                      <a:pt x="95" y="39"/>
                    </a:lnTo>
                    <a:lnTo>
                      <a:pt x="100" y="48"/>
                    </a:lnTo>
                    <a:lnTo>
                      <a:pt x="104" y="52"/>
                    </a:lnTo>
                    <a:lnTo>
                      <a:pt x="104" y="61"/>
                    </a:lnTo>
                    <a:lnTo>
                      <a:pt x="104" y="70"/>
                    </a:lnTo>
                    <a:lnTo>
                      <a:pt x="108" y="74"/>
                    </a:lnTo>
                    <a:lnTo>
                      <a:pt x="108" y="79"/>
                    </a:lnTo>
                    <a:lnTo>
                      <a:pt x="113" y="83"/>
                    </a:lnTo>
                    <a:lnTo>
                      <a:pt x="121" y="87"/>
                    </a:lnTo>
                    <a:lnTo>
                      <a:pt x="126" y="87"/>
                    </a:lnTo>
                    <a:lnTo>
                      <a:pt x="130" y="92"/>
                    </a:lnTo>
                    <a:lnTo>
                      <a:pt x="134" y="96"/>
                    </a:lnTo>
                    <a:lnTo>
                      <a:pt x="134" y="100"/>
                    </a:lnTo>
                    <a:lnTo>
                      <a:pt x="139" y="105"/>
                    </a:lnTo>
                    <a:lnTo>
                      <a:pt x="152" y="122"/>
                    </a:lnTo>
                    <a:lnTo>
                      <a:pt x="161" y="122"/>
                    </a:lnTo>
                    <a:lnTo>
                      <a:pt x="174" y="126"/>
                    </a:lnTo>
                    <a:lnTo>
                      <a:pt x="178" y="126"/>
                    </a:lnTo>
                    <a:lnTo>
                      <a:pt x="178" y="122"/>
                    </a:lnTo>
                    <a:lnTo>
                      <a:pt x="178" y="118"/>
                    </a:lnTo>
                    <a:lnTo>
                      <a:pt x="178" y="113"/>
                    </a:lnTo>
                    <a:lnTo>
                      <a:pt x="182" y="109"/>
                    </a:lnTo>
                    <a:lnTo>
                      <a:pt x="191" y="105"/>
                    </a:lnTo>
                    <a:lnTo>
                      <a:pt x="195" y="105"/>
                    </a:lnTo>
                    <a:lnTo>
                      <a:pt x="200" y="113"/>
                    </a:lnTo>
                    <a:lnTo>
                      <a:pt x="200" y="118"/>
                    </a:lnTo>
                    <a:lnTo>
                      <a:pt x="200" y="122"/>
                    </a:lnTo>
                    <a:lnTo>
                      <a:pt x="200" y="126"/>
                    </a:lnTo>
                    <a:lnTo>
                      <a:pt x="195" y="126"/>
                    </a:lnTo>
                    <a:lnTo>
                      <a:pt x="200" y="131"/>
                    </a:lnTo>
                    <a:lnTo>
                      <a:pt x="204" y="131"/>
                    </a:lnTo>
                    <a:lnTo>
                      <a:pt x="204" y="126"/>
                    </a:lnTo>
                    <a:lnTo>
                      <a:pt x="208" y="126"/>
                    </a:lnTo>
                    <a:lnTo>
                      <a:pt x="208" y="122"/>
                    </a:lnTo>
                    <a:lnTo>
                      <a:pt x="221" y="122"/>
                    </a:lnTo>
                    <a:lnTo>
                      <a:pt x="226" y="131"/>
                    </a:lnTo>
                    <a:lnTo>
                      <a:pt x="230" y="135"/>
                    </a:lnTo>
                    <a:lnTo>
                      <a:pt x="230" y="139"/>
                    </a:lnTo>
                    <a:lnTo>
                      <a:pt x="234" y="139"/>
                    </a:lnTo>
                    <a:lnTo>
                      <a:pt x="239" y="135"/>
                    </a:lnTo>
                    <a:lnTo>
                      <a:pt x="239" y="126"/>
                    </a:lnTo>
                    <a:lnTo>
                      <a:pt x="252" y="131"/>
                    </a:lnTo>
                    <a:lnTo>
                      <a:pt x="256" y="135"/>
                    </a:lnTo>
                    <a:lnTo>
                      <a:pt x="274" y="131"/>
                    </a:lnTo>
                    <a:lnTo>
                      <a:pt x="278" y="126"/>
                    </a:lnTo>
                    <a:lnTo>
                      <a:pt x="278" y="122"/>
                    </a:lnTo>
                    <a:lnTo>
                      <a:pt x="278" y="118"/>
                    </a:lnTo>
                    <a:lnTo>
                      <a:pt x="278" y="113"/>
                    </a:lnTo>
                    <a:lnTo>
                      <a:pt x="274" y="109"/>
                    </a:lnTo>
                    <a:lnTo>
                      <a:pt x="274" y="105"/>
                    </a:lnTo>
                    <a:lnTo>
                      <a:pt x="274" y="100"/>
                    </a:lnTo>
                    <a:lnTo>
                      <a:pt x="278" y="92"/>
                    </a:lnTo>
                    <a:lnTo>
                      <a:pt x="278" y="87"/>
                    </a:lnTo>
                    <a:lnTo>
                      <a:pt x="282" y="87"/>
                    </a:lnTo>
                    <a:lnTo>
                      <a:pt x="282" y="83"/>
                    </a:lnTo>
                    <a:lnTo>
                      <a:pt x="287" y="83"/>
                    </a:lnTo>
                    <a:lnTo>
                      <a:pt x="287" y="79"/>
                    </a:lnTo>
                    <a:lnTo>
                      <a:pt x="291" y="74"/>
                    </a:lnTo>
                    <a:lnTo>
                      <a:pt x="300" y="79"/>
                    </a:lnTo>
                    <a:lnTo>
                      <a:pt x="304" y="83"/>
                    </a:lnTo>
                    <a:lnTo>
                      <a:pt x="308" y="92"/>
                    </a:lnTo>
                    <a:lnTo>
                      <a:pt x="308" y="96"/>
                    </a:lnTo>
                    <a:lnTo>
                      <a:pt x="313" y="100"/>
                    </a:lnTo>
                    <a:lnTo>
                      <a:pt x="317" y="100"/>
                    </a:lnTo>
                    <a:lnTo>
                      <a:pt x="321" y="96"/>
                    </a:lnTo>
                    <a:lnTo>
                      <a:pt x="326" y="96"/>
                    </a:lnTo>
                    <a:lnTo>
                      <a:pt x="326" y="92"/>
                    </a:lnTo>
                    <a:lnTo>
                      <a:pt x="330" y="92"/>
                    </a:lnTo>
                    <a:lnTo>
                      <a:pt x="335" y="87"/>
                    </a:lnTo>
                    <a:lnTo>
                      <a:pt x="339" y="87"/>
                    </a:lnTo>
                    <a:lnTo>
                      <a:pt x="348" y="83"/>
                    </a:lnTo>
                    <a:lnTo>
                      <a:pt x="352" y="79"/>
                    </a:lnTo>
                    <a:lnTo>
                      <a:pt x="356" y="74"/>
                    </a:lnTo>
                    <a:lnTo>
                      <a:pt x="361" y="70"/>
                    </a:lnTo>
                    <a:lnTo>
                      <a:pt x="365" y="70"/>
                    </a:lnTo>
                    <a:lnTo>
                      <a:pt x="369" y="65"/>
                    </a:lnTo>
                    <a:lnTo>
                      <a:pt x="374" y="61"/>
                    </a:lnTo>
                    <a:lnTo>
                      <a:pt x="369" y="57"/>
                    </a:lnTo>
                    <a:lnTo>
                      <a:pt x="365" y="52"/>
                    </a:lnTo>
                    <a:lnTo>
                      <a:pt x="361" y="48"/>
                    </a:lnTo>
                    <a:lnTo>
                      <a:pt x="361" y="44"/>
                    </a:lnTo>
                    <a:lnTo>
                      <a:pt x="361" y="39"/>
                    </a:lnTo>
                    <a:lnTo>
                      <a:pt x="356" y="35"/>
                    </a:lnTo>
                    <a:lnTo>
                      <a:pt x="352" y="26"/>
                    </a:lnTo>
                    <a:lnTo>
                      <a:pt x="356" y="22"/>
                    </a:lnTo>
                    <a:lnTo>
                      <a:pt x="361" y="18"/>
                    </a:lnTo>
                    <a:lnTo>
                      <a:pt x="365" y="13"/>
                    </a:lnTo>
                    <a:lnTo>
                      <a:pt x="369" y="13"/>
                    </a:lnTo>
                    <a:lnTo>
                      <a:pt x="374" y="13"/>
                    </a:lnTo>
                    <a:lnTo>
                      <a:pt x="378" y="13"/>
                    </a:lnTo>
                    <a:lnTo>
                      <a:pt x="382" y="13"/>
                    </a:lnTo>
                    <a:lnTo>
                      <a:pt x="387" y="9"/>
                    </a:lnTo>
                    <a:lnTo>
                      <a:pt x="391" y="9"/>
                    </a:lnTo>
                    <a:lnTo>
                      <a:pt x="400" y="0"/>
                    </a:lnTo>
                    <a:lnTo>
                      <a:pt x="404" y="0"/>
                    </a:lnTo>
                    <a:lnTo>
                      <a:pt x="408" y="0"/>
                    </a:lnTo>
                    <a:lnTo>
                      <a:pt x="417" y="5"/>
                    </a:lnTo>
                    <a:lnTo>
                      <a:pt x="421" y="9"/>
                    </a:lnTo>
                    <a:lnTo>
                      <a:pt x="421" y="13"/>
                    </a:lnTo>
                    <a:lnTo>
                      <a:pt x="421" y="18"/>
                    </a:lnTo>
                    <a:lnTo>
                      <a:pt x="421" y="31"/>
                    </a:lnTo>
                    <a:lnTo>
                      <a:pt x="417" y="35"/>
                    </a:lnTo>
                    <a:lnTo>
                      <a:pt x="421" y="35"/>
                    </a:lnTo>
                    <a:lnTo>
                      <a:pt x="426" y="44"/>
                    </a:lnTo>
                    <a:lnTo>
                      <a:pt x="435" y="44"/>
                    </a:lnTo>
                    <a:lnTo>
                      <a:pt x="439" y="44"/>
                    </a:lnTo>
                    <a:lnTo>
                      <a:pt x="443" y="39"/>
                    </a:lnTo>
                    <a:lnTo>
                      <a:pt x="448" y="39"/>
                    </a:lnTo>
                    <a:lnTo>
                      <a:pt x="452" y="39"/>
                    </a:lnTo>
                    <a:lnTo>
                      <a:pt x="452" y="44"/>
                    </a:lnTo>
                    <a:lnTo>
                      <a:pt x="452" y="48"/>
                    </a:lnTo>
                    <a:lnTo>
                      <a:pt x="465" y="48"/>
                    </a:lnTo>
                    <a:lnTo>
                      <a:pt x="469" y="52"/>
                    </a:lnTo>
                    <a:lnTo>
                      <a:pt x="474" y="48"/>
                    </a:lnTo>
                    <a:lnTo>
                      <a:pt x="478" y="48"/>
                    </a:lnTo>
                    <a:lnTo>
                      <a:pt x="487" y="52"/>
                    </a:lnTo>
                    <a:lnTo>
                      <a:pt x="491" y="52"/>
                    </a:lnTo>
                    <a:lnTo>
                      <a:pt x="495" y="52"/>
                    </a:lnTo>
                    <a:lnTo>
                      <a:pt x="495" y="57"/>
                    </a:lnTo>
                    <a:lnTo>
                      <a:pt x="500" y="79"/>
                    </a:lnTo>
                    <a:lnTo>
                      <a:pt x="504" y="83"/>
                    </a:lnTo>
                    <a:lnTo>
                      <a:pt x="504" y="87"/>
                    </a:lnTo>
                    <a:lnTo>
                      <a:pt x="504" y="92"/>
                    </a:lnTo>
                    <a:lnTo>
                      <a:pt x="504" y="96"/>
                    </a:lnTo>
                    <a:lnTo>
                      <a:pt x="508" y="100"/>
                    </a:lnTo>
                    <a:lnTo>
                      <a:pt x="513" y="105"/>
                    </a:lnTo>
                    <a:lnTo>
                      <a:pt x="513" y="109"/>
                    </a:lnTo>
                    <a:lnTo>
                      <a:pt x="508" y="113"/>
                    </a:lnTo>
                    <a:lnTo>
                      <a:pt x="504" y="113"/>
                    </a:lnTo>
                    <a:lnTo>
                      <a:pt x="504" y="118"/>
                    </a:lnTo>
                    <a:lnTo>
                      <a:pt x="504" y="122"/>
                    </a:lnTo>
                    <a:lnTo>
                      <a:pt x="508" y="126"/>
                    </a:lnTo>
                    <a:lnTo>
                      <a:pt x="513" y="126"/>
                    </a:lnTo>
                    <a:lnTo>
                      <a:pt x="517" y="131"/>
                    </a:lnTo>
                    <a:lnTo>
                      <a:pt x="517" y="135"/>
                    </a:lnTo>
                    <a:lnTo>
                      <a:pt x="522" y="135"/>
                    </a:lnTo>
                    <a:lnTo>
                      <a:pt x="526" y="135"/>
                    </a:lnTo>
                    <a:lnTo>
                      <a:pt x="530" y="139"/>
                    </a:lnTo>
                    <a:lnTo>
                      <a:pt x="535" y="139"/>
                    </a:lnTo>
                    <a:lnTo>
                      <a:pt x="543" y="139"/>
                    </a:lnTo>
                    <a:lnTo>
                      <a:pt x="552" y="139"/>
                    </a:lnTo>
                    <a:lnTo>
                      <a:pt x="556" y="139"/>
                    </a:lnTo>
                    <a:lnTo>
                      <a:pt x="561" y="139"/>
                    </a:lnTo>
                    <a:lnTo>
                      <a:pt x="561" y="144"/>
                    </a:lnTo>
                    <a:lnTo>
                      <a:pt x="565" y="144"/>
                    </a:lnTo>
                    <a:lnTo>
                      <a:pt x="578" y="135"/>
                    </a:lnTo>
                    <a:lnTo>
                      <a:pt x="587" y="131"/>
                    </a:lnTo>
                    <a:lnTo>
                      <a:pt x="582" y="126"/>
                    </a:lnTo>
                    <a:lnTo>
                      <a:pt x="582" y="122"/>
                    </a:lnTo>
                    <a:lnTo>
                      <a:pt x="587" y="118"/>
                    </a:lnTo>
                    <a:lnTo>
                      <a:pt x="591" y="113"/>
                    </a:lnTo>
                    <a:lnTo>
                      <a:pt x="595" y="126"/>
                    </a:lnTo>
                    <a:lnTo>
                      <a:pt x="595" y="131"/>
                    </a:lnTo>
                    <a:lnTo>
                      <a:pt x="595" y="135"/>
                    </a:lnTo>
                    <a:lnTo>
                      <a:pt x="600" y="135"/>
                    </a:lnTo>
                    <a:lnTo>
                      <a:pt x="613" y="131"/>
                    </a:lnTo>
                    <a:lnTo>
                      <a:pt x="617" y="126"/>
                    </a:lnTo>
                    <a:lnTo>
                      <a:pt x="617" y="122"/>
                    </a:lnTo>
                    <a:lnTo>
                      <a:pt x="622" y="122"/>
                    </a:lnTo>
                    <a:lnTo>
                      <a:pt x="630" y="122"/>
                    </a:lnTo>
                    <a:lnTo>
                      <a:pt x="630" y="118"/>
                    </a:lnTo>
                    <a:lnTo>
                      <a:pt x="635" y="118"/>
                    </a:lnTo>
                    <a:lnTo>
                      <a:pt x="635" y="122"/>
                    </a:lnTo>
                    <a:lnTo>
                      <a:pt x="635" y="126"/>
                    </a:lnTo>
                    <a:lnTo>
                      <a:pt x="635" y="131"/>
                    </a:lnTo>
                    <a:lnTo>
                      <a:pt x="630" y="131"/>
                    </a:lnTo>
                    <a:lnTo>
                      <a:pt x="635" y="135"/>
                    </a:lnTo>
                    <a:lnTo>
                      <a:pt x="635" y="139"/>
                    </a:lnTo>
                    <a:lnTo>
                      <a:pt x="639" y="139"/>
                    </a:lnTo>
                    <a:lnTo>
                      <a:pt x="643" y="144"/>
                    </a:lnTo>
                    <a:lnTo>
                      <a:pt x="648" y="144"/>
                    </a:lnTo>
                    <a:lnTo>
                      <a:pt x="652" y="144"/>
                    </a:lnTo>
                    <a:lnTo>
                      <a:pt x="652" y="139"/>
                    </a:lnTo>
                    <a:lnTo>
                      <a:pt x="656" y="139"/>
                    </a:lnTo>
                    <a:lnTo>
                      <a:pt x="665" y="135"/>
                    </a:lnTo>
                    <a:lnTo>
                      <a:pt x="669" y="135"/>
                    </a:lnTo>
                    <a:lnTo>
                      <a:pt x="674" y="135"/>
                    </a:lnTo>
                    <a:lnTo>
                      <a:pt x="678" y="135"/>
                    </a:lnTo>
                    <a:lnTo>
                      <a:pt x="682" y="131"/>
                    </a:lnTo>
                    <a:lnTo>
                      <a:pt x="687" y="131"/>
                    </a:lnTo>
                    <a:lnTo>
                      <a:pt x="691" y="131"/>
                    </a:lnTo>
                    <a:lnTo>
                      <a:pt x="695" y="131"/>
                    </a:lnTo>
                    <a:lnTo>
                      <a:pt x="700" y="131"/>
                    </a:lnTo>
                    <a:lnTo>
                      <a:pt x="704" y="131"/>
                    </a:lnTo>
                    <a:lnTo>
                      <a:pt x="708" y="131"/>
                    </a:lnTo>
                    <a:lnTo>
                      <a:pt x="708" y="135"/>
                    </a:lnTo>
                    <a:lnTo>
                      <a:pt x="708" y="144"/>
                    </a:lnTo>
                    <a:lnTo>
                      <a:pt x="708" y="148"/>
                    </a:lnTo>
                    <a:lnTo>
                      <a:pt x="717" y="157"/>
                    </a:lnTo>
                    <a:lnTo>
                      <a:pt x="722" y="157"/>
                    </a:lnTo>
                    <a:lnTo>
                      <a:pt x="722" y="152"/>
                    </a:lnTo>
                    <a:lnTo>
                      <a:pt x="726" y="152"/>
                    </a:lnTo>
                    <a:lnTo>
                      <a:pt x="730" y="148"/>
                    </a:lnTo>
                    <a:lnTo>
                      <a:pt x="735" y="148"/>
                    </a:lnTo>
                    <a:lnTo>
                      <a:pt x="735" y="157"/>
                    </a:lnTo>
                    <a:lnTo>
                      <a:pt x="739" y="161"/>
                    </a:lnTo>
                    <a:lnTo>
                      <a:pt x="743" y="161"/>
                    </a:lnTo>
                    <a:lnTo>
                      <a:pt x="748" y="157"/>
                    </a:lnTo>
                    <a:lnTo>
                      <a:pt x="752" y="157"/>
                    </a:lnTo>
                    <a:lnTo>
                      <a:pt x="761" y="165"/>
                    </a:lnTo>
                    <a:lnTo>
                      <a:pt x="765" y="170"/>
                    </a:lnTo>
                    <a:lnTo>
                      <a:pt x="765" y="174"/>
                    </a:lnTo>
                    <a:lnTo>
                      <a:pt x="774" y="179"/>
                    </a:lnTo>
                    <a:lnTo>
                      <a:pt x="778" y="179"/>
                    </a:lnTo>
                    <a:lnTo>
                      <a:pt x="778" y="174"/>
                    </a:lnTo>
                    <a:lnTo>
                      <a:pt x="782" y="170"/>
                    </a:lnTo>
                    <a:lnTo>
                      <a:pt x="795" y="165"/>
                    </a:lnTo>
                    <a:lnTo>
                      <a:pt x="804" y="165"/>
                    </a:lnTo>
                    <a:lnTo>
                      <a:pt x="809" y="170"/>
                    </a:lnTo>
                    <a:lnTo>
                      <a:pt x="817" y="174"/>
                    </a:lnTo>
                    <a:lnTo>
                      <a:pt x="826" y="179"/>
                    </a:lnTo>
                    <a:lnTo>
                      <a:pt x="826" y="183"/>
                    </a:lnTo>
                    <a:lnTo>
                      <a:pt x="835" y="187"/>
                    </a:lnTo>
                    <a:lnTo>
                      <a:pt x="843" y="187"/>
                    </a:lnTo>
                    <a:lnTo>
                      <a:pt x="848" y="192"/>
                    </a:lnTo>
                    <a:lnTo>
                      <a:pt x="852" y="192"/>
                    </a:lnTo>
                    <a:lnTo>
                      <a:pt x="856" y="192"/>
                    </a:lnTo>
                    <a:lnTo>
                      <a:pt x="856" y="196"/>
                    </a:lnTo>
                    <a:lnTo>
                      <a:pt x="861" y="196"/>
                    </a:lnTo>
                    <a:lnTo>
                      <a:pt x="865" y="200"/>
                    </a:lnTo>
                    <a:lnTo>
                      <a:pt x="865" y="205"/>
                    </a:lnTo>
                    <a:lnTo>
                      <a:pt x="869" y="205"/>
                    </a:lnTo>
                    <a:lnTo>
                      <a:pt x="869" y="209"/>
                    </a:lnTo>
                    <a:lnTo>
                      <a:pt x="874" y="213"/>
                    </a:lnTo>
                    <a:lnTo>
                      <a:pt x="878" y="213"/>
                    </a:lnTo>
                    <a:lnTo>
                      <a:pt x="882" y="213"/>
                    </a:lnTo>
                    <a:lnTo>
                      <a:pt x="895" y="209"/>
                    </a:lnTo>
                    <a:lnTo>
                      <a:pt x="900" y="209"/>
                    </a:lnTo>
                    <a:lnTo>
                      <a:pt x="904" y="213"/>
                    </a:lnTo>
                    <a:lnTo>
                      <a:pt x="909" y="218"/>
                    </a:lnTo>
                    <a:lnTo>
                      <a:pt x="909" y="222"/>
                    </a:lnTo>
                    <a:lnTo>
                      <a:pt x="909" y="226"/>
                    </a:lnTo>
                    <a:lnTo>
                      <a:pt x="913" y="226"/>
                    </a:lnTo>
                    <a:lnTo>
                      <a:pt x="917" y="226"/>
                    </a:lnTo>
                    <a:lnTo>
                      <a:pt x="922" y="226"/>
                    </a:lnTo>
                    <a:lnTo>
                      <a:pt x="926" y="226"/>
                    </a:lnTo>
                    <a:lnTo>
                      <a:pt x="926" y="231"/>
                    </a:lnTo>
                    <a:lnTo>
                      <a:pt x="930" y="235"/>
                    </a:lnTo>
                    <a:lnTo>
                      <a:pt x="935" y="235"/>
                    </a:lnTo>
                    <a:lnTo>
                      <a:pt x="939" y="235"/>
                    </a:lnTo>
                    <a:lnTo>
                      <a:pt x="939" y="244"/>
                    </a:lnTo>
                    <a:lnTo>
                      <a:pt x="943" y="252"/>
                    </a:lnTo>
                    <a:lnTo>
                      <a:pt x="943" y="257"/>
                    </a:lnTo>
                    <a:lnTo>
                      <a:pt x="939" y="257"/>
                    </a:lnTo>
                    <a:lnTo>
                      <a:pt x="939" y="261"/>
                    </a:lnTo>
                    <a:lnTo>
                      <a:pt x="939" y="265"/>
                    </a:lnTo>
                    <a:lnTo>
                      <a:pt x="939" y="270"/>
                    </a:lnTo>
                    <a:lnTo>
                      <a:pt x="939" y="279"/>
                    </a:lnTo>
                    <a:lnTo>
                      <a:pt x="939" y="283"/>
                    </a:lnTo>
                    <a:lnTo>
                      <a:pt x="939" y="287"/>
                    </a:lnTo>
                    <a:lnTo>
                      <a:pt x="935" y="287"/>
                    </a:lnTo>
                    <a:lnTo>
                      <a:pt x="930" y="287"/>
                    </a:lnTo>
                    <a:lnTo>
                      <a:pt x="926" y="287"/>
                    </a:lnTo>
                    <a:lnTo>
                      <a:pt x="926" y="283"/>
                    </a:lnTo>
                    <a:lnTo>
                      <a:pt x="922" y="283"/>
                    </a:lnTo>
                    <a:lnTo>
                      <a:pt x="913" y="287"/>
                    </a:lnTo>
                    <a:lnTo>
                      <a:pt x="909" y="287"/>
                    </a:lnTo>
                    <a:lnTo>
                      <a:pt x="904" y="292"/>
                    </a:lnTo>
                    <a:lnTo>
                      <a:pt x="900" y="300"/>
                    </a:lnTo>
                    <a:lnTo>
                      <a:pt x="891" y="309"/>
                    </a:lnTo>
                    <a:lnTo>
                      <a:pt x="887" y="309"/>
                    </a:lnTo>
                    <a:lnTo>
                      <a:pt x="882" y="313"/>
                    </a:lnTo>
                    <a:lnTo>
                      <a:pt x="865" y="313"/>
                    </a:lnTo>
                    <a:lnTo>
                      <a:pt x="865" y="309"/>
                    </a:lnTo>
                    <a:lnTo>
                      <a:pt x="861" y="309"/>
                    </a:lnTo>
                    <a:lnTo>
                      <a:pt x="852" y="309"/>
                    </a:lnTo>
                    <a:lnTo>
                      <a:pt x="843" y="313"/>
                    </a:lnTo>
                    <a:lnTo>
                      <a:pt x="835" y="318"/>
                    </a:lnTo>
                    <a:lnTo>
                      <a:pt x="813" y="322"/>
                    </a:lnTo>
                    <a:lnTo>
                      <a:pt x="813" y="326"/>
                    </a:lnTo>
                    <a:lnTo>
                      <a:pt x="809" y="331"/>
                    </a:lnTo>
                    <a:lnTo>
                      <a:pt x="813" y="331"/>
                    </a:lnTo>
                    <a:lnTo>
                      <a:pt x="813" y="335"/>
                    </a:lnTo>
                    <a:lnTo>
                      <a:pt x="817" y="335"/>
                    </a:lnTo>
                    <a:lnTo>
                      <a:pt x="822" y="335"/>
                    </a:lnTo>
                    <a:lnTo>
                      <a:pt x="822" y="339"/>
                    </a:lnTo>
                    <a:lnTo>
                      <a:pt x="822" y="344"/>
                    </a:lnTo>
                    <a:lnTo>
                      <a:pt x="822" y="348"/>
                    </a:lnTo>
                    <a:lnTo>
                      <a:pt x="822" y="352"/>
                    </a:lnTo>
                    <a:lnTo>
                      <a:pt x="826" y="361"/>
                    </a:lnTo>
                    <a:lnTo>
                      <a:pt x="826" y="365"/>
                    </a:lnTo>
                    <a:lnTo>
                      <a:pt x="826" y="374"/>
                    </a:lnTo>
                    <a:lnTo>
                      <a:pt x="822" y="379"/>
                    </a:lnTo>
                    <a:lnTo>
                      <a:pt x="817" y="379"/>
                    </a:lnTo>
                    <a:lnTo>
                      <a:pt x="813" y="379"/>
                    </a:lnTo>
                    <a:lnTo>
                      <a:pt x="817" y="387"/>
                    </a:lnTo>
                    <a:lnTo>
                      <a:pt x="822" y="387"/>
                    </a:lnTo>
                    <a:lnTo>
                      <a:pt x="826" y="387"/>
                    </a:lnTo>
                    <a:lnTo>
                      <a:pt x="826" y="383"/>
                    </a:lnTo>
                    <a:lnTo>
                      <a:pt x="830" y="374"/>
                    </a:lnTo>
                    <a:lnTo>
                      <a:pt x="835" y="379"/>
                    </a:lnTo>
                    <a:lnTo>
                      <a:pt x="835" y="383"/>
                    </a:lnTo>
                    <a:lnTo>
                      <a:pt x="835" y="387"/>
                    </a:lnTo>
                    <a:lnTo>
                      <a:pt x="835" y="392"/>
                    </a:lnTo>
                    <a:lnTo>
                      <a:pt x="839" y="392"/>
                    </a:lnTo>
                    <a:lnTo>
                      <a:pt x="843" y="392"/>
                    </a:lnTo>
                    <a:lnTo>
                      <a:pt x="852" y="396"/>
                    </a:lnTo>
                    <a:lnTo>
                      <a:pt x="852" y="400"/>
                    </a:lnTo>
                    <a:lnTo>
                      <a:pt x="852" y="405"/>
                    </a:lnTo>
                    <a:lnTo>
                      <a:pt x="852" y="409"/>
                    </a:lnTo>
                    <a:lnTo>
                      <a:pt x="856" y="418"/>
                    </a:lnTo>
                    <a:lnTo>
                      <a:pt x="874" y="435"/>
                    </a:lnTo>
                    <a:lnTo>
                      <a:pt x="878" y="439"/>
                    </a:lnTo>
                    <a:lnTo>
                      <a:pt x="882" y="444"/>
                    </a:lnTo>
                    <a:lnTo>
                      <a:pt x="882" y="448"/>
                    </a:lnTo>
                    <a:lnTo>
                      <a:pt x="882" y="452"/>
                    </a:lnTo>
                    <a:lnTo>
                      <a:pt x="882" y="465"/>
                    </a:lnTo>
                    <a:lnTo>
                      <a:pt x="882" y="483"/>
                    </a:lnTo>
                    <a:lnTo>
                      <a:pt x="887" y="487"/>
                    </a:lnTo>
                    <a:lnTo>
                      <a:pt x="887" y="492"/>
                    </a:lnTo>
                    <a:lnTo>
                      <a:pt x="882" y="492"/>
                    </a:lnTo>
                    <a:lnTo>
                      <a:pt x="882" y="496"/>
                    </a:lnTo>
                    <a:lnTo>
                      <a:pt x="878" y="496"/>
                    </a:lnTo>
                    <a:lnTo>
                      <a:pt x="878" y="500"/>
                    </a:lnTo>
                    <a:lnTo>
                      <a:pt x="878" y="505"/>
                    </a:lnTo>
                    <a:lnTo>
                      <a:pt x="878" y="509"/>
                    </a:lnTo>
                    <a:lnTo>
                      <a:pt x="874" y="522"/>
                    </a:lnTo>
                    <a:lnTo>
                      <a:pt x="861" y="522"/>
                    </a:lnTo>
                    <a:lnTo>
                      <a:pt x="856" y="522"/>
                    </a:lnTo>
                    <a:lnTo>
                      <a:pt x="852" y="518"/>
                    </a:lnTo>
                    <a:lnTo>
                      <a:pt x="848" y="518"/>
                    </a:lnTo>
                    <a:lnTo>
                      <a:pt x="843" y="518"/>
                    </a:lnTo>
                    <a:lnTo>
                      <a:pt x="848" y="509"/>
                    </a:lnTo>
                    <a:lnTo>
                      <a:pt x="848" y="505"/>
                    </a:lnTo>
                    <a:lnTo>
                      <a:pt x="848" y="500"/>
                    </a:lnTo>
                    <a:lnTo>
                      <a:pt x="843" y="496"/>
                    </a:lnTo>
                    <a:lnTo>
                      <a:pt x="839" y="496"/>
                    </a:lnTo>
                    <a:lnTo>
                      <a:pt x="839" y="500"/>
                    </a:lnTo>
                    <a:lnTo>
                      <a:pt x="839" y="505"/>
                    </a:lnTo>
                    <a:lnTo>
                      <a:pt x="843" y="509"/>
                    </a:lnTo>
                    <a:lnTo>
                      <a:pt x="839" y="509"/>
                    </a:lnTo>
                    <a:lnTo>
                      <a:pt x="835" y="509"/>
                    </a:lnTo>
                    <a:lnTo>
                      <a:pt x="835" y="505"/>
                    </a:lnTo>
                    <a:lnTo>
                      <a:pt x="835" y="496"/>
                    </a:lnTo>
                    <a:lnTo>
                      <a:pt x="835" y="492"/>
                    </a:lnTo>
                    <a:lnTo>
                      <a:pt x="835" y="487"/>
                    </a:lnTo>
                    <a:lnTo>
                      <a:pt x="830" y="487"/>
                    </a:lnTo>
                    <a:lnTo>
                      <a:pt x="830" y="483"/>
                    </a:lnTo>
                    <a:lnTo>
                      <a:pt x="826" y="483"/>
                    </a:lnTo>
                    <a:lnTo>
                      <a:pt x="822" y="483"/>
                    </a:lnTo>
                    <a:lnTo>
                      <a:pt x="817" y="483"/>
                    </a:lnTo>
                    <a:lnTo>
                      <a:pt x="813" y="479"/>
                    </a:lnTo>
                    <a:lnTo>
                      <a:pt x="813" y="474"/>
                    </a:lnTo>
                    <a:lnTo>
                      <a:pt x="817" y="470"/>
                    </a:lnTo>
                    <a:lnTo>
                      <a:pt x="813" y="461"/>
                    </a:lnTo>
                    <a:lnTo>
                      <a:pt x="813" y="457"/>
                    </a:lnTo>
                    <a:lnTo>
                      <a:pt x="809" y="448"/>
                    </a:lnTo>
                    <a:lnTo>
                      <a:pt x="804" y="448"/>
                    </a:lnTo>
                    <a:lnTo>
                      <a:pt x="791" y="448"/>
                    </a:lnTo>
                    <a:lnTo>
                      <a:pt x="787" y="448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8" y="457"/>
                    </a:lnTo>
                    <a:lnTo>
                      <a:pt x="774" y="457"/>
                    </a:lnTo>
                    <a:lnTo>
                      <a:pt x="774" y="452"/>
                    </a:lnTo>
                    <a:lnTo>
                      <a:pt x="769" y="452"/>
                    </a:lnTo>
                    <a:lnTo>
                      <a:pt x="769" y="448"/>
                    </a:lnTo>
                    <a:lnTo>
                      <a:pt x="769" y="444"/>
                    </a:lnTo>
                    <a:lnTo>
                      <a:pt x="769" y="439"/>
                    </a:lnTo>
                    <a:lnTo>
                      <a:pt x="761" y="439"/>
                    </a:lnTo>
                    <a:lnTo>
                      <a:pt x="752" y="439"/>
                    </a:lnTo>
                    <a:lnTo>
                      <a:pt x="752" y="435"/>
                    </a:lnTo>
                    <a:lnTo>
                      <a:pt x="748" y="435"/>
                    </a:lnTo>
                    <a:lnTo>
                      <a:pt x="748" y="431"/>
                    </a:lnTo>
                    <a:lnTo>
                      <a:pt x="743" y="435"/>
                    </a:lnTo>
                    <a:lnTo>
                      <a:pt x="743" y="439"/>
                    </a:lnTo>
                    <a:lnTo>
                      <a:pt x="739" y="444"/>
                    </a:lnTo>
                    <a:lnTo>
                      <a:pt x="743" y="448"/>
                    </a:lnTo>
                    <a:lnTo>
                      <a:pt x="743" y="452"/>
                    </a:lnTo>
                    <a:lnTo>
                      <a:pt x="748" y="452"/>
                    </a:lnTo>
                    <a:lnTo>
                      <a:pt x="743" y="465"/>
                    </a:lnTo>
                    <a:lnTo>
                      <a:pt x="735" y="470"/>
                    </a:lnTo>
                    <a:lnTo>
                      <a:pt x="730" y="470"/>
                    </a:lnTo>
                    <a:lnTo>
                      <a:pt x="730" y="474"/>
                    </a:lnTo>
                    <a:lnTo>
                      <a:pt x="726" y="470"/>
                    </a:lnTo>
                    <a:lnTo>
                      <a:pt x="722" y="465"/>
                    </a:lnTo>
                    <a:lnTo>
                      <a:pt x="717" y="461"/>
                    </a:lnTo>
                    <a:lnTo>
                      <a:pt x="713" y="461"/>
                    </a:lnTo>
                    <a:lnTo>
                      <a:pt x="708" y="461"/>
                    </a:lnTo>
                    <a:lnTo>
                      <a:pt x="700" y="470"/>
                    </a:lnTo>
                    <a:lnTo>
                      <a:pt x="691" y="470"/>
                    </a:lnTo>
                    <a:lnTo>
                      <a:pt x="691" y="474"/>
                    </a:lnTo>
                    <a:lnTo>
                      <a:pt x="695" y="479"/>
                    </a:lnTo>
                    <a:lnTo>
                      <a:pt x="700" y="483"/>
                    </a:lnTo>
                    <a:lnTo>
                      <a:pt x="700" y="487"/>
                    </a:lnTo>
                    <a:lnTo>
                      <a:pt x="695" y="492"/>
                    </a:lnTo>
                    <a:lnTo>
                      <a:pt x="691" y="500"/>
                    </a:lnTo>
                    <a:lnTo>
                      <a:pt x="691" y="505"/>
                    </a:lnTo>
                    <a:lnTo>
                      <a:pt x="687" y="505"/>
                    </a:lnTo>
                    <a:lnTo>
                      <a:pt x="682" y="500"/>
                    </a:lnTo>
                    <a:lnTo>
                      <a:pt x="678" y="496"/>
                    </a:lnTo>
                    <a:lnTo>
                      <a:pt x="678" y="487"/>
                    </a:lnTo>
                    <a:lnTo>
                      <a:pt x="678" y="479"/>
                    </a:lnTo>
                    <a:lnTo>
                      <a:pt x="669" y="470"/>
                    </a:lnTo>
                    <a:lnTo>
                      <a:pt x="665" y="474"/>
                    </a:lnTo>
                    <a:lnTo>
                      <a:pt x="665" y="479"/>
                    </a:lnTo>
                    <a:lnTo>
                      <a:pt x="669" y="479"/>
                    </a:lnTo>
                    <a:lnTo>
                      <a:pt x="669" y="483"/>
                    </a:lnTo>
                    <a:lnTo>
                      <a:pt x="674" y="483"/>
                    </a:lnTo>
                    <a:lnTo>
                      <a:pt x="674" y="487"/>
                    </a:lnTo>
                    <a:lnTo>
                      <a:pt x="669" y="496"/>
                    </a:lnTo>
                    <a:lnTo>
                      <a:pt x="656" y="505"/>
                    </a:lnTo>
                    <a:lnTo>
                      <a:pt x="656" y="500"/>
                    </a:lnTo>
                    <a:lnTo>
                      <a:pt x="648" y="492"/>
                    </a:lnTo>
                    <a:lnTo>
                      <a:pt x="630" y="479"/>
                    </a:lnTo>
                    <a:lnTo>
                      <a:pt x="626" y="483"/>
                    </a:lnTo>
                    <a:lnTo>
                      <a:pt x="626" y="487"/>
                    </a:lnTo>
                    <a:lnTo>
                      <a:pt x="626" y="492"/>
                    </a:lnTo>
                    <a:lnTo>
                      <a:pt x="617" y="492"/>
                    </a:lnTo>
                    <a:lnTo>
                      <a:pt x="613" y="492"/>
                    </a:lnTo>
                    <a:lnTo>
                      <a:pt x="608" y="496"/>
                    </a:lnTo>
                    <a:lnTo>
                      <a:pt x="604" y="500"/>
                    </a:lnTo>
                    <a:lnTo>
                      <a:pt x="608" y="513"/>
                    </a:lnTo>
                    <a:lnTo>
                      <a:pt x="613" y="518"/>
                    </a:lnTo>
                    <a:lnTo>
                      <a:pt x="630" y="526"/>
                    </a:lnTo>
                    <a:lnTo>
                      <a:pt x="635" y="531"/>
                    </a:lnTo>
                    <a:lnTo>
                      <a:pt x="639" y="531"/>
                    </a:lnTo>
                    <a:lnTo>
                      <a:pt x="643" y="531"/>
                    </a:lnTo>
                    <a:lnTo>
                      <a:pt x="648" y="531"/>
                    </a:lnTo>
                    <a:lnTo>
                      <a:pt x="648" y="535"/>
                    </a:lnTo>
                    <a:lnTo>
                      <a:pt x="652" y="539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6" y="552"/>
                    </a:lnTo>
                    <a:lnTo>
                      <a:pt x="661" y="557"/>
                    </a:lnTo>
                    <a:lnTo>
                      <a:pt x="656" y="561"/>
                    </a:lnTo>
                    <a:lnTo>
                      <a:pt x="652" y="565"/>
                    </a:lnTo>
                    <a:lnTo>
                      <a:pt x="648" y="565"/>
                    </a:lnTo>
                    <a:lnTo>
                      <a:pt x="622" y="565"/>
                    </a:lnTo>
                    <a:lnTo>
                      <a:pt x="613" y="570"/>
                    </a:lnTo>
                    <a:lnTo>
                      <a:pt x="608" y="574"/>
                    </a:lnTo>
                    <a:lnTo>
                      <a:pt x="604" y="574"/>
                    </a:lnTo>
                    <a:lnTo>
                      <a:pt x="604" y="570"/>
                    </a:lnTo>
                    <a:lnTo>
                      <a:pt x="595" y="565"/>
                    </a:lnTo>
                    <a:lnTo>
                      <a:pt x="591" y="565"/>
                    </a:lnTo>
                    <a:lnTo>
                      <a:pt x="582" y="565"/>
                    </a:lnTo>
                    <a:lnTo>
                      <a:pt x="582" y="570"/>
                    </a:lnTo>
                    <a:lnTo>
                      <a:pt x="578" y="57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5" name="Freeform 24">
                <a:extLst>
                  <a:ext uri="{FF2B5EF4-FFF2-40B4-BE49-F238E27FC236}">
                    <a16:creationId xmlns:a16="http://schemas.microsoft.com/office/drawing/2014/main" id="{D1D47F9C-016D-92D9-F504-A8227887B8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36093" y="3039392"/>
                <a:ext cx="216203" cy="222250"/>
              </a:xfrm>
              <a:custGeom>
                <a:avLst/>
                <a:gdLst>
                  <a:gd name="T0" fmla="*/ 87 w 126"/>
                  <a:gd name="T1" fmla="*/ 117 h 135"/>
                  <a:gd name="T2" fmla="*/ 79 w 126"/>
                  <a:gd name="T3" fmla="*/ 117 h 135"/>
                  <a:gd name="T4" fmla="*/ 70 w 126"/>
                  <a:gd name="T5" fmla="*/ 130 h 135"/>
                  <a:gd name="T6" fmla="*/ 70 w 126"/>
                  <a:gd name="T7" fmla="*/ 135 h 135"/>
                  <a:gd name="T8" fmla="*/ 57 w 126"/>
                  <a:gd name="T9" fmla="*/ 130 h 135"/>
                  <a:gd name="T10" fmla="*/ 48 w 126"/>
                  <a:gd name="T11" fmla="*/ 126 h 135"/>
                  <a:gd name="T12" fmla="*/ 40 w 126"/>
                  <a:gd name="T13" fmla="*/ 126 h 135"/>
                  <a:gd name="T14" fmla="*/ 31 w 126"/>
                  <a:gd name="T15" fmla="*/ 130 h 135"/>
                  <a:gd name="T16" fmla="*/ 22 w 126"/>
                  <a:gd name="T17" fmla="*/ 130 h 135"/>
                  <a:gd name="T18" fmla="*/ 0 w 126"/>
                  <a:gd name="T19" fmla="*/ 113 h 135"/>
                  <a:gd name="T20" fmla="*/ 5 w 126"/>
                  <a:gd name="T21" fmla="*/ 100 h 135"/>
                  <a:gd name="T22" fmla="*/ 5 w 126"/>
                  <a:gd name="T23" fmla="*/ 82 h 135"/>
                  <a:gd name="T24" fmla="*/ 18 w 126"/>
                  <a:gd name="T25" fmla="*/ 78 h 135"/>
                  <a:gd name="T26" fmla="*/ 26 w 126"/>
                  <a:gd name="T27" fmla="*/ 65 h 135"/>
                  <a:gd name="T28" fmla="*/ 22 w 126"/>
                  <a:gd name="T29" fmla="*/ 56 h 135"/>
                  <a:gd name="T30" fmla="*/ 13 w 126"/>
                  <a:gd name="T31" fmla="*/ 48 h 135"/>
                  <a:gd name="T32" fmla="*/ 22 w 126"/>
                  <a:gd name="T33" fmla="*/ 39 h 135"/>
                  <a:gd name="T34" fmla="*/ 31 w 126"/>
                  <a:gd name="T35" fmla="*/ 39 h 135"/>
                  <a:gd name="T36" fmla="*/ 40 w 126"/>
                  <a:gd name="T37" fmla="*/ 30 h 135"/>
                  <a:gd name="T38" fmla="*/ 57 w 126"/>
                  <a:gd name="T39" fmla="*/ 22 h 135"/>
                  <a:gd name="T40" fmla="*/ 48 w 126"/>
                  <a:gd name="T41" fmla="*/ 13 h 135"/>
                  <a:gd name="T42" fmla="*/ 48 w 126"/>
                  <a:gd name="T43" fmla="*/ 9 h 135"/>
                  <a:gd name="T44" fmla="*/ 70 w 126"/>
                  <a:gd name="T45" fmla="*/ 4 h 135"/>
                  <a:gd name="T46" fmla="*/ 83 w 126"/>
                  <a:gd name="T47" fmla="*/ 17 h 135"/>
                  <a:gd name="T48" fmla="*/ 92 w 126"/>
                  <a:gd name="T49" fmla="*/ 22 h 135"/>
                  <a:gd name="T50" fmla="*/ 113 w 126"/>
                  <a:gd name="T51" fmla="*/ 22 h 135"/>
                  <a:gd name="T52" fmla="*/ 118 w 126"/>
                  <a:gd name="T53" fmla="*/ 22 h 135"/>
                  <a:gd name="T54" fmla="*/ 126 w 126"/>
                  <a:gd name="T55" fmla="*/ 22 h 135"/>
                  <a:gd name="T56" fmla="*/ 118 w 126"/>
                  <a:gd name="T57" fmla="*/ 30 h 135"/>
                  <a:gd name="T58" fmla="*/ 113 w 126"/>
                  <a:gd name="T59" fmla="*/ 35 h 135"/>
                  <a:gd name="T60" fmla="*/ 113 w 126"/>
                  <a:gd name="T61" fmla="*/ 48 h 135"/>
                  <a:gd name="T62" fmla="*/ 118 w 126"/>
                  <a:gd name="T63" fmla="*/ 52 h 135"/>
                  <a:gd name="T64" fmla="*/ 122 w 126"/>
                  <a:gd name="T65" fmla="*/ 61 h 135"/>
                  <a:gd name="T66" fmla="*/ 118 w 126"/>
                  <a:gd name="T67" fmla="*/ 69 h 135"/>
                  <a:gd name="T68" fmla="*/ 113 w 126"/>
                  <a:gd name="T69" fmla="*/ 74 h 135"/>
                  <a:gd name="T70" fmla="*/ 105 w 126"/>
                  <a:gd name="T71" fmla="*/ 74 h 135"/>
                  <a:gd name="T72" fmla="*/ 100 w 126"/>
                  <a:gd name="T73" fmla="*/ 78 h 135"/>
                  <a:gd name="T74" fmla="*/ 92 w 126"/>
                  <a:gd name="T75" fmla="*/ 78 h 135"/>
                  <a:gd name="T76" fmla="*/ 87 w 126"/>
                  <a:gd name="T77" fmla="*/ 82 h 135"/>
                  <a:gd name="T78" fmla="*/ 87 w 126"/>
                  <a:gd name="T79" fmla="*/ 91 h 135"/>
                  <a:gd name="T80" fmla="*/ 92 w 126"/>
                  <a:gd name="T81" fmla="*/ 96 h 135"/>
                  <a:gd name="T82" fmla="*/ 96 w 126"/>
                  <a:gd name="T83" fmla="*/ 100 h 135"/>
                  <a:gd name="T84" fmla="*/ 96 w 126"/>
                  <a:gd name="T85" fmla="*/ 104 h 135"/>
                  <a:gd name="T86" fmla="*/ 96 w 126"/>
                  <a:gd name="T87" fmla="*/ 109 h 135"/>
                  <a:gd name="T88" fmla="*/ 92 w 126"/>
                  <a:gd name="T89" fmla="*/ 1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6" h="135">
                    <a:moveTo>
                      <a:pt x="92" y="117"/>
                    </a:moveTo>
                    <a:lnTo>
                      <a:pt x="87" y="117"/>
                    </a:lnTo>
                    <a:lnTo>
                      <a:pt x="87" y="117"/>
                    </a:lnTo>
                    <a:lnTo>
                      <a:pt x="83" y="117"/>
                    </a:lnTo>
                    <a:lnTo>
                      <a:pt x="83" y="117"/>
                    </a:lnTo>
                    <a:lnTo>
                      <a:pt x="79" y="117"/>
                    </a:lnTo>
                    <a:lnTo>
                      <a:pt x="79" y="117"/>
                    </a:lnTo>
                    <a:lnTo>
                      <a:pt x="70" y="126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0" y="135"/>
                    </a:lnTo>
                    <a:lnTo>
                      <a:pt x="70" y="135"/>
                    </a:lnTo>
                    <a:lnTo>
                      <a:pt x="66" y="135"/>
                    </a:lnTo>
                    <a:lnTo>
                      <a:pt x="57" y="130"/>
                    </a:lnTo>
                    <a:lnTo>
                      <a:pt x="57" y="130"/>
                    </a:lnTo>
                    <a:lnTo>
                      <a:pt x="53" y="126"/>
                    </a:lnTo>
                    <a:lnTo>
                      <a:pt x="53" y="126"/>
                    </a:lnTo>
                    <a:lnTo>
                      <a:pt x="48" y="126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35" y="126"/>
                    </a:lnTo>
                    <a:lnTo>
                      <a:pt x="35" y="126"/>
                    </a:lnTo>
                    <a:lnTo>
                      <a:pt x="31" y="130"/>
                    </a:lnTo>
                    <a:lnTo>
                      <a:pt x="26" y="135"/>
                    </a:lnTo>
                    <a:lnTo>
                      <a:pt x="26" y="135"/>
                    </a:lnTo>
                    <a:lnTo>
                      <a:pt x="22" y="130"/>
                    </a:lnTo>
                    <a:lnTo>
                      <a:pt x="5" y="126"/>
                    </a:lnTo>
                    <a:lnTo>
                      <a:pt x="5" y="126"/>
                    </a:lnTo>
                    <a:lnTo>
                      <a:pt x="0" y="113"/>
                    </a:lnTo>
                    <a:lnTo>
                      <a:pt x="5" y="113"/>
                    </a:lnTo>
                    <a:lnTo>
                      <a:pt x="5" y="109"/>
                    </a:lnTo>
                    <a:lnTo>
                      <a:pt x="5" y="100"/>
                    </a:lnTo>
                    <a:lnTo>
                      <a:pt x="0" y="96"/>
                    </a:lnTo>
                    <a:lnTo>
                      <a:pt x="5" y="87"/>
                    </a:lnTo>
                    <a:lnTo>
                      <a:pt x="5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18" y="78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6" y="65"/>
                    </a:lnTo>
                    <a:lnTo>
                      <a:pt x="26" y="65"/>
                    </a:lnTo>
                    <a:lnTo>
                      <a:pt x="26" y="61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2"/>
                    </a:lnTo>
                    <a:lnTo>
                      <a:pt x="13" y="48"/>
                    </a:lnTo>
                    <a:lnTo>
                      <a:pt x="13" y="43"/>
                    </a:lnTo>
                    <a:lnTo>
                      <a:pt x="22" y="39"/>
                    </a:lnTo>
                    <a:lnTo>
                      <a:pt x="22" y="39"/>
                    </a:lnTo>
                    <a:lnTo>
                      <a:pt x="22" y="39"/>
                    </a:lnTo>
                    <a:lnTo>
                      <a:pt x="26" y="39"/>
                    </a:lnTo>
                    <a:lnTo>
                      <a:pt x="31" y="39"/>
                    </a:lnTo>
                    <a:lnTo>
                      <a:pt x="31" y="39"/>
                    </a:lnTo>
                    <a:lnTo>
                      <a:pt x="35" y="35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8" y="26"/>
                    </a:lnTo>
                    <a:lnTo>
                      <a:pt x="57" y="22"/>
                    </a:lnTo>
                    <a:lnTo>
                      <a:pt x="53" y="17"/>
                    </a:lnTo>
                    <a:lnTo>
                      <a:pt x="53" y="17"/>
                    </a:lnTo>
                    <a:lnTo>
                      <a:pt x="48" y="13"/>
                    </a:lnTo>
                    <a:lnTo>
                      <a:pt x="48" y="13"/>
                    </a:lnTo>
                    <a:lnTo>
                      <a:pt x="48" y="9"/>
                    </a:lnTo>
                    <a:lnTo>
                      <a:pt x="48" y="9"/>
                    </a:lnTo>
                    <a:lnTo>
                      <a:pt x="57" y="4"/>
                    </a:lnTo>
                    <a:lnTo>
                      <a:pt x="61" y="0"/>
                    </a:lnTo>
                    <a:lnTo>
                      <a:pt x="70" y="4"/>
                    </a:lnTo>
                    <a:lnTo>
                      <a:pt x="74" y="9"/>
                    </a:lnTo>
                    <a:lnTo>
                      <a:pt x="79" y="13"/>
                    </a:lnTo>
                    <a:lnTo>
                      <a:pt x="83" y="17"/>
                    </a:lnTo>
                    <a:lnTo>
                      <a:pt x="87" y="17"/>
                    </a:lnTo>
                    <a:lnTo>
                      <a:pt x="87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113" y="22"/>
                    </a:lnTo>
                    <a:lnTo>
                      <a:pt x="113" y="22"/>
                    </a:lnTo>
                    <a:lnTo>
                      <a:pt x="118" y="22"/>
                    </a:lnTo>
                    <a:lnTo>
                      <a:pt x="118" y="22"/>
                    </a:lnTo>
                    <a:lnTo>
                      <a:pt x="122" y="22"/>
                    </a:lnTo>
                    <a:lnTo>
                      <a:pt x="126" y="22"/>
                    </a:lnTo>
                    <a:lnTo>
                      <a:pt x="126" y="22"/>
                    </a:lnTo>
                    <a:lnTo>
                      <a:pt x="122" y="30"/>
                    </a:lnTo>
                    <a:lnTo>
                      <a:pt x="118" y="30"/>
                    </a:lnTo>
                    <a:lnTo>
                      <a:pt x="118" y="30"/>
                    </a:lnTo>
                    <a:lnTo>
                      <a:pt x="113" y="35"/>
                    </a:lnTo>
                    <a:lnTo>
                      <a:pt x="113" y="35"/>
                    </a:lnTo>
                    <a:lnTo>
                      <a:pt x="113" y="35"/>
                    </a:lnTo>
                    <a:lnTo>
                      <a:pt x="109" y="35"/>
                    </a:lnTo>
                    <a:lnTo>
                      <a:pt x="113" y="48"/>
                    </a:lnTo>
                    <a:lnTo>
                      <a:pt x="113" y="48"/>
                    </a:lnTo>
                    <a:lnTo>
                      <a:pt x="113" y="52"/>
                    </a:lnTo>
                    <a:lnTo>
                      <a:pt x="113" y="52"/>
                    </a:lnTo>
                    <a:lnTo>
                      <a:pt x="118" y="52"/>
                    </a:lnTo>
                    <a:lnTo>
                      <a:pt x="118" y="56"/>
                    </a:lnTo>
                    <a:lnTo>
                      <a:pt x="122" y="56"/>
                    </a:lnTo>
                    <a:lnTo>
                      <a:pt x="122" y="61"/>
                    </a:lnTo>
                    <a:lnTo>
                      <a:pt x="122" y="61"/>
                    </a:lnTo>
                    <a:lnTo>
                      <a:pt x="122" y="69"/>
                    </a:lnTo>
                    <a:lnTo>
                      <a:pt x="118" y="69"/>
                    </a:lnTo>
                    <a:lnTo>
                      <a:pt x="118" y="69"/>
                    </a:lnTo>
                    <a:lnTo>
                      <a:pt x="113" y="69"/>
                    </a:lnTo>
                    <a:lnTo>
                      <a:pt x="113" y="74"/>
                    </a:lnTo>
                    <a:lnTo>
                      <a:pt x="109" y="74"/>
                    </a:lnTo>
                    <a:lnTo>
                      <a:pt x="109" y="74"/>
                    </a:lnTo>
                    <a:lnTo>
                      <a:pt x="105" y="74"/>
                    </a:lnTo>
                    <a:lnTo>
                      <a:pt x="105" y="74"/>
                    </a:lnTo>
                    <a:lnTo>
                      <a:pt x="105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2" y="78"/>
                    </a:lnTo>
                    <a:lnTo>
                      <a:pt x="87" y="78"/>
                    </a:lnTo>
                    <a:lnTo>
                      <a:pt x="87" y="82"/>
                    </a:lnTo>
                    <a:lnTo>
                      <a:pt x="87" y="82"/>
                    </a:lnTo>
                    <a:lnTo>
                      <a:pt x="87" y="82"/>
                    </a:lnTo>
                    <a:lnTo>
                      <a:pt x="87" y="87"/>
                    </a:lnTo>
                    <a:lnTo>
                      <a:pt x="87" y="91"/>
                    </a:lnTo>
                    <a:lnTo>
                      <a:pt x="87" y="91"/>
                    </a:lnTo>
                    <a:lnTo>
                      <a:pt x="87" y="96"/>
                    </a:lnTo>
                    <a:lnTo>
                      <a:pt x="92" y="96"/>
                    </a:lnTo>
                    <a:lnTo>
                      <a:pt x="92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9"/>
                    </a:lnTo>
                    <a:lnTo>
                      <a:pt x="96" y="109"/>
                    </a:lnTo>
                    <a:lnTo>
                      <a:pt x="96" y="109"/>
                    </a:lnTo>
                    <a:lnTo>
                      <a:pt x="92" y="117"/>
                    </a:lnTo>
                    <a:lnTo>
                      <a:pt x="92" y="11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6" name="Freeform 25">
                <a:extLst>
                  <a:ext uri="{FF2B5EF4-FFF2-40B4-BE49-F238E27FC236}">
                    <a16:creationId xmlns:a16="http://schemas.microsoft.com/office/drawing/2014/main" id="{FF3D8B47-6987-B1DD-F807-55AAD475A8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867" y="3133058"/>
                <a:ext cx="148167" cy="236537"/>
              </a:xfrm>
              <a:custGeom>
                <a:avLst/>
                <a:gdLst>
                  <a:gd name="T0" fmla="*/ 34 w 87"/>
                  <a:gd name="T1" fmla="*/ 0 h 144"/>
                  <a:gd name="T2" fmla="*/ 48 w 87"/>
                  <a:gd name="T3" fmla="*/ 5 h 144"/>
                  <a:gd name="T4" fmla="*/ 52 w 87"/>
                  <a:gd name="T5" fmla="*/ 13 h 144"/>
                  <a:gd name="T6" fmla="*/ 52 w 87"/>
                  <a:gd name="T7" fmla="*/ 22 h 144"/>
                  <a:gd name="T8" fmla="*/ 48 w 87"/>
                  <a:gd name="T9" fmla="*/ 22 h 144"/>
                  <a:gd name="T10" fmla="*/ 43 w 87"/>
                  <a:gd name="T11" fmla="*/ 22 h 144"/>
                  <a:gd name="T12" fmla="*/ 48 w 87"/>
                  <a:gd name="T13" fmla="*/ 40 h 144"/>
                  <a:gd name="T14" fmla="*/ 61 w 87"/>
                  <a:gd name="T15" fmla="*/ 57 h 144"/>
                  <a:gd name="T16" fmla="*/ 69 w 87"/>
                  <a:gd name="T17" fmla="*/ 53 h 144"/>
                  <a:gd name="T18" fmla="*/ 74 w 87"/>
                  <a:gd name="T19" fmla="*/ 53 h 144"/>
                  <a:gd name="T20" fmla="*/ 74 w 87"/>
                  <a:gd name="T21" fmla="*/ 57 h 144"/>
                  <a:gd name="T22" fmla="*/ 74 w 87"/>
                  <a:gd name="T23" fmla="*/ 66 h 144"/>
                  <a:gd name="T24" fmla="*/ 74 w 87"/>
                  <a:gd name="T25" fmla="*/ 66 h 144"/>
                  <a:gd name="T26" fmla="*/ 82 w 87"/>
                  <a:gd name="T27" fmla="*/ 70 h 144"/>
                  <a:gd name="T28" fmla="*/ 82 w 87"/>
                  <a:gd name="T29" fmla="*/ 74 h 144"/>
                  <a:gd name="T30" fmla="*/ 87 w 87"/>
                  <a:gd name="T31" fmla="*/ 83 h 144"/>
                  <a:gd name="T32" fmla="*/ 74 w 87"/>
                  <a:gd name="T33" fmla="*/ 87 h 144"/>
                  <a:gd name="T34" fmla="*/ 74 w 87"/>
                  <a:gd name="T35" fmla="*/ 87 h 144"/>
                  <a:gd name="T36" fmla="*/ 69 w 87"/>
                  <a:gd name="T37" fmla="*/ 96 h 144"/>
                  <a:gd name="T38" fmla="*/ 65 w 87"/>
                  <a:gd name="T39" fmla="*/ 113 h 144"/>
                  <a:gd name="T40" fmla="*/ 61 w 87"/>
                  <a:gd name="T41" fmla="*/ 122 h 144"/>
                  <a:gd name="T42" fmla="*/ 61 w 87"/>
                  <a:gd name="T43" fmla="*/ 131 h 144"/>
                  <a:gd name="T44" fmla="*/ 61 w 87"/>
                  <a:gd name="T45" fmla="*/ 140 h 144"/>
                  <a:gd name="T46" fmla="*/ 56 w 87"/>
                  <a:gd name="T47" fmla="*/ 140 h 144"/>
                  <a:gd name="T48" fmla="*/ 52 w 87"/>
                  <a:gd name="T49" fmla="*/ 140 h 144"/>
                  <a:gd name="T50" fmla="*/ 48 w 87"/>
                  <a:gd name="T51" fmla="*/ 144 h 144"/>
                  <a:gd name="T52" fmla="*/ 43 w 87"/>
                  <a:gd name="T53" fmla="*/ 144 h 144"/>
                  <a:gd name="T54" fmla="*/ 30 w 87"/>
                  <a:gd name="T55" fmla="*/ 140 h 144"/>
                  <a:gd name="T56" fmla="*/ 26 w 87"/>
                  <a:gd name="T57" fmla="*/ 135 h 144"/>
                  <a:gd name="T58" fmla="*/ 21 w 87"/>
                  <a:gd name="T59" fmla="*/ 140 h 144"/>
                  <a:gd name="T60" fmla="*/ 8 w 87"/>
                  <a:gd name="T61" fmla="*/ 131 h 144"/>
                  <a:gd name="T62" fmla="*/ 4 w 87"/>
                  <a:gd name="T63" fmla="*/ 126 h 144"/>
                  <a:gd name="T64" fmla="*/ 4 w 87"/>
                  <a:gd name="T65" fmla="*/ 126 h 144"/>
                  <a:gd name="T66" fmla="*/ 0 w 87"/>
                  <a:gd name="T67" fmla="*/ 118 h 144"/>
                  <a:gd name="T68" fmla="*/ 4 w 87"/>
                  <a:gd name="T69" fmla="*/ 109 h 144"/>
                  <a:gd name="T70" fmla="*/ 8 w 87"/>
                  <a:gd name="T71" fmla="*/ 105 h 144"/>
                  <a:gd name="T72" fmla="*/ 13 w 87"/>
                  <a:gd name="T73" fmla="*/ 105 h 144"/>
                  <a:gd name="T74" fmla="*/ 13 w 87"/>
                  <a:gd name="T75" fmla="*/ 96 h 144"/>
                  <a:gd name="T76" fmla="*/ 8 w 87"/>
                  <a:gd name="T77" fmla="*/ 96 h 144"/>
                  <a:gd name="T78" fmla="*/ 8 w 87"/>
                  <a:gd name="T79" fmla="*/ 92 h 144"/>
                  <a:gd name="T80" fmla="*/ 8 w 87"/>
                  <a:gd name="T81" fmla="*/ 83 h 144"/>
                  <a:gd name="T82" fmla="*/ 4 w 87"/>
                  <a:gd name="T83" fmla="*/ 74 h 144"/>
                  <a:gd name="T84" fmla="*/ 0 w 87"/>
                  <a:gd name="T85" fmla="*/ 66 h 144"/>
                  <a:gd name="T86" fmla="*/ 0 w 87"/>
                  <a:gd name="T87" fmla="*/ 61 h 144"/>
                  <a:gd name="T88" fmla="*/ 4 w 87"/>
                  <a:gd name="T89" fmla="*/ 53 h 144"/>
                  <a:gd name="T90" fmla="*/ 4 w 87"/>
                  <a:gd name="T91" fmla="*/ 53 h 144"/>
                  <a:gd name="T92" fmla="*/ 17 w 87"/>
                  <a:gd name="T93" fmla="*/ 57 h 144"/>
                  <a:gd name="T94" fmla="*/ 26 w 87"/>
                  <a:gd name="T95" fmla="*/ 57 h 144"/>
                  <a:gd name="T96" fmla="*/ 26 w 87"/>
                  <a:gd name="T97" fmla="*/ 44 h 144"/>
                  <a:gd name="T98" fmla="*/ 21 w 87"/>
                  <a:gd name="T99" fmla="*/ 35 h 144"/>
                  <a:gd name="T100" fmla="*/ 21 w 87"/>
                  <a:gd name="T101" fmla="*/ 31 h 144"/>
                  <a:gd name="T102" fmla="*/ 21 w 87"/>
                  <a:gd name="T103" fmla="*/ 26 h 144"/>
                  <a:gd name="T104" fmla="*/ 21 w 87"/>
                  <a:gd name="T105" fmla="*/ 22 h 144"/>
                  <a:gd name="T106" fmla="*/ 21 w 87"/>
                  <a:gd name="T107" fmla="*/ 18 h 144"/>
                  <a:gd name="T108" fmla="*/ 26 w 87"/>
                  <a:gd name="T109" fmla="*/ 13 h 144"/>
                  <a:gd name="T110" fmla="*/ 30 w 87"/>
                  <a:gd name="T111" fmla="*/ 5 h 144"/>
                  <a:gd name="T112" fmla="*/ 30 w 87"/>
                  <a:gd name="T1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7" h="144">
                    <a:moveTo>
                      <a:pt x="30" y="0"/>
                    </a:moveTo>
                    <a:lnTo>
                      <a:pt x="34" y="0"/>
                    </a:lnTo>
                    <a:lnTo>
                      <a:pt x="39" y="5"/>
                    </a:lnTo>
                    <a:lnTo>
                      <a:pt x="48" y="5"/>
                    </a:lnTo>
                    <a:lnTo>
                      <a:pt x="48" y="9"/>
                    </a:lnTo>
                    <a:lnTo>
                      <a:pt x="52" y="13"/>
                    </a:lnTo>
                    <a:lnTo>
                      <a:pt x="52" y="13"/>
                    </a:lnTo>
                    <a:lnTo>
                      <a:pt x="52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3" y="18"/>
                    </a:lnTo>
                    <a:lnTo>
                      <a:pt x="43" y="22"/>
                    </a:lnTo>
                    <a:lnTo>
                      <a:pt x="43" y="31"/>
                    </a:lnTo>
                    <a:lnTo>
                      <a:pt x="48" y="40"/>
                    </a:lnTo>
                    <a:lnTo>
                      <a:pt x="56" y="57"/>
                    </a:lnTo>
                    <a:lnTo>
                      <a:pt x="61" y="57"/>
                    </a:lnTo>
                    <a:lnTo>
                      <a:pt x="65" y="57"/>
                    </a:lnTo>
                    <a:lnTo>
                      <a:pt x="69" y="53"/>
                    </a:lnTo>
                    <a:lnTo>
                      <a:pt x="69" y="53"/>
                    </a:lnTo>
                    <a:lnTo>
                      <a:pt x="74" y="53"/>
                    </a:lnTo>
                    <a:lnTo>
                      <a:pt x="74" y="53"/>
                    </a:lnTo>
                    <a:lnTo>
                      <a:pt x="74" y="57"/>
                    </a:lnTo>
                    <a:lnTo>
                      <a:pt x="74" y="61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8" y="70"/>
                    </a:lnTo>
                    <a:lnTo>
                      <a:pt x="82" y="70"/>
                    </a:lnTo>
                    <a:lnTo>
                      <a:pt x="82" y="70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7" y="83"/>
                    </a:lnTo>
                    <a:lnTo>
                      <a:pt x="78" y="83"/>
                    </a:lnTo>
                    <a:lnTo>
                      <a:pt x="74" y="87"/>
                    </a:lnTo>
                    <a:lnTo>
                      <a:pt x="74" y="87"/>
                    </a:lnTo>
                    <a:lnTo>
                      <a:pt x="74" y="87"/>
                    </a:lnTo>
                    <a:lnTo>
                      <a:pt x="69" y="96"/>
                    </a:lnTo>
                    <a:lnTo>
                      <a:pt x="69" y="96"/>
                    </a:lnTo>
                    <a:lnTo>
                      <a:pt x="69" y="100"/>
                    </a:lnTo>
                    <a:lnTo>
                      <a:pt x="65" y="113"/>
                    </a:lnTo>
                    <a:lnTo>
                      <a:pt x="65" y="118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31"/>
                    </a:lnTo>
                    <a:lnTo>
                      <a:pt x="61" y="135"/>
                    </a:lnTo>
                    <a:lnTo>
                      <a:pt x="61" y="140"/>
                    </a:lnTo>
                    <a:lnTo>
                      <a:pt x="61" y="140"/>
                    </a:lnTo>
                    <a:lnTo>
                      <a:pt x="56" y="140"/>
                    </a:lnTo>
                    <a:lnTo>
                      <a:pt x="56" y="140"/>
                    </a:lnTo>
                    <a:lnTo>
                      <a:pt x="52" y="140"/>
                    </a:lnTo>
                    <a:lnTo>
                      <a:pt x="52" y="144"/>
                    </a:lnTo>
                    <a:lnTo>
                      <a:pt x="48" y="144"/>
                    </a:lnTo>
                    <a:lnTo>
                      <a:pt x="48" y="144"/>
                    </a:lnTo>
                    <a:lnTo>
                      <a:pt x="43" y="144"/>
                    </a:lnTo>
                    <a:lnTo>
                      <a:pt x="30" y="140"/>
                    </a:lnTo>
                    <a:lnTo>
                      <a:pt x="30" y="140"/>
                    </a:lnTo>
                    <a:lnTo>
                      <a:pt x="30" y="135"/>
                    </a:lnTo>
                    <a:lnTo>
                      <a:pt x="26" y="135"/>
                    </a:lnTo>
                    <a:lnTo>
                      <a:pt x="26" y="135"/>
                    </a:lnTo>
                    <a:lnTo>
                      <a:pt x="21" y="140"/>
                    </a:lnTo>
                    <a:lnTo>
                      <a:pt x="17" y="140"/>
                    </a:lnTo>
                    <a:lnTo>
                      <a:pt x="8" y="131"/>
                    </a:lnTo>
                    <a:lnTo>
                      <a:pt x="4" y="131"/>
                    </a:lnTo>
                    <a:lnTo>
                      <a:pt x="4" y="126"/>
                    </a:lnTo>
                    <a:lnTo>
                      <a:pt x="4" y="126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3"/>
                    </a:lnTo>
                    <a:lnTo>
                      <a:pt x="4" y="109"/>
                    </a:lnTo>
                    <a:lnTo>
                      <a:pt x="8" y="109"/>
                    </a:lnTo>
                    <a:lnTo>
                      <a:pt x="8" y="105"/>
                    </a:lnTo>
                    <a:lnTo>
                      <a:pt x="13" y="105"/>
                    </a:lnTo>
                    <a:lnTo>
                      <a:pt x="13" y="105"/>
                    </a:lnTo>
                    <a:lnTo>
                      <a:pt x="13" y="100"/>
                    </a:lnTo>
                    <a:lnTo>
                      <a:pt x="13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3"/>
                    </a:lnTo>
                    <a:lnTo>
                      <a:pt x="8" y="83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4" y="53"/>
                    </a:lnTo>
                    <a:lnTo>
                      <a:pt x="4" y="53"/>
                    </a:lnTo>
                    <a:lnTo>
                      <a:pt x="4" y="53"/>
                    </a:lnTo>
                    <a:lnTo>
                      <a:pt x="17" y="57"/>
                    </a:lnTo>
                    <a:lnTo>
                      <a:pt x="17" y="57"/>
                    </a:lnTo>
                    <a:lnTo>
                      <a:pt x="21" y="57"/>
                    </a:lnTo>
                    <a:lnTo>
                      <a:pt x="26" y="57"/>
                    </a:lnTo>
                    <a:lnTo>
                      <a:pt x="26" y="53"/>
                    </a:lnTo>
                    <a:lnTo>
                      <a:pt x="26" y="44"/>
                    </a:lnTo>
                    <a:lnTo>
                      <a:pt x="26" y="35"/>
                    </a:lnTo>
                    <a:lnTo>
                      <a:pt x="21" y="35"/>
                    </a:lnTo>
                    <a:lnTo>
                      <a:pt x="21" y="31"/>
                    </a:lnTo>
                    <a:lnTo>
                      <a:pt x="21" y="31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2"/>
                    </a:lnTo>
                    <a:lnTo>
                      <a:pt x="21" y="22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26" y="13"/>
                    </a:lnTo>
                    <a:lnTo>
                      <a:pt x="26" y="13"/>
                    </a:lnTo>
                    <a:lnTo>
                      <a:pt x="30" y="13"/>
                    </a:lnTo>
                    <a:lnTo>
                      <a:pt x="30" y="5"/>
                    </a:lnTo>
                    <a:lnTo>
                      <a:pt x="30" y="5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7" name="Freeform 27">
                <a:extLst>
                  <a:ext uri="{FF2B5EF4-FFF2-40B4-BE49-F238E27FC236}">
                    <a16:creationId xmlns:a16="http://schemas.microsoft.com/office/drawing/2014/main" id="{C710284A-6C1E-97E3-64F1-E6CF3311FF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90486" y="1229642"/>
                <a:ext cx="2866571" cy="2398713"/>
              </a:xfrm>
              <a:custGeom>
                <a:avLst/>
                <a:gdLst>
                  <a:gd name="T0" fmla="*/ 1396 w 1652"/>
                  <a:gd name="T1" fmla="*/ 965 h 1452"/>
                  <a:gd name="T2" fmla="*/ 1383 w 1652"/>
                  <a:gd name="T3" fmla="*/ 1052 h 1452"/>
                  <a:gd name="T4" fmla="*/ 1283 w 1652"/>
                  <a:gd name="T5" fmla="*/ 948 h 1452"/>
                  <a:gd name="T6" fmla="*/ 1204 w 1652"/>
                  <a:gd name="T7" fmla="*/ 1026 h 1452"/>
                  <a:gd name="T8" fmla="*/ 1126 w 1652"/>
                  <a:gd name="T9" fmla="*/ 1031 h 1452"/>
                  <a:gd name="T10" fmla="*/ 1070 w 1652"/>
                  <a:gd name="T11" fmla="*/ 1070 h 1452"/>
                  <a:gd name="T12" fmla="*/ 1078 w 1652"/>
                  <a:gd name="T13" fmla="*/ 1152 h 1452"/>
                  <a:gd name="T14" fmla="*/ 1009 w 1652"/>
                  <a:gd name="T15" fmla="*/ 1178 h 1452"/>
                  <a:gd name="T16" fmla="*/ 944 w 1652"/>
                  <a:gd name="T17" fmla="*/ 1244 h 1452"/>
                  <a:gd name="T18" fmla="*/ 878 w 1652"/>
                  <a:gd name="T19" fmla="*/ 1265 h 1452"/>
                  <a:gd name="T20" fmla="*/ 809 w 1652"/>
                  <a:gd name="T21" fmla="*/ 1339 h 1452"/>
                  <a:gd name="T22" fmla="*/ 739 w 1652"/>
                  <a:gd name="T23" fmla="*/ 1431 h 1452"/>
                  <a:gd name="T24" fmla="*/ 626 w 1652"/>
                  <a:gd name="T25" fmla="*/ 1391 h 1452"/>
                  <a:gd name="T26" fmla="*/ 609 w 1652"/>
                  <a:gd name="T27" fmla="*/ 1296 h 1452"/>
                  <a:gd name="T28" fmla="*/ 552 w 1652"/>
                  <a:gd name="T29" fmla="*/ 1335 h 1452"/>
                  <a:gd name="T30" fmla="*/ 504 w 1652"/>
                  <a:gd name="T31" fmla="*/ 1426 h 1452"/>
                  <a:gd name="T32" fmla="*/ 430 w 1652"/>
                  <a:gd name="T33" fmla="*/ 1452 h 1452"/>
                  <a:gd name="T34" fmla="*/ 383 w 1652"/>
                  <a:gd name="T35" fmla="*/ 1370 h 1452"/>
                  <a:gd name="T36" fmla="*/ 435 w 1652"/>
                  <a:gd name="T37" fmla="*/ 1283 h 1452"/>
                  <a:gd name="T38" fmla="*/ 330 w 1652"/>
                  <a:gd name="T39" fmla="*/ 1305 h 1452"/>
                  <a:gd name="T40" fmla="*/ 230 w 1652"/>
                  <a:gd name="T41" fmla="*/ 1313 h 1452"/>
                  <a:gd name="T42" fmla="*/ 178 w 1652"/>
                  <a:gd name="T43" fmla="*/ 1265 h 1452"/>
                  <a:gd name="T44" fmla="*/ 152 w 1652"/>
                  <a:gd name="T45" fmla="*/ 1209 h 1452"/>
                  <a:gd name="T46" fmla="*/ 122 w 1652"/>
                  <a:gd name="T47" fmla="*/ 1152 h 1452"/>
                  <a:gd name="T48" fmla="*/ 35 w 1652"/>
                  <a:gd name="T49" fmla="*/ 1144 h 1452"/>
                  <a:gd name="T50" fmla="*/ 13 w 1652"/>
                  <a:gd name="T51" fmla="*/ 1044 h 1452"/>
                  <a:gd name="T52" fmla="*/ 61 w 1652"/>
                  <a:gd name="T53" fmla="*/ 987 h 1452"/>
                  <a:gd name="T54" fmla="*/ 304 w 1652"/>
                  <a:gd name="T55" fmla="*/ 1039 h 1452"/>
                  <a:gd name="T56" fmla="*/ 526 w 1652"/>
                  <a:gd name="T57" fmla="*/ 1070 h 1452"/>
                  <a:gd name="T58" fmla="*/ 778 w 1652"/>
                  <a:gd name="T59" fmla="*/ 1013 h 1452"/>
                  <a:gd name="T60" fmla="*/ 896 w 1652"/>
                  <a:gd name="T61" fmla="*/ 918 h 1452"/>
                  <a:gd name="T62" fmla="*/ 891 w 1652"/>
                  <a:gd name="T63" fmla="*/ 818 h 1452"/>
                  <a:gd name="T64" fmla="*/ 1026 w 1652"/>
                  <a:gd name="T65" fmla="*/ 792 h 1452"/>
                  <a:gd name="T66" fmla="*/ 1139 w 1652"/>
                  <a:gd name="T67" fmla="*/ 718 h 1452"/>
                  <a:gd name="T68" fmla="*/ 1209 w 1652"/>
                  <a:gd name="T69" fmla="*/ 635 h 1452"/>
                  <a:gd name="T70" fmla="*/ 1318 w 1652"/>
                  <a:gd name="T71" fmla="*/ 587 h 1452"/>
                  <a:gd name="T72" fmla="*/ 1326 w 1652"/>
                  <a:gd name="T73" fmla="*/ 526 h 1452"/>
                  <a:gd name="T74" fmla="*/ 1204 w 1652"/>
                  <a:gd name="T75" fmla="*/ 522 h 1452"/>
                  <a:gd name="T76" fmla="*/ 1117 w 1652"/>
                  <a:gd name="T77" fmla="*/ 444 h 1452"/>
                  <a:gd name="T78" fmla="*/ 1196 w 1652"/>
                  <a:gd name="T79" fmla="*/ 352 h 1452"/>
                  <a:gd name="T80" fmla="*/ 1287 w 1652"/>
                  <a:gd name="T81" fmla="*/ 296 h 1452"/>
                  <a:gd name="T82" fmla="*/ 1291 w 1652"/>
                  <a:gd name="T83" fmla="*/ 218 h 1452"/>
                  <a:gd name="T84" fmla="*/ 1335 w 1652"/>
                  <a:gd name="T85" fmla="*/ 122 h 1452"/>
                  <a:gd name="T86" fmla="*/ 1300 w 1652"/>
                  <a:gd name="T87" fmla="*/ 44 h 1452"/>
                  <a:gd name="T88" fmla="*/ 1365 w 1652"/>
                  <a:gd name="T89" fmla="*/ 39 h 1452"/>
                  <a:gd name="T90" fmla="*/ 1400 w 1652"/>
                  <a:gd name="T91" fmla="*/ 70 h 1452"/>
                  <a:gd name="T92" fmla="*/ 1448 w 1652"/>
                  <a:gd name="T93" fmla="*/ 126 h 1452"/>
                  <a:gd name="T94" fmla="*/ 1522 w 1652"/>
                  <a:gd name="T95" fmla="*/ 144 h 1452"/>
                  <a:gd name="T96" fmla="*/ 1591 w 1652"/>
                  <a:gd name="T97" fmla="*/ 109 h 1452"/>
                  <a:gd name="T98" fmla="*/ 1618 w 1652"/>
                  <a:gd name="T99" fmla="*/ 218 h 1452"/>
                  <a:gd name="T100" fmla="*/ 1605 w 1652"/>
                  <a:gd name="T101" fmla="*/ 357 h 1452"/>
                  <a:gd name="T102" fmla="*/ 1570 w 1652"/>
                  <a:gd name="T103" fmla="*/ 400 h 1452"/>
                  <a:gd name="T104" fmla="*/ 1509 w 1652"/>
                  <a:gd name="T105" fmla="*/ 483 h 1452"/>
                  <a:gd name="T106" fmla="*/ 1578 w 1652"/>
                  <a:gd name="T107" fmla="*/ 526 h 1452"/>
                  <a:gd name="T108" fmla="*/ 1565 w 1652"/>
                  <a:gd name="T109" fmla="*/ 596 h 1452"/>
                  <a:gd name="T110" fmla="*/ 1491 w 1652"/>
                  <a:gd name="T111" fmla="*/ 635 h 1452"/>
                  <a:gd name="T112" fmla="*/ 1518 w 1652"/>
                  <a:gd name="T113" fmla="*/ 692 h 1452"/>
                  <a:gd name="T114" fmla="*/ 1591 w 1652"/>
                  <a:gd name="T115" fmla="*/ 731 h 1452"/>
                  <a:gd name="T116" fmla="*/ 1652 w 1652"/>
                  <a:gd name="T117" fmla="*/ 822 h 1452"/>
                  <a:gd name="T118" fmla="*/ 1578 w 1652"/>
                  <a:gd name="T119" fmla="*/ 883 h 1452"/>
                  <a:gd name="T120" fmla="*/ 1522 w 1652"/>
                  <a:gd name="T121" fmla="*/ 918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52" h="1452">
                    <a:moveTo>
                      <a:pt x="1457" y="1000"/>
                    </a:moveTo>
                    <a:lnTo>
                      <a:pt x="1452" y="1000"/>
                    </a:lnTo>
                    <a:lnTo>
                      <a:pt x="1452" y="996"/>
                    </a:lnTo>
                    <a:lnTo>
                      <a:pt x="1448" y="992"/>
                    </a:lnTo>
                    <a:lnTo>
                      <a:pt x="1444" y="983"/>
                    </a:lnTo>
                    <a:lnTo>
                      <a:pt x="1435" y="974"/>
                    </a:lnTo>
                    <a:lnTo>
                      <a:pt x="1431" y="970"/>
                    </a:lnTo>
                    <a:lnTo>
                      <a:pt x="1431" y="965"/>
                    </a:lnTo>
                    <a:lnTo>
                      <a:pt x="1431" y="961"/>
                    </a:lnTo>
                    <a:lnTo>
                      <a:pt x="1426" y="961"/>
                    </a:lnTo>
                    <a:lnTo>
                      <a:pt x="1422" y="961"/>
                    </a:lnTo>
                    <a:lnTo>
                      <a:pt x="1418" y="961"/>
                    </a:lnTo>
                    <a:lnTo>
                      <a:pt x="1418" y="957"/>
                    </a:lnTo>
                    <a:lnTo>
                      <a:pt x="1413" y="952"/>
                    </a:lnTo>
                    <a:lnTo>
                      <a:pt x="1409" y="948"/>
                    </a:lnTo>
                    <a:lnTo>
                      <a:pt x="1409" y="952"/>
                    </a:lnTo>
                    <a:lnTo>
                      <a:pt x="1409" y="957"/>
                    </a:lnTo>
                    <a:lnTo>
                      <a:pt x="1405" y="957"/>
                    </a:lnTo>
                    <a:lnTo>
                      <a:pt x="1400" y="961"/>
                    </a:lnTo>
                    <a:lnTo>
                      <a:pt x="1396" y="961"/>
                    </a:lnTo>
                    <a:lnTo>
                      <a:pt x="1396" y="965"/>
                    </a:lnTo>
                    <a:lnTo>
                      <a:pt x="1396" y="970"/>
                    </a:lnTo>
                    <a:lnTo>
                      <a:pt x="1400" y="974"/>
                    </a:lnTo>
                    <a:lnTo>
                      <a:pt x="1405" y="974"/>
                    </a:lnTo>
                    <a:lnTo>
                      <a:pt x="1405" y="978"/>
                    </a:lnTo>
                    <a:lnTo>
                      <a:pt x="1405" y="983"/>
                    </a:lnTo>
                    <a:lnTo>
                      <a:pt x="1405" y="987"/>
                    </a:lnTo>
                    <a:lnTo>
                      <a:pt x="1405" y="1005"/>
                    </a:lnTo>
                    <a:lnTo>
                      <a:pt x="1405" y="1009"/>
                    </a:lnTo>
                    <a:lnTo>
                      <a:pt x="1405" y="1013"/>
                    </a:lnTo>
                    <a:lnTo>
                      <a:pt x="1409" y="1018"/>
                    </a:lnTo>
                    <a:lnTo>
                      <a:pt x="1413" y="1022"/>
                    </a:lnTo>
                    <a:lnTo>
                      <a:pt x="1413" y="1026"/>
                    </a:lnTo>
                    <a:lnTo>
                      <a:pt x="1413" y="1031"/>
                    </a:lnTo>
                    <a:lnTo>
                      <a:pt x="1413" y="1035"/>
                    </a:lnTo>
                    <a:lnTo>
                      <a:pt x="1413" y="1039"/>
                    </a:lnTo>
                    <a:lnTo>
                      <a:pt x="1409" y="1044"/>
                    </a:lnTo>
                    <a:lnTo>
                      <a:pt x="1409" y="1048"/>
                    </a:lnTo>
                    <a:lnTo>
                      <a:pt x="1405" y="1048"/>
                    </a:lnTo>
                    <a:lnTo>
                      <a:pt x="1391" y="1048"/>
                    </a:lnTo>
                    <a:lnTo>
                      <a:pt x="1387" y="1048"/>
                    </a:lnTo>
                    <a:lnTo>
                      <a:pt x="1383" y="1052"/>
                    </a:lnTo>
                    <a:lnTo>
                      <a:pt x="1365" y="1052"/>
                    </a:lnTo>
                    <a:lnTo>
                      <a:pt x="1352" y="1052"/>
                    </a:lnTo>
                    <a:lnTo>
                      <a:pt x="1348" y="1052"/>
                    </a:lnTo>
                    <a:lnTo>
                      <a:pt x="1348" y="1044"/>
                    </a:lnTo>
                    <a:lnTo>
                      <a:pt x="1339" y="1031"/>
                    </a:lnTo>
                    <a:lnTo>
                      <a:pt x="1331" y="1022"/>
                    </a:lnTo>
                    <a:lnTo>
                      <a:pt x="1335" y="1005"/>
                    </a:lnTo>
                    <a:lnTo>
                      <a:pt x="1335" y="1000"/>
                    </a:lnTo>
                    <a:lnTo>
                      <a:pt x="1331" y="992"/>
                    </a:lnTo>
                    <a:lnTo>
                      <a:pt x="1326" y="987"/>
                    </a:lnTo>
                    <a:lnTo>
                      <a:pt x="1322" y="987"/>
                    </a:lnTo>
                    <a:lnTo>
                      <a:pt x="1318" y="983"/>
                    </a:lnTo>
                    <a:lnTo>
                      <a:pt x="1309" y="974"/>
                    </a:lnTo>
                    <a:lnTo>
                      <a:pt x="1309" y="970"/>
                    </a:lnTo>
                    <a:lnTo>
                      <a:pt x="1304" y="965"/>
                    </a:lnTo>
                    <a:lnTo>
                      <a:pt x="1296" y="952"/>
                    </a:lnTo>
                    <a:lnTo>
                      <a:pt x="1291" y="948"/>
                    </a:lnTo>
                    <a:lnTo>
                      <a:pt x="1291" y="952"/>
                    </a:lnTo>
                    <a:lnTo>
                      <a:pt x="1287" y="952"/>
                    </a:lnTo>
                    <a:lnTo>
                      <a:pt x="1283" y="952"/>
                    </a:lnTo>
                    <a:lnTo>
                      <a:pt x="1283" y="948"/>
                    </a:lnTo>
                    <a:lnTo>
                      <a:pt x="1278" y="957"/>
                    </a:lnTo>
                    <a:lnTo>
                      <a:pt x="1278" y="961"/>
                    </a:lnTo>
                    <a:lnTo>
                      <a:pt x="1278" y="965"/>
                    </a:lnTo>
                    <a:lnTo>
                      <a:pt x="1274" y="965"/>
                    </a:lnTo>
                    <a:lnTo>
                      <a:pt x="1270" y="965"/>
                    </a:lnTo>
                    <a:lnTo>
                      <a:pt x="1265" y="965"/>
                    </a:lnTo>
                    <a:lnTo>
                      <a:pt x="1257" y="965"/>
                    </a:lnTo>
                    <a:lnTo>
                      <a:pt x="1252" y="970"/>
                    </a:lnTo>
                    <a:lnTo>
                      <a:pt x="1244" y="974"/>
                    </a:lnTo>
                    <a:lnTo>
                      <a:pt x="1239" y="978"/>
                    </a:lnTo>
                    <a:lnTo>
                      <a:pt x="1239" y="983"/>
                    </a:lnTo>
                    <a:lnTo>
                      <a:pt x="1244" y="987"/>
                    </a:lnTo>
                    <a:lnTo>
                      <a:pt x="1248" y="1005"/>
                    </a:lnTo>
                    <a:lnTo>
                      <a:pt x="1244" y="1018"/>
                    </a:lnTo>
                    <a:lnTo>
                      <a:pt x="1226" y="1018"/>
                    </a:lnTo>
                    <a:lnTo>
                      <a:pt x="1222" y="1013"/>
                    </a:lnTo>
                    <a:lnTo>
                      <a:pt x="1218" y="1013"/>
                    </a:lnTo>
                    <a:lnTo>
                      <a:pt x="1213" y="1013"/>
                    </a:lnTo>
                    <a:lnTo>
                      <a:pt x="1209" y="1022"/>
                    </a:lnTo>
                    <a:lnTo>
                      <a:pt x="1204" y="1022"/>
                    </a:lnTo>
                    <a:lnTo>
                      <a:pt x="1204" y="1026"/>
                    </a:lnTo>
                    <a:lnTo>
                      <a:pt x="1200" y="1031"/>
                    </a:lnTo>
                    <a:lnTo>
                      <a:pt x="1196" y="1031"/>
                    </a:lnTo>
                    <a:lnTo>
                      <a:pt x="1191" y="1031"/>
                    </a:lnTo>
                    <a:lnTo>
                      <a:pt x="1191" y="1026"/>
                    </a:lnTo>
                    <a:lnTo>
                      <a:pt x="1187" y="1026"/>
                    </a:lnTo>
                    <a:lnTo>
                      <a:pt x="1183" y="1026"/>
                    </a:lnTo>
                    <a:lnTo>
                      <a:pt x="1178" y="1026"/>
                    </a:lnTo>
                    <a:lnTo>
                      <a:pt x="1174" y="1031"/>
                    </a:lnTo>
                    <a:lnTo>
                      <a:pt x="1161" y="1044"/>
                    </a:lnTo>
                    <a:lnTo>
                      <a:pt x="1157" y="1048"/>
                    </a:lnTo>
                    <a:lnTo>
                      <a:pt x="1152" y="1052"/>
                    </a:lnTo>
                    <a:lnTo>
                      <a:pt x="1152" y="1057"/>
                    </a:lnTo>
                    <a:lnTo>
                      <a:pt x="1148" y="1061"/>
                    </a:lnTo>
                    <a:lnTo>
                      <a:pt x="1139" y="1061"/>
                    </a:lnTo>
                    <a:lnTo>
                      <a:pt x="1135" y="1061"/>
                    </a:lnTo>
                    <a:lnTo>
                      <a:pt x="1131" y="1061"/>
                    </a:lnTo>
                    <a:lnTo>
                      <a:pt x="1126" y="1061"/>
                    </a:lnTo>
                    <a:lnTo>
                      <a:pt x="1122" y="1061"/>
                    </a:lnTo>
                    <a:lnTo>
                      <a:pt x="1126" y="1048"/>
                    </a:lnTo>
                    <a:lnTo>
                      <a:pt x="1126" y="1039"/>
                    </a:lnTo>
                    <a:lnTo>
                      <a:pt x="1126" y="1031"/>
                    </a:lnTo>
                    <a:lnTo>
                      <a:pt x="1117" y="1013"/>
                    </a:lnTo>
                    <a:lnTo>
                      <a:pt x="1113" y="1009"/>
                    </a:lnTo>
                    <a:lnTo>
                      <a:pt x="1104" y="1013"/>
                    </a:lnTo>
                    <a:lnTo>
                      <a:pt x="1100" y="1013"/>
                    </a:lnTo>
                    <a:lnTo>
                      <a:pt x="1100" y="1018"/>
                    </a:lnTo>
                    <a:lnTo>
                      <a:pt x="1096" y="1018"/>
                    </a:lnTo>
                    <a:lnTo>
                      <a:pt x="1096" y="1022"/>
                    </a:lnTo>
                    <a:lnTo>
                      <a:pt x="1096" y="1026"/>
                    </a:lnTo>
                    <a:lnTo>
                      <a:pt x="1091" y="1031"/>
                    </a:lnTo>
                    <a:lnTo>
                      <a:pt x="1091" y="1035"/>
                    </a:lnTo>
                    <a:lnTo>
                      <a:pt x="1087" y="1035"/>
                    </a:lnTo>
                    <a:lnTo>
                      <a:pt x="1083" y="1039"/>
                    </a:lnTo>
                    <a:lnTo>
                      <a:pt x="1083" y="1044"/>
                    </a:lnTo>
                    <a:lnTo>
                      <a:pt x="1083" y="1048"/>
                    </a:lnTo>
                    <a:lnTo>
                      <a:pt x="1083" y="1052"/>
                    </a:lnTo>
                    <a:lnTo>
                      <a:pt x="1083" y="1057"/>
                    </a:lnTo>
                    <a:lnTo>
                      <a:pt x="1083" y="1065"/>
                    </a:lnTo>
                    <a:lnTo>
                      <a:pt x="1078" y="1065"/>
                    </a:lnTo>
                    <a:lnTo>
                      <a:pt x="1078" y="1070"/>
                    </a:lnTo>
                    <a:lnTo>
                      <a:pt x="1074" y="1070"/>
                    </a:lnTo>
                    <a:lnTo>
                      <a:pt x="1070" y="1070"/>
                    </a:lnTo>
                    <a:lnTo>
                      <a:pt x="1070" y="1074"/>
                    </a:lnTo>
                    <a:lnTo>
                      <a:pt x="1065" y="1083"/>
                    </a:lnTo>
                    <a:lnTo>
                      <a:pt x="1065" y="1087"/>
                    </a:lnTo>
                    <a:lnTo>
                      <a:pt x="1065" y="1092"/>
                    </a:lnTo>
                    <a:lnTo>
                      <a:pt x="1065" y="1096"/>
                    </a:lnTo>
                    <a:lnTo>
                      <a:pt x="1070" y="1096"/>
                    </a:lnTo>
                    <a:lnTo>
                      <a:pt x="1070" y="1100"/>
                    </a:lnTo>
                    <a:lnTo>
                      <a:pt x="1070" y="1105"/>
                    </a:lnTo>
                    <a:lnTo>
                      <a:pt x="1065" y="1105"/>
                    </a:lnTo>
                    <a:lnTo>
                      <a:pt x="1061" y="1109"/>
                    </a:lnTo>
                    <a:lnTo>
                      <a:pt x="1065" y="1113"/>
                    </a:lnTo>
                    <a:lnTo>
                      <a:pt x="1070" y="1118"/>
                    </a:lnTo>
                    <a:lnTo>
                      <a:pt x="1078" y="1122"/>
                    </a:lnTo>
                    <a:lnTo>
                      <a:pt x="1078" y="1126"/>
                    </a:lnTo>
                    <a:lnTo>
                      <a:pt x="1083" y="1135"/>
                    </a:lnTo>
                    <a:lnTo>
                      <a:pt x="1087" y="1135"/>
                    </a:lnTo>
                    <a:lnTo>
                      <a:pt x="1083" y="1139"/>
                    </a:lnTo>
                    <a:lnTo>
                      <a:pt x="1083" y="1144"/>
                    </a:lnTo>
                    <a:lnTo>
                      <a:pt x="1078" y="1144"/>
                    </a:lnTo>
                    <a:lnTo>
                      <a:pt x="1078" y="1148"/>
                    </a:lnTo>
                    <a:lnTo>
                      <a:pt x="1078" y="1152"/>
                    </a:lnTo>
                    <a:lnTo>
                      <a:pt x="1083" y="1152"/>
                    </a:lnTo>
                    <a:lnTo>
                      <a:pt x="1083" y="1157"/>
                    </a:lnTo>
                    <a:lnTo>
                      <a:pt x="1083" y="1161"/>
                    </a:lnTo>
                    <a:lnTo>
                      <a:pt x="1070" y="1165"/>
                    </a:lnTo>
                    <a:lnTo>
                      <a:pt x="1061" y="1165"/>
                    </a:lnTo>
                    <a:lnTo>
                      <a:pt x="1057" y="1165"/>
                    </a:lnTo>
                    <a:lnTo>
                      <a:pt x="1057" y="1170"/>
                    </a:lnTo>
                    <a:lnTo>
                      <a:pt x="1052" y="1170"/>
                    </a:lnTo>
                    <a:lnTo>
                      <a:pt x="1052" y="1174"/>
                    </a:lnTo>
                    <a:lnTo>
                      <a:pt x="1048" y="1174"/>
                    </a:lnTo>
                    <a:lnTo>
                      <a:pt x="1048" y="1178"/>
                    </a:lnTo>
                    <a:lnTo>
                      <a:pt x="1044" y="1178"/>
                    </a:lnTo>
                    <a:lnTo>
                      <a:pt x="1039" y="1178"/>
                    </a:lnTo>
                    <a:lnTo>
                      <a:pt x="1035" y="1178"/>
                    </a:lnTo>
                    <a:lnTo>
                      <a:pt x="1031" y="1174"/>
                    </a:lnTo>
                    <a:lnTo>
                      <a:pt x="1031" y="1170"/>
                    </a:lnTo>
                    <a:lnTo>
                      <a:pt x="1026" y="1170"/>
                    </a:lnTo>
                    <a:lnTo>
                      <a:pt x="1022" y="1170"/>
                    </a:lnTo>
                    <a:lnTo>
                      <a:pt x="1017" y="1174"/>
                    </a:lnTo>
                    <a:lnTo>
                      <a:pt x="1013" y="1178"/>
                    </a:lnTo>
                    <a:lnTo>
                      <a:pt x="1009" y="1178"/>
                    </a:lnTo>
                    <a:lnTo>
                      <a:pt x="1009" y="1183"/>
                    </a:lnTo>
                    <a:lnTo>
                      <a:pt x="1004" y="1187"/>
                    </a:lnTo>
                    <a:lnTo>
                      <a:pt x="1004" y="1192"/>
                    </a:lnTo>
                    <a:lnTo>
                      <a:pt x="1000" y="1192"/>
                    </a:lnTo>
                    <a:lnTo>
                      <a:pt x="1000" y="1196"/>
                    </a:lnTo>
                    <a:lnTo>
                      <a:pt x="996" y="1196"/>
                    </a:lnTo>
                    <a:lnTo>
                      <a:pt x="996" y="1192"/>
                    </a:lnTo>
                    <a:lnTo>
                      <a:pt x="987" y="1192"/>
                    </a:lnTo>
                    <a:lnTo>
                      <a:pt x="978" y="1187"/>
                    </a:lnTo>
                    <a:lnTo>
                      <a:pt x="974" y="1187"/>
                    </a:lnTo>
                    <a:lnTo>
                      <a:pt x="970" y="1192"/>
                    </a:lnTo>
                    <a:lnTo>
                      <a:pt x="965" y="1196"/>
                    </a:lnTo>
                    <a:lnTo>
                      <a:pt x="965" y="1200"/>
                    </a:lnTo>
                    <a:lnTo>
                      <a:pt x="965" y="1205"/>
                    </a:lnTo>
                    <a:lnTo>
                      <a:pt x="961" y="1209"/>
                    </a:lnTo>
                    <a:lnTo>
                      <a:pt x="957" y="1213"/>
                    </a:lnTo>
                    <a:lnTo>
                      <a:pt x="957" y="1218"/>
                    </a:lnTo>
                    <a:lnTo>
                      <a:pt x="948" y="1231"/>
                    </a:lnTo>
                    <a:lnTo>
                      <a:pt x="948" y="1235"/>
                    </a:lnTo>
                    <a:lnTo>
                      <a:pt x="948" y="1239"/>
                    </a:lnTo>
                    <a:lnTo>
                      <a:pt x="944" y="1244"/>
                    </a:lnTo>
                    <a:lnTo>
                      <a:pt x="944" y="1248"/>
                    </a:lnTo>
                    <a:lnTo>
                      <a:pt x="939" y="1248"/>
                    </a:lnTo>
                    <a:lnTo>
                      <a:pt x="935" y="1248"/>
                    </a:lnTo>
                    <a:lnTo>
                      <a:pt x="931" y="1248"/>
                    </a:lnTo>
                    <a:lnTo>
                      <a:pt x="922" y="1248"/>
                    </a:lnTo>
                    <a:lnTo>
                      <a:pt x="917" y="1248"/>
                    </a:lnTo>
                    <a:lnTo>
                      <a:pt x="917" y="1257"/>
                    </a:lnTo>
                    <a:lnTo>
                      <a:pt x="913" y="1265"/>
                    </a:lnTo>
                    <a:lnTo>
                      <a:pt x="909" y="1265"/>
                    </a:lnTo>
                    <a:lnTo>
                      <a:pt x="904" y="1265"/>
                    </a:lnTo>
                    <a:lnTo>
                      <a:pt x="900" y="1265"/>
                    </a:lnTo>
                    <a:lnTo>
                      <a:pt x="900" y="1270"/>
                    </a:lnTo>
                    <a:lnTo>
                      <a:pt x="896" y="1270"/>
                    </a:lnTo>
                    <a:lnTo>
                      <a:pt x="891" y="1270"/>
                    </a:lnTo>
                    <a:lnTo>
                      <a:pt x="896" y="1265"/>
                    </a:lnTo>
                    <a:lnTo>
                      <a:pt x="896" y="1261"/>
                    </a:lnTo>
                    <a:lnTo>
                      <a:pt x="896" y="1257"/>
                    </a:lnTo>
                    <a:lnTo>
                      <a:pt x="896" y="1252"/>
                    </a:lnTo>
                    <a:lnTo>
                      <a:pt x="887" y="1257"/>
                    </a:lnTo>
                    <a:lnTo>
                      <a:pt x="883" y="1261"/>
                    </a:lnTo>
                    <a:lnTo>
                      <a:pt x="878" y="1265"/>
                    </a:lnTo>
                    <a:lnTo>
                      <a:pt x="874" y="1270"/>
                    </a:lnTo>
                    <a:lnTo>
                      <a:pt x="874" y="1274"/>
                    </a:lnTo>
                    <a:lnTo>
                      <a:pt x="870" y="1278"/>
                    </a:lnTo>
                    <a:lnTo>
                      <a:pt x="870" y="1283"/>
                    </a:lnTo>
                    <a:lnTo>
                      <a:pt x="865" y="1283"/>
                    </a:lnTo>
                    <a:lnTo>
                      <a:pt x="861" y="1283"/>
                    </a:lnTo>
                    <a:lnTo>
                      <a:pt x="861" y="1278"/>
                    </a:lnTo>
                    <a:lnTo>
                      <a:pt x="857" y="1274"/>
                    </a:lnTo>
                    <a:lnTo>
                      <a:pt x="835" y="1283"/>
                    </a:lnTo>
                    <a:lnTo>
                      <a:pt x="822" y="1292"/>
                    </a:lnTo>
                    <a:lnTo>
                      <a:pt x="822" y="1296"/>
                    </a:lnTo>
                    <a:lnTo>
                      <a:pt x="817" y="1296"/>
                    </a:lnTo>
                    <a:lnTo>
                      <a:pt x="817" y="1300"/>
                    </a:lnTo>
                    <a:lnTo>
                      <a:pt x="813" y="1300"/>
                    </a:lnTo>
                    <a:lnTo>
                      <a:pt x="809" y="1318"/>
                    </a:lnTo>
                    <a:lnTo>
                      <a:pt x="809" y="1322"/>
                    </a:lnTo>
                    <a:lnTo>
                      <a:pt x="813" y="1326"/>
                    </a:lnTo>
                    <a:lnTo>
                      <a:pt x="813" y="1331"/>
                    </a:lnTo>
                    <a:lnTo>
                      <a:pt x="817" y="1335"/>
                    </a:lnTo>
                    <a:lnTo>
                      <a:pt x="813" y="1339"/>
                    </a:lnTo>
                    <a:lnTo>
                      <a:pt x="809" y="1339"/>
                    </a:lnTo>
                    <a:lnTo>
                      <a:pt x="804" y="1339"/>
                    </a:lnTo>
                    <a:lnTo>
                      <a:pt x="796" y="1344"/>
                    </a:lnTo>
                    <a:lnTo>
                      <a:pt x="791" y="1344"/>
                    </a:lnTo>
                    <a:lnTo>
                      <a:pt x="791" y="1348"/>
                    </a:lnTo>
                    <a:lnTo>
                      <a:pt x="787" y="1352"/>
                    </a:lnTo>
                    <a:lnTo>
                      <a:pt x="787" y="1357"/>
                    </a:lnTo>
                    <a:lnTo>
                      <a:pt x="783" y="1361"/>
                    </a:lnTo>
                    <a:lnTo>
                      <a:pt x="783" y="1365"/>
                    </a:lnTo>
                    <a:lnTo>
                      <a:pt x="778" y="1365"/>
                    </a:lnTo>
                    <a:lnTo>
                      <a:pt x="778" y="1370"/>
                    </a:lnTo>
                    <a:lnTo>
                      <a:pt x="774" y="1374"/>
                    </a:lnTo>
                    <a:lnTo>
                      <a:pt x="770" y="1378"/>
                    </a:lnTo>
                    <a:lnTo>
                      <a:pt x="765" y="1383"/>
                    </a:lnTo>
                    <a:lnTo>
                      <a:pt x="761" y="1387"/>
                    </a:lnTo>
                    <a:lnTo>
                      <a:pt x="757" y="1391"/>
                    </a:lnTo>
                    <a:lnTo>
                      <a:pt x="752" y="1396"/>
                    </a:lnTo>
                    <a:lnTo>
                      <a:pt x="748" y="1409"/>
                    </a:lnTo>
                    <a:lnTo>
                      <a:pt x="744" y="1413"/>
                    </a:lnTo>
                    <a:lnTo>
                      <a:pt x="744" y="1418"/>
                    </a:lnTo>
                    <a:lnTo>
                      <a:pt x="744" y="1422"/>
                    </a:lnTo>
                    <a:lnTo>
                      <a:pt x="739" y="1431"/>
                    </a:lnTo>
                    <a:lnTo>
                      <a:pt x="735" y="1431"/>
                    </a:lnTo>
                    <a:lnTo>
                      <a:pt x="726" y="1431"/>
                    </a:lnTo>
                    <a:lnTo>
                      <a:pt x="722" y="1431"/>
                    </a:lnTo>
                    <a:lnTo>
                      <a:pt x="717" y="1431"/>
                    </a:lnTo>
                    <a:lnTo>
                      <a:pt x="713" y="1426"/>
                    </a:lnTo>
                    <a:lnTo>
                      <a:pt x="713" y="1422"/>
                    </a:lnTo>
                    <a:lnTo>
                      <a:pt x="709" y="1418"/>
                    </a:lnTo>
                    <a:lnTo>
                      <a:pt x="704" y="1418"/>
                    </a:lnTo>
                    <a:lnTo>
                      <a:pt x="700" y="1418"/>
                    </a:lnTo>
                    <a:lnTo>
                      <a:pt x="696" y="1422"/>
                    </a:lnTo>
                    <a:lnTo>
                      <a:pt x="691" y="1422"/>
                    </a:lnTo>
                    <a:lnTo>
                      <a:pt x="674" y="1422"/>
                    </a:lnTo>
                    <a:lnTo>
                      <a:pt x="670" y="1422"/>
                    </a:lnTo>
                    <a:lnTo>
                      <a:pt x="665" y="1422"/>
                    </a:lnTo>
                    <a:lnTo>
                      <a:pt x="665" y="1418"/>
                    </a:lnTo>
                    <a:lnTo>
                      <a:pt x="661" y="1409"/>
                    </a:lnTo>
                    <a:lnTo>
                      <a:pt x="643" y="1391"/>
                    </a:lnTo>
                    <a:lnTo>
                      <a:pt x="639" y="1391"/>
                    </a:lnTo>
                    <a:lnTo>
                      <a:pt x="635" y="1391"/>
                    </a:lnTo>
                    <a:lnTo>
                      <a:pt x="630" y="1391"/>
                    </a:lnTo>
                    <a:lnTo>
                      <a:pt x="626" y="1391"/>
                    </a:lnTo>
                    <a:lnTo>
                      <a:pt x="617" y="1391"/>
                    </a:lnTo>
                    <a:lnTo>
                      <a:pt x="613" y="1391"/>
                    </a:lnTo>
                    <a:lnTo>
                      <a:pt x="596" y="1383"/>
                    </a:lnTo>
                    <a:lnTo>
                      <a:pt x="591" y="1378"/>
                    </a:lnTo>
                    <a:lnTo>
                      <a:pt x="591" y="1374"/>
                    </a:lnTo>
                    <a:lnTo>
                      <a:pt x="596" y="1374"/>
                    </a:lnTo>
                    <a:lnTo>
                      <a:pt x="600" y="1365"/>
                    </a:lnTo>
                    <a:lnTo>
                      <a:pt x="604" y="1361"/>
                    </a:lnTo>
                    <a:lnTo>
                      <a:pt x="604" y="1357"/>
                    </a:lnTo>
                    <a:lnTo>
                      <a:pt x="604" y="1352"/>
                    </a:lnTo>
                    <a:lnTo>
                      <a:pt x="604" y="1348"/>
                    </a:lnTo>
                    <a:lnTo>
                      <a:pt x="609" y="1344"/>
                    </a:lnTo>
                    <a:lnTo>
                      <a:pt x="609" y="1339"/>
                    </a:lnTo>
                    <a:lnTo>
                      <a:pt x="613" y="1335"/>
                    </a:lnTo>
                    <a:lnTo>
                      <a:pt x="617" y="1326"/>
                    </a:lnTo>
                    <a:lnTo>
                      <a:pt x="622" y="1322"/>
                    </a:lnTo>
                    <a:lnTo>
                      <a:pt x="622" y="1318"/>
                    </a:lnTo>
                    <a:lnTo>
                      <a:pt x="622" y="1313"/>
                    </a:lnTo>
                    <a:lnTo>
                      <a:pt x="617" y="1309"/>
                    </a:lnTo>
                    <a:lnTo>
                      <a:pt x="609" y="1300"/>
                    </a:lnTo>
                    <a:lnTo>
                      <a:pt x="609" y="1296"/>
                    </a:lnTo>
                    <a:lnTo>
                      <a:pt x="609" y="1292"/>
                    </a:lnTo>
                    <a:lnTo>
                      <a:pt x="609" y="1287"/>
                    </a:lnTo>
                    <a:lnTo>
                      <a:pt x="600" y="1287"/>
                    </a:lnTo>
                    <a:lnTo>
                      <a:pt x="596" y="1287"/>
                    </a:lnTo>
                    <a:lnTo>
                      <a:pt x="596" y="1292"/>
                    </a:lnTo>
                    <a:lnTo>
                      <a:pt x="591" y="1292"/>
                    </a:lnTo>
                    <a:lnTo>
                      <a:pt x="587" y="1292"/>
                    </a:lnTo>
                    <a:lnTo>
                      <a:pt x="583" y="1292"/>
                    </a:lnTo>
                    <a:lnTo>
                      <a:pt x="578" y="1292"/>
                    </a:lnTo>
                    <a:lnTo>
                      <a:pt x="574" y="1296"/>
                    </a:lnTo>
                    <a:lnTo>
                      <a:pt x="574" y="1300"/>
                    </a:lnTo>
                    <a:lnTo>
                      <a:pt x="578" y="1305"/>
                    </a:lnTo>
                    <a:lnTo>
                      <a:pt x="574" y="1305"/>
                    </a:lnTo>
                    <a:lnTo>
                      <a:pt x="574" y="1309"/>
                    </a:lnTo>
                    <a:lnTo>
                      <a:pt x="570" y="1309"/>
                    </a:lnTo>
                    <a:lnTo>
                      <a:pt x="565" y="1305"/>
                    </a:lnTo>
                    <a:lnTo>
                      <a:pt x="565" y="1309"/>
                    </a:lnTo>
                    <a:lnTo>
                      <a:pt x="561" y="1313"/>
                    </a:lnTo>
                    <a:lnTo>
                      <a:pt x="561" y="1322"/>
                    </a:lnTo>
                    <a:lnTo>
                      <a:pt x="557" y="1335"/>
                    </a:lnTo>
                    <a:lnTo>
                      <a:pt x="552" y="1335"/>
                    </a:lnTo>
                    <a:lnTo>
                      <a:pt x="552" y="1339"/>
                    </a:lnTo>
                    <a:lnTo>
                      <a:pt x="548" y="1348"/>
                    </a:lnTo>
                    <a:lnTo>
                      <a:pt x="548" y="1357"/>
                    </a:lnTo>
                    <a:lnTo>
                      <a:pt x="548" y="1361"/>
                    </a:lnTo>
                    <a:lnTo>
                      <a:pt x="548" y="1365"/>
                    </a:lnTo>
                    <a:lnTo>
                      <a:pt x="548" y="1370"/>
                    </a:lnTo>
                    <a:lnTo>
                      <a:pt x="548" y="1374"/>
                    </a:lnTo>
                    <a:lnTo>
                      <a:pt x="548" y="1378"/>
                    </a:lnTo>
                    <a:lnTo>
                      <a:pt x="548" y="1383"/>
                    </a:lnTo>
                    <a:lnTo>
                      <a:pt x="543" y="1387"/>
                    </a:lnTo>
                    <a:lnTo>
                      <a:pt x="543" y="1391"/>
                    </a:lnTo>
                    <a:lnTo>
                      <a:pt x="543" y="1396"/>
                    </a:lnTo>
                    <a:lnTo>
                      <a:pt x="543" y="1400"/>
                    </a:lnTo>
                    <a:lnTo>
                      <a:pt x="548" y="1405"/>
                    </a:lnTo>
                    <a:lnTo>
                      <a:pt x="543" y="1422"/>
                    </a:lnTo>
                    <a:lnTo>
                      <a:pt x="535" y="1426"/>
                    </a:lnTo>
                    <a:lnTo>
                      <a:pt x="526" y="1426"/>
                    </a:lnTo>
                    <a:lnTo>
                      <a:pt x="522" y="1426"/>
                    </a:lnTo>
                    <a:lnTo>
                      <a:pt x="517" y="1426"/>
                    </a:lnTo>
                    <a:lnTo>
                      <a:pt x="513" y="1426"/>
                    </a:lnTo>
                    <a:lnTo>
                      <a:pt x="504" y="1426"/>
                    </a:lnTo>
                    <a:lnTo>
                      <a:pt x="500" y="1431"/>
                    </a:lnTo>
                    <a:lnTo>
                      <a:pt x="496" y="1431"/>
                    </a:lnTo>
                    <a:lnTo>
                      <a:pt x="496" y="1435"/>
                    </a:lnTo>
                    <a:lnTo>
                      <a:pt x="491" y="1439"/>
                    </a:lnTo>
                    <a:lnTo>
                      <a:pt x="491" y="1444"/>
                    </a:lnTo>
                    <a:lnTo>
                      <a:pt x="487" y="1444"/>
                    </a:lnTo>
                    <a:lnTo>
                      <a:pt x="483" y="1444"/>
                    </a:lnTo>
                    <a:lnTo>
                      <a:pt x="478" y="1444"/>
                    </a:lnTo>
                    <a:lnTo>
                      <a:pt x="474" y="1444"/>
                    </a:lnTo>
                    <a:lnTo>
                      <a:pt x="470" y="1448"/>
                    </a:lnTo>
                    <a:lnTo>
                      <a:pt x="465" y="1448"/>
                    </a:lnTo>
                    <a:lnTo>
                      <a:pt x="465" y="1444"/>
                    </a:lnTo>
                    <a:lnTo>
                      <a:pt x="461" y="1444"/>
                    </a:lnTo>
                    <a:lnTo>
                      <a:pt x="457" y="1444"/>
                    </a:lnTo>
                    <a:lnTo>
                      <a:pt x="452" y="1444"/>
                    </a:lnTo>
                    <a:lnTo>
                      <a:pt x="452" y="1448"/>
                    </a:lnTo>
                    <a:lnTo>
                      <a:pt x="448" y="1448"/>
                    </a:lnTo>
                    <a:lnTo>
                      <a:pt x="448" y="1452"/>
                    </a:lnTo>
                    <a:lnTo>
                      <a:pt x="443" y="1452"/>
                    </a:lnTo>
                    <a:lnTo>
                      <a:pt x="435" y="1452"/>
                    </a:lnTo>
                    <a:lnTo>
                      <a:pt x="430" y="1452"/>
                    </a:lnTo>
                    <a:lnTo>
                      <a:pt x="426" y="1448"/>
                    </a:lnTo>
                    <a:lnTo>
                      <a:pt x="422" y="1448"/>
                    </a:lnTo>
                    <a:lnTo>
                      <a:pt x="417" y="1448"/>
                    </a:lnTo>
                    <a:lnTo>
                      <a:pt x="417" y="1444"/>
                    </a:lnTo>
                    <a:lnTo>
                      <a:pt x="417" y="1439"/>
                    </a:lnTo>
                    <a:lnTo>
                      <a:pt x="417" y="1435"/>
                    </a:lnTo>
                    <a:lnTo>
                      <a:pt x="409" y="1431"/>
                    </a:lnTo>
                    <a:lnTo>
                      <a:pt x="400" y="1431"/>
                    </a:lnTo>
                    <a:lnTo>
                      <a:pt x="396" y="1431"/>
                    </a:lnTo>
                    <a:lnTo>
                      <a:pt x="387" y="1426"/>
                    </a:lnTo>
                    <a:lnTo>
                      <a:pt x="383" y="1422"/>
                    </a:lnTo>
                    <a:lnTo>
                      <a:pt x="383" y="1418"/>
                    </a:lnTo>
                    <a:lnTo>
                      <a:pt x="378" y="1405"/>
                    </a:lnTo>
                    <a:lnTo>
                      <a:pt x="378" y="1396"/>
                    </a:lnTo>
                    <a:lnTo>
                      <a:pt x="387" y="1396"/>
                    </a:lnTo>
                    <a:lnTo>
                      <a:pt x="391" y="1391"/>
                    </a:lnTo>
                    <a:lnTo>
                      <a:pt x="391" y="1387"/>
                    </a:lnTo>
                    <a:lnTo>
                      <a:pt x="391" y="1383"/>
                    </a:lnTo>
                    <a:lnTo>
                      <a:pt x="387" y="1378"/>
                    </a:lnTo>
                    <a:lnTo>
                      <a:pt x="387" y="1374"/>
                    </a:lnTo>
                    <a:lnTo>
                      <a:pt x="383" y="1370"/>
                    </a:lnTo>
                    <a:lnTo>
                      <a:pt x="391" y="1365"/>
                    </a:lnTo>
                    <a:lnTo>
                      <a:pt x="400" y="1361"/>
                    </a:lnTo>
                    <a:lnTo>
                      <a:pt x="404" y="1361"/>
                    </a:lnTo>
                    <a:lnTo>
                      <a:pt x="409" y="1357"/>
                    </a:lnTo>
                    <a:lnTo>
                      <a:pt x="413" y="1352"/>
                    </a:lnTo>
                    <a:lnTo>
                      <a:pt x="417" y="1348"/>
                    </a:lnTo>
                    <a:lnTo>
                      <a:pt x="417" y="1344"/>
                    </a:lnTo>
                    <a:lnTo>
                      <a:pt x="422" y="1339"/>
                    </a:lnTo>
                    <a:lnTo>
                      <a:pt x="422" y="1331"/>
                    </a:lnTo>
                    <a:lnTo>
                      <a:pt x="422" y="1326"/>
                    </a:lnTo>
                    <a:lnTo>
                      <a:pt x="426" y="1326"/>
                    </a:lnTo>
                    <a:lnTo>
                      <a:pt x="430" y="1326"/>
                    </a:lnTo>
                    <a:lnTo>
                      <a:pt x="435" y="1322"/>
                    </a:lnTo>
                    <a:lnTo>
                      <a:pt x="439" y="1313"/>
                    </a:lnTo>
                    <a:lnTo>
                      <a:pt x="439" y="1309"/>
                    </a:lnTo>
                    <a:lnTo>
                      <a:pt x="439" y="1305"/>
                    </a:lnTo>
                    <a:lnTo>
                      <a:pt x="435" y="1300"/>
                    </a:lnTo>
                    <a:lnTo>
                      <a:pt x="430" y="1296"/>
                    </a:lnTo>
                    <a:lnTo>
                      <a:pt x="430" y="1292"/>
                    </a:lnTo>
                    <a:lnTo>
                      <a:pt x="430" y="1287"/>
                    </a:lnTo>
                    <a:lnTo>
                      <a:pt x="435" y="1283"/>
                    </a:lnTo>
                    <a:lnTo>
                      <a:pt x="430" y="1283"/>
                    </a:lnTo>
                    <a:lnTo>
                      <a:pt x="430" y="1278"/>
                    </a:lnTo>
                    <a:lnTo>
                      <a:pt x="426" y="1278"/>
                    </a:lnTo>
                    <a:lnTo>
                      <a:pt x="422" y="1278"/>
                    </a:lnTo>
                    <a:lnTo>
                      <a:pt x="417" y="1278"/>
                    </a:lnTo>
                    <a:lnTo>
                      <a:pt x="413" y="1278"/>
                    </a:lnTo>
                    <a:lnTo>
                      <a:pt x="413" y="1283"/>
                    </a:lnTo>
                    <a:lnTo>
                      <a:pt x="409" y="1283"/>
                    </a:lnTo>
                    <a:lnTo>
                      <a:pt x="404" y="1283"/>
                    </a:lnTo>
                    <a:lnTo>
                      <a:pt x="400" y="1287"/>
                    </a:lnTo>
                    <a:lnTo>
                      <a:pt x="396" y="1287"/>
                    </a:lnTo>
                    <a:lnTo>
                      <a:pt x="391" y="1287"/>
                    </a:lnTo>
                    <a:lnTo>
                      <a:pt x="383" y="1287"/>
                    </a:lnTo>
                    <a:lnTo>
                      <a:pt x="378" y="1292"/>
                    </a:lnTo>
                    <a:lnTo>
                      <a:pt x="374" y="1296"/>
                    </a:lnTo>
                    <a:lnTo>
                      <a:pt x="370" y="1296"/>
                    </a:lnTo>
                    <a:lnTo>
                      <a:pt x="356" y="1305"/>
                    </a:lnTo>
                    <a:lnTo>
                      <a:pt x="352" y="1309"/>
                    </a:lnTo>
                    <a:lnTo>
                      <a:pt x="348" y="1305"/>
                    </a:lnTo>
                    <a:lnTo>
                      <a:pt x="343" y="1305"/>
                    </a:lnTo>
                    <a:lnTo>
                      <a:pt x="330" y="1305"/>
                    </a:lnTo>
                    <a:lnTo>
                      <a:pt x="326" y="1300"/>
                    </a:lnTo>
                    <a:lnTo>
                      <a:pt x="322" y="1300"/>
                    </a:lnTo>
                    <a:lnTo>
                      <a:pt x="322" y="1296"/>
                    </a:lnTo>
                    <a:lnTo>
                      <a:pt x="317" y="1296"/>
                    </a:lnTo>
                    <a:lnTo>
                      <a:pt x="313" y="1296"/>
                    </a:lnTo>
                    <a:lnTo>
                      <a:pt x="309" y="1296"/>
                    </a:lnTo>
                    <a:lnTo>
                      <a:pt x="300" y="1300"/>
                    </a:lnTo>
                    <a:lnTo>
                      <a:pt x="291" y="1305"/>
                    </a:lnTo>
                    <a:lnTo>
                      <a:pt x="291" y="1309"/>
                    </a:lnTo>
                    <a:lnTo>
                      <a:pt x="287" y="1313"/>
                    </a:lnTo>
                    <a:lnTo>
                      <a:pt x="291" y="1318"/>
                    </a:lnTo>
                    <a:lnTo>
                      <a:pt x="287" y="1326"/>
                    </a:lnTo>
                    <a:lnTo>
                      <a:pt x="287" y="1331"/>
                    </a:lnTo>
                    <a:lnTo>
                      <a:pt x="287" y="1335"/>
                    </a:lnTo>
                    <a:lnTo>
                      <a:pt x="283" y="1339"/>
                    </a:lnTo>
                    <a:lnTo>
                      <a:pt x="261" y="1335"/>
                    </a:lnTo>
                    <a:lnTo>
                      <a:pt x="248" y="1331"/>
                    </a:lnTo>
                    <a:lnTo>
                      <a:pt x="243" y="1331"/>
                    </a:lnTo>
                    <a:lnTo>
                      <a:pt x="235" y="1309"/>
                    </a:lnTo>
                    <a:lnTo>
                      <a:pt x="235" y="1313"/>
                    </a:lnTo>
                    <a:lnTo>
                      <a:pt x="230" y="1313"/>
                    </a:lnTo>
                    <a:lnTo>
                      <a:pt x="226" y="1313"/>
                    </a:lnTo>
                    <a:lnTo>
                      <a:pt x="222" y="1309"/>
                    </a:lnTo>
                    <a:lnTo>
                      <a:pt x="217" y="1305"/>
                    </a:lnTo>
                    <a:lnTo>
                      <a:pt x="213" y="1300"/>
                    </a:lnTo>
                    <a:lnTo>
                      <a:pt x="213" y="1296"/>
                    </a:lnTo>
                    <a:lnTo>
                      <a:pt x="213" y="1292"/>
                    </a:lnTo>
                    <a:lnTo>
                      <a:pt x="213" y="1287"/>
                    </a:lnTo>
                    <a:lnTo>
                      <a:pt x="213" y="1283"/>
                    </a:lnTo>
                    <a:lnTo>
                      <a:pt x="217" y="1283"/>
                    </a:lnTo>
                    <a:lnTo>
                      <a:pt x="217" y="1274"/>
                    </a:lnTo>
                    <a:lnTo>
                      <a:pt x="217" y="1270"/>
                    </a:lnTo>
                    <a:lnTo>
                      <a:pt x="213" y="1270"/>
                    </a:lnTo>
                    <a:lnTo>
                      <a:pt x="209" y="1270"/>
                    </a:lnTo>
                    <a:lnTo>
                      <a:pt x="204" y="1265"/>
                    </a:lnTo>
                    <a:lnTo>
                      <a:pt x="200" y="1265"/>
                    </a:lnTo>
                    <a:lnTo>
                      <a:pt x="196" y="1270"/>
                    </a:lnTo>
                    <a:lnTo>
                      <a:pt x="191" y="1270"/>
                    </a:lnTo>
                    <a:lnTo>
                      <a:pt x="187" y="1270"/>
                    </a:lnTo>
                    <a:lnTo>
                      <a:pt x="187" y="1265"/>
                    </a:lnTo>
                    <a:lnTo>
                      <a:pt x="183" y="1265"/>
                    </a:lnTo>
                    <a:lnTo>
                      <a:pt x="178" y="1265"/>
                    </a:lnTo>
                    <a:lnTo>
                      <a:pt x="178" y="1261"/>
                    </a:lnTo>
                    <a:lnTo>
                      <a:pt x="178" y="1257"/>
                    </a:lnTo>
                    <a:lnTo>
                      <a:pt x="178" y="1252"/>
                    </a:lnTo>
                    <a:lnTo>
                      <a:pt x="174" y="1252"/>
                    </a:lnTo>
                    <a:lnTo>
                      <a:pt x="169" y="1252"/>
                    </a:lnTo>
                    <a:lnTo>
                      <a:pt x="169" y="1248"/>
                    </a:lnTo>
                    <a:lnTo>
                      <a:pt x="169" y="1244"/>
                    </a:lnTo>
                    <a:lnTo>
                      <a:pt x="169" y="1239"/>
                    </a:lnTo>
                    <a:lnTo>
                      <a:pt x="169" y="1235"/>
                    </a:lnTo>
                    <a:lnTo>
                      <a:pt x="165" y="1235"/>
                    </a:lnTo>
                    <a:lnTo>
                      <a:pt x="161" y="1235"/>
                    </a:lnTo>
                    <a:lnTo>
                      <a:pt x="156" y="1235"/>
                    </a:lnTo>
                    <a:lnTo>
                      <a:pt x="152" y="1235"/>
                    </a:lnTo>
                    <a:lnTo>
                      <a:pt x="152" y="1231"/>
                    </a:lnTo>
                    <a:lnTo>
                      <a:pt x="148" y="1231"/>
                    </a:lnTo>
                    <a:lnTo>
                      <a:pt x="143" y="1231"/>
                    </a:lnTo>
                    <a:lnTo>
                      <a:pt x="139" y="1226"/>
                    </a:lnTo>
                    <a:lnTo>
                      <a:pt x="139" y="1222"/>
                    </a:lnTo>
                    <a:lnTo>
                      <a:pt x="143" y="1218"/>
                    </a:lnTo>
                    <a:lnTo>
                      <a:pt x="148" y="1213"/>
                    </a:lnTo>
                    <a:lnTo>
                      <a:pt x="152" y="1209"/>
                    </a:lnTo>
                    <a:lnTo>
                      <a:pt x="156" y="1205"/>
                    </a:lnTo>
                    <a:lnTo>
                      <a:pt x="165" y="1192"/>
                    </a:lnTo>
                    <a:lnTo>
                      <a:pt x="169" y="1187"/>
                    </a:lnTo>
                    <a:lnTo>
                      <a:pt x="174" y="1183"/>
                    </a:lnTo>
                    <a:lnTo>
                      <a:pt x="174" y="1178"/>
                    </a:lnTo>
                    <a:lnTo>
                      <a:pt x="178" y="1174"/>
                    </a:lnTo>
                    <a:lnTo>
                      <a:pt x="178" y="1165"/>
                    </a:lnTo>
                    <a:lnTo>
                      <a:pt x="183" y="1161"/>
                    </a:lnTo>
                    <a:lnTo>
                      <a:pt x="178" y="1157"/>
                    </a:lnTo>
                    <a:lnTo>
                      <a:pt x="169" y="1148"/>
                    </a:lnTo>
                    <a:lnTo>
                      <a:pt x="165" y="1144"/>
                    </a:lnTo>
                    <a:lnTo>
                      <a:pt x="161" y="1139"/>
                    </a:lnTo>
                    <a:lnTo>
                      <a:pt x="156" y="1139"/>
                    </a:lnTo>
                    <a:lnTo>
                      <a:pt x="152" y="1139"/>
                    </a:lnTo>
                    <a:lnTo>
                      <a:pt x="148" y="1139"/>
                    </a:lnTo>
                    <a:lnTo>
                      <a:pt x="143" y="1139"/>
                    </a:lnTo>
                    <a:lnTo>
                      <a:pt x="139" y="1139"/>
                    </a:lnTo>
                    <a:lnTo>
                      <a:pt x="135" y="1144"/>
                    </a:lnTo>
                    <a:lnTo>
                      <a:pt x="126" y="1148"/>
                    </a:lnTo>
                    <a:lnTo>
                      <a:pt x="126" y="1152"/>
                    </a:lnTo>
                    <a:lnTo>
                      <a:pt x="122" y="1152"/>
                    </a:lnTo>
                    <a:lnTo>
                      <a:pt x="117" y="1152"/>
                    </a:lnTo>
                    <a:lnTo>
                      <a:pt x="113" y="1148"/>
                    </a:lnTo>
                    <a:lnTo>
                      <a:pt x="109" y="1148"/>
                    </a:lnTo>
                    <a:lnTo>
                      <a:pt x="104" y="1148"/>
                    </a:lnTo>
                    <a:lnTo>
                      <a:pt x="100" y="1144"/>
                    </a:lnTo>
                    <a:lnTo>
                      <a:pt x="96" y="1148"/>
                    </a:lnTo>
                    <a:lnTo>
                      <a:pt x="91" y="1152"/>
                    </a:lnTo>
                    <a:lnTo>
                      <a:pt x="87" y="1157"/>
                    </a:lnTo>
                    <a:lnTo>
                      <a:pt x="74" y="1170"/>
                    </a:lnTo>
                    <a:lnTo>
                      <a:pt x="69" y="1170"/>
                    </a:lnTo>
                    <a:lnTo>
                      <a:pt x="65" y="1170"/>
                    </a:lnTo>
                    <a:lnTo>
                      <a:pt x="61" y="1170"/>
                    </a:lnTo>
                    <a:lnTo>
                      <a:pt x="56" y="1170"/>
                    </a:lnTo>
                    <a:lnTo>
                      <a:pt x="52" y="1170"/>
                    </a:lnTo>
                    <a:lnTo>
                      <a:pt x="52" y="1165"/>
                    </a:lnTo>
                    <a:lnTo>
                      <a:pt x="48" y="1165"/>
                    </a:lnTo>
                    <a:lnTo>
                      <a:pt x="43" y="1161"/>
                    </a:lnTo>
                    <a:lnTo>
                      <a:pt x="43" y="1157"/>
                    </a:lnTo>
                    <a:lnTo>
                      <a:pt x="39" y="1152"/>
                    </a:lnTo>
                    <a:lnTo>
                      <a:pt x="39" y="1148"/>
                    </a:lnTo>
                    <a:lnTo>
                      <a:pt x="35" y="1144"/>
                    </a:lnTo>
                    <a:lnTo>
                      <a:pt x="30" y="1144"/>
                    </a:lnTo>
                    <a:lnTo>
                      <a:pt x="30" y="1139"/>
                    </a:lnTo>
                    <a:lnTo>
                      <a:pt x="26" y="1135"/>
                    </a:lnTo>
                    <a:lnTo>
                      <a:pt x="22" y="1135"/>
                    </a:lnTo>
                    <a:lnTo>
                      <a:pt x="22" y="1131"/>
                    </a:lnTo>
                    <a:lnTo>
                      <a:pt x="17" y="1126"/>
                    </a:lnTo>
                    <a:lnTo>
                      <a:pt x="17" y="1122"/>
                    </a:lnTo>
                    <a:lnTo>
                      <a:pt x="9" y="1105"/>
                    </a:lnTo>
                    <a:lnTo>
                      <a:pt x="9" y="1100"/>
                    </a:lnTo>
                    <a:lnTo>
                      <a:pt x="4" y="1096"/>
                    </a:lnTo>
                    <a:lnTo>
                      <a:pt x="4" y="1083"/>
                    </a:lnTo>
                    <a:lnTo>
                      <a:pt x="0" y="1083"/>
                    </a:lnTo>
                    <a:lnTo>
                      <a:pt x="0" y="1074"/>
                    </a:lnTo>
                    <a:lnTo>
                      <a:pt x="0" y="1070"/>
                    </a:lnTo>
                    <a:lnTo>
                      <a:pt x="4" y="1065"/>
                    </a:lnTo>
                    <a:lnTo>
                      <a:pt x="4" y="1061"/>
                    </a:lnTo>
                    <a:lnTo>
                      <a:pt x="9" y="1057"/>
                    </a:lnTo>
                    <a:lnTo>
                      <a:pt x="9" y="1052"/>
                    </a:lnTo>
                    <a:lnTo>
                      <a:pt x="9" y="1048"/>
                    </a:lnTo>
                    <a:lnTo>
                      <a:pt x="13" y="1048"/>
                    </a:lnTo>
                    <a:lnTo>
                      <a:pt x="13" y="1044"/>
                    </a:lnTo>
                    <a:lnTo>
                      <a:pt x="13" y="1039"/>
                    </a:lnTo>
                    <a:lnTo>
                      <a:pt x="9" y="1035"/>
                    </a:lnTo>
                    <a:lnTo>
                      <a:pt x="9" y="1031"/>
                    </a:lnTo>
                    <a:lnTo>
                      <a:pt x="4" y="1018"/>
                    </a:lnTo>
                    <a:lnTo>
                      <a:pt x="4" y="1013"/>
                    </a:lnTo>
                    <a:lnTo>
                      <a:pt x="4" y="1009"/>
                    </a:lnTo>
                    <a:lnTo>
                      <a:pt x="9" y="1009"/>
                    </a:lnTo>
                    <a:lnTo>
                      <a:pt x="9" y="1005"/>
                    </a:lnTo>
                    <a:lnTo>
                      <a:pt x="9" y="1000"/>
                    </a:lnTo>
                    <a:lnTo>
                      <a:pt x="4" y="996"/>
                    </a:lnTo>
                    <a:lnTo>
                      <a:pt x="4" y="992"/>
                    </a:lnTo>
                    <a:lnTo>
                      <a:pt x="4" y="987"/>
                    </a:lnTo>
                    <a:lnTo>
                      <a:pt x="9" y="974"/>
                    </a:lnTo>
                    <a:lnTo>
                      <a:pt x="13" y="974"/>
                    </a:lnTo>
                    <a:lnTo>
                      <a:pt x="17" y="974"/>
                    </a:lnTo>
                    <a:lnTo>
                      <a:pt x="17" y="978"/>
                    </a:lnTo>
                    <a:lnTo>
                      <a:pt x="22" y="978"/>
                    </a:lnTo>
                    <a:lnTo>
                      <a:pt x="30" y="978"/>
                    </a:lnTo>
                    <a:lnTo>
                      <a:pt x="35" y="983"/>
                    </a:lnTo>
                    <a:lnTo>
                      <a:pt x="52" y="987"/>
                    </a:lnTo>
                    <a:lnTo>
                      <a:pt x="61" y="987"/>
                    </a:lnTo>
                    <a:lnTo>
                      <a:pt x="69" y="992"/>
                    </a:lnTo>
                    <a:lnTo>
                      <a:pt x="78" y="992"/>
                    </a:lnTo>
                    <a:lnTo>
                      <a:pt x="96" y="996"/>
                    </a:lnTo>
                    <a:lnTo>
                      <a:pt x="117" y="996"/>
                    </a:lnTo>
                    <a:lnTo>
                      <a:pt x="126" y="1000"/>
                    </a:lnTo>
                    <a:lnTo>
                      <a:pt x="130" y="1000"/>
                    </a:lnTo>
                    <a:lnTo>
                      <a:pt x="143" y="1000"/>
                    </a:lnTo>
                    <a:lnTo>
                      <a:pt x="174" y="996"/>
                    </a:lnTo>
                    <a:lnTo>
                      <a:pt x="183" y="996"/>
                    </a:lnTo>
                    <a:lnTo>
                      <a:pt x="191" y="996"/>
                    </a:lnTo>
                    <a:lnTo>
                      <a:pt x="196" y="992"/>
                    </a:lnTo>
                    <a:lnTo>
                      <a:pt x="217" y="996"/>
                    </a:lnTo>
                    <a:lnTo>
                      <a:pt x="226" y="996"/>
                    </a:lnTo>
                    <a:lnTo>
                      <a:pt x="235" y="1000"/>
                    </a:lnTo>
                    <a:lnTo>
                      <a:pt x="252" y="1005"/>
                    </a:lnTo>
                    <a:lnTo>
                      <a:pt x="261" y="1009"/>
                    </a:lnTo>
                    <a:lnTo>
                      <a:pt x="274" y="1013"/>
                    </a:lnTo>
                    <a:lnTo>
                      <a:pt x="287" y="1013"/>
                    </a:lnTo>
                    <a:lnTo>
                      <a:pt x="300" y="1031"/>
                    </a:lnTo>
                    <a:lnTo>
                      <a:pt x="300" y="1035"/>
                    </a:lnTo>
                    <a:lnTo>
                      <a:pt x="304" y="1039"/>
                    </a:lnTo>
                    <a:lnTo>
                      <a:pt x="326" y="1044"/>
                    </a:lnTo>
                    <a:lnTo>
                      <a:pt x="330" y="1044"/>
                    </a:lnTo>
                    <a:lnTo>
                      <a:pt x="335" y="1044"/>
                    </a:lnTo>
                    <a:lnTo>
                      <a:pt x="343" y="1044"/>
                    </a:lnTo>
                    <a:lnTo>
                      <a:pt x="356" y="1052"/>
                    </a:lnTo>
                    <a:lnTo>
                      <a:pt x="370" y="1061"/>
                    </a:lnTo>
                    <a:lnTo>
                      <a:pt x="383" y="1065"/>
                    </a:lnTo>
                    <a:lnTo>
                      <a:pt x="387" y="1070"/>
                    </a:lnTo>
                    <a:lnTo>
                      <a:pt x="417" y="1078"/>
                    </a:lnTo>
                    <a:lnTo>
                      <a:pt x="430" y="1078"/>
                    </a:lnTo>
                    <a:lnTo>
                      <a:pt x="461" y="1070"/>
                    </a:lnTo>
                    <a:lnTo>
                      <a:pt x="461" y="1083"/>
                    </a:lnTo>
                    <a:lnTo>
                      <a:pt x="461" y="1087"/>
                    </a:lnTo>
                    <a:lnTo>
                      <a:pt x="470" y="1092"/>
                    </a:lnTo>
                    <a:lnTo>
                      <a:pt x="478" y="1092"/>
                    </a:lnTo>
                    <a:lnTo>
                      <a:pt x="487" y="1092"/>
                    </a:lnTo>
                    <a:lnTo>
                      <a:pt x="491" y="1096"/>
                    </a:lnTo>
                    <a:lnTo>
                      <a:pt x="504" y="1083"/>
                    </a:lnTo>
                    <a:lnTo>
                      <a:pt x="513" y="1078"/>
                    </a:lnTo>
                    <a:lnTo>
                      <a:pt x="522" y="1074"/>
                    </a:lnTo>
                    <a:lnTo>
                      <a:pt x="526" y="1070"/>
                    </a:lnTo>
                    <a:lnTo>
                      <a:pt x="543" y="1061"/>
                    </a:lnTo>
                    <a:lnTo>
                      <a:pt x="561" y="1052"/>
                    </a:lnTo>
                    <a:lnTo>
                      <a:pt x="587" y="1044"/>
                    </a:lnTo>
                    <a:lnTo>
                      <a:pt x="604" y="1035"/>
                    </a:lnTo>
                    <a:lnTo>
                      <a:pt x="609" y="1035"/>
                    </a:lnTo>
                    <a:lnTo>
                      <a:pt x="617" y="1031"/>
                    </a:lnTo>
                    <a:lnTo>
                      <a:pt x="635" y="1026"/>
                    </a:lnTo>
                    <a:lnTo>
                      <a:pt x="635" y="1022"/>
                    </a:lnTo>
                    <a:lnTo>
                      <a:pt x="648" y="1018"/>
                    </a:lnTo>
                    <a:lnTo>
                      <a:pt x="652" y="1022"/>
                    </a:lnTo>
                    <a:lnTo>
                      <a:pt x="674" y="1022"/>
                    </a:lnTo>
                    <a:lnTo>
                      <a:pt x="696" y="1018"/>
                    </a:lnTo>
                    <a:lnTo>
                      <a:pt x="700" y="1018"/>
                    </a:lnTo>
                    <a:lnTo>
                      <a:pt x="713" y="1018"/>
                    </a:lnTo>
                    <a:lnTo>
                      <a:pt x="726" y="1018"/>
                    </a:lnTo>
                    <a:lnTo>
                      <a:pt x="735" y="1022"/>
                    </a:lnTo>
                    <a:lnTo>
                      <a:pt x="744" y="1018"/>
                    </a:lnTo>
                    <a:lnTo>
                      <a:pt x="752" y="1018"/>
                    </a:lnTo>
                    <a:lnTo>
                      <a:pt x="765" y="1018"/>
                    </a:lnTo>
                    <a:lnTo>
                      <a:pt x="770" y="1013"/>
                    </a:lnTo>
                    <a:lnTo>
                      <a:pt x="778" y="1013"/>
                    </a:lnTo>
                    <a:lnTo>
                      <a:pt x="787" y="1005"/>
                    </a:lnTo>
                    <a:lnTo>
                      <a:pt x="791" y="1005"/>
                    </a:lnTo>
                    <a:lnTo>
                      <a:pt x="804" y="996"/>
                    </a:lnTo>
                    <a:lnTo>
                      <a:pt x="809" y="996"/>
                    </a:lnTo>
                    <a:lnTo>
                      <a:pt x="813" y="996"/>
                    </a:lnTo>
                    <a:lnTo>
                      <a:pt x="813" y="992"/>
                    </a:lnTo>
                    <a:lnTo>
                      <a:pt x="830" y="987"/>
                    </a:lnTo>
                    <a:lnTo>
                      <a:pt x="835" y="983"/>
                    </a:lnTo>
                    <a:lnTo>
                      <a:pt x="835" y="978"/>
                    </a:lnTo>
                    <a:lnTo>
                      <a:pt x="839" y="974"/>
                    </a:lnTo>
                    <a:lnTo>
                      <a:pt x="844" y="970"/>
                    </a:lnTo>
                    <a:lnTo>
                      <a:pt x="844" y="965"/>
                    </a:lnTo>
                    <a:lnTo>
                      <a:pt x="848" y="961"/>
                    </a:lnTo>
                    <a:lnTo>
                      <a:pt x="848" y="957"/>
                    </a:lnTo>
                    <a:lnTo>
                      <a:pt x="852" y="957"/>
                    </a:lnTo>
                    <a:lnTo>
                      <a:pt x="857" y="944"/>
                    </a:lnTo>
                    <a:lnTo>
                      <a:pt x="865" y="935"/>
                    </a:lnTo>
                    <a:lnTo>
                      <a:pt x="870" y="931"/>
                    </a:lnTo>
                    <a:lnTo>
                      <a:pt x="878" y="926"/>
                    </a:lnTo>
                    <a:lnTo>
                      <a:pt x="887" y="922"/>
                    </a:lnTo>
                    <a:lnTo>
                      <a:pt x="896" y="918"/>
                    </a:lnTo>
                    <a:lnTo>
                      <a:pt x="904" y="913"/>
                    </a:lnTo>
                    <a:lnTo>
                      <a:pt x="913" y="905"/>
                    </a:lnTo>
                    <a:lnTo>
                      <a:pt x="913" y="900"/>
                    </a:lnTo>
                    <a:lnTo>
                      <a:pt x="917" y="900"/>
                    </a:lnTo>
                    <a:lnTo>
                      <a:pt x="922" y="900"/>
                    </a:lnTo>
                    <a:lnTo>
                      <a:pt x="922" y="896"/>
                    </a:lnTo>
                    <a:lnTo>
                      <a:pt x="922" y="892"/>
                    </a:lnTo>
                    <a:lnTo>
                      <a:pt x="922" y="887"/>
                    </a:lnTo>
                    <a:lnTo>
                      <a:pt x="917" y="878"/>
                    </a:lnTo>
                    <a:lnTo>
                      <a:pt x="913" y="874"/>
                    </a:lnTo>
                    <a:lnTo>
                      <a:pt x="904" y="870"/>
                    </a:lnTo>
                    <a:lnTo>
                      <a:pt x="896" y="857"/>
                    </a:lnTo>
                    <a:lnTo>
                      <a:pt x="891" y="852"/>
                    </a:lnTo>
                    <a:lnTo>
                      <a:pt x="887" y="848"/>
                    </a:lnTo>
                    <a:lnTo>
                      <a:pt x="887" y="844"/>
                    </a:lnTo>
                    <a:lnTo>
                      <a:pt x="887" y="839"/>
                    </a:lnTo>
                    <a:lnTo>
                      <a:pt x="887" y="835"/>
                    </a:lnTo>
                    <a:lnTo>
                      <a:pt x="891" y="831"/>
                    </a:lnTo>
                    <a:lnTo>
                      <a:pt x="891" y="826"/>
                    </a:lnTo>
                    <a:lnTo>
                      <a:pt x="891" y="822"/>
                    </a:lnTo>
                    <a:lnTo>
                      <a:pt x="891" y="818"/>
                    </a:lnTo>
                    <a:lnTo>
                      <a:pt x="896" y="809"/>
                    </a:lnTo>
                    <a:lnTo>
                      <a:pt x="904" y="792"/>
                    </a:lnTo>
                    <a:lnTo>
                      <a:pt x="904" y="787"/>
                    </a:lnTo>
                    <a:lnTo>
                      <a:pt x="909" y="783"/>
                    </a:lnTo>
                    <a:lnTo>
                      <a:pt x="913" y="778"/>
                    </a:lnTo>
                    <a:lnTo>
                      <a:pt x="917" y="778"/>
                    </a:lnTo>
                    <a:lnTo>
                      <a:pt x="922" y="778"/>
                    </a:lnTo>
                    <a:lnTo>
                      <a:pt x="931" y="778"/>
                    </a:lnTo>
                    <a:lnTo>
                      <a:pt x="939" y="778"/>
                    </a:lnTo>
                    <a:lnTo>
                      <a:pt x="944" y="778"/>
                    </a:lnTo>
                    <a:lnTo>
                      <a:pt x="948" y="778"/>
                    </a:lnTo>
                    <a:lnTo>
                      <a:pt x="952" y="783"/>
                    </a:lnTo>
                    <a:lnTo>
                      <a:pt x="952" y="787"/>
                    </a:lnTo>
                    <a:lnTo>
                      <a:pt x="970" y="796"/>
                    </a:lnTo>
                    <a:lnTo>
                      <a:pt x="987" y="796"/>
                    </a:lnTo>
                    <a:lnTo>
                      <a:pt x="996" y="796"/>
                    </a:lnTo>
                    <a:lnTo>
                      <a:pt x="1009" y="796"/>
                    </a:lnTo>
                    <a:lnTo>
                      <a:pt x="1013" y="800"/>
                    </a:lnTo>
                    <a:lnTo>
                      <a:pt x="1017" y="800"/>
                    </a:lnTo>
                    <a:lnTo>
                      <a:pt x="1022" y="796"/>
                    </a:lnTo>
                    <a:lnTo>
                      <a:pt x="1026" y="792"/>
                    </a:lnTo>
                    <a:lnTo>
                      <a:pt x="1026" y="787"/>
                    </a:lnTo>
                    <a:lnTo>
                      <a:pt x="1035" y="783"/>
                    </a:lnTo>
                    <a:lnTo>
                      <a:pt x="1039" y="783"/>
                    </a:lnTo>
                    <a:lnTo>
                      <a:pt x="1039" y="778"/>
                    </a:lnTo>
                    <a:lnTo>
                      <a:pt x="1044" y="778"/>
                    </a:lnTo>
                    <a:lnTo>
                      <a:pt x="1048" y="774"/>
                    </a:lnTo>
                    <a:lnTo>
                      <a:pt x="1052" y="765"/>
                    </a:lnTo>
                    <a:lnTo>
                      <a:pt x="1057" y="761"/>
                    </a:lnTo>
                    <a:lnTo>
                      <a:pt x="1065" y="752"/>
                    </a:lnTo>
                    <a:lnTo>
                      <a:pt x="1070" y="744"/>
                    </a:lnTo>
                    <a:lnTo>
                      <a:pt x="1070" y="739"/>
                    </a:lnTo>
                    <a:lnTo>
                      <a:pt x="1065" y="739"/>
                    </a:lnTo>
                    <a:lnTo>
                      <a:pt x="1078" y="731"/>
                    </a:lnTo>
                    <a:lnTo>
                      <a:pt x="1087" y="735"/>
                    </a:lnTo>
                    <a:lnTo>
                      <a:pt x="1091" y="735"/>
                    </a:lnTo>
                    <a:lnTo>
                      <a:pt x="1104" y="731"/>
                    </a:lnTo>
                    <a:lnTo>
                      <a:pt x="1113" y="731"/>
                    </a:lnTo>
                    <a:lnTo>
                      <a:pt x="1117" y="731"/>
                    </a:lnTo>
                    <a:lnTo>
                      <a:pt x="1122" y="731"/>
                    </a:lnTo>
                    <a:lnTo>
                      <a:pt x="1135" y="722"/>
                    </a:lnTo>
                    <a:lnTo>
                      <a:pt x="1139" y="718"/>
                    </a:lnTo>
                    <a:lnTo>
                      <a:pt x="1148" y="709"/>
                    </a:lnTo>
                    <a:lnTo>
                      <a:pt x="1152" y="700"/>
                    </a:lnTo>
                    <a:lnTo>
                      <a:pt x="1157" y="700"/>
                    </a:lnTo>
                    <a:lnTo>
                      <a:pt x="1161" y="700"/>
                    </a:lnTo>
                    <a:lnTo>
                      <a:pt x="1165" y="696"/>
                    </a:lnTo>
                    <a:lnTo>
                      <a:pt x="1165" y="692"/>
                    </a:lnTo>
                    <a:lnTo>
                      <a:pt x="1165" y="687"/>
                    </a:lnTo>
                    <a:lnTo>
                      <a:pt x="1165" y="683"/>
                    </a:lnTo>
                    <a:lnTo>
                      <a:pt x="1165" y="678"/>
                    </a:lnTo>
                    <a:lnTo>
                      <a:pt x="1165" y="674"/>
                    </a:lnTo>
                    <a:lnTo>
                      <a:pt x="1170" y="665"/>
                    </a:lnTo>
                    <a:lnTo>
                      <a:pt x="1170" y="661"/>
                    </a:lnTo>
                    <a:lnTo>
                      <a:pt x="1174" y="657"/>
                    </a:lnTo>
                    <a:lnTo>
                      <a:pt x="1178" y="652"/>
                    </a:lnTo>
                    <a:lnTo>
                      <a:pt x="1178" y="648"/>
                    </a:lnTo>
                    <a:lnTo>
                      <a:pt x="1178" y="644"/>
                    </a:lnTo>
                    <a:lnTo>
                      <a:pt x="1183" y="644"/>
                    </a:lnTo>
                    <a:lnTo>
                      <a:pt x="1191" y="639"/>
                    </a:lnTo>
                    <a:lnTo>
                      <a:pt x="1191" y="635"/>
                    </a:lnTo>
                    <a:lnTo>
                      <a:pt x="1196" y="635"/>
                    </a:lnTo>
                    <a:lnTo>
                      <a:pt x="1209" y="635"/>
                    </a:lnTo>
                    <a:lnTo>
                      <a:pt x="1226" y="635"/>
                    </a:lnTo>
                    <a:lnTo>
                      <a:pt x="1226" y="631"/>
                    </a:lnTo>
                    <a:lnTo>
                      <a:pt x="1226" y="626"/>
                    </a:lnTo>
                    <a:lnTo>
                      <a:pt x="1226" y="618"/>
                    </a:lnTo>
                    <a:lnTo>
                      <a:pt x="1226" y="613"/>
                    </a:lnTo>
                    <a:lnTo>
                      <a:pt x="1235" y="609"/>
                    </a:lnTo>
                    <a:lnTo>
                      <a:pt x="1239" y="613"/>
                    </a:lnTo>
                    <a:lnTo>
                      <a:pt x="1244" y="618"/>
                    </a:lnTo>
                    <a:lnTo>
                      <a:pt x="1252" y="613"/>
                    </a:lnTo>
                    <a:lnTo>
                      <a:pt x="1252" y="609"/>
                    </a:lnTo>
                    <a:lnTo>
                      <a:pt x="1257" y="605"/>
                    </a:lnTo>
                    <a:lnTo>
                      <a:pt x="1265" y="600"/>
                    </a:lnTo>
                    <a:lnTo>
                      <a:pt x="1274" y="596"/>
                    </a:lnTo>
                    <a:lnTo>
                      <a:pt x="1274" y="592"/>
                    </a:lnTo>
                    <a:lnTo>
                      <a:pt x="1283" y="592"/>
                    </a:lnTo>
                    <a:lnTo>
                      <a:pt x="1283" y="596"/>
                    </a:lnTo>
                    <a:lnTo>
                      <a:pt x="1304" y="592"/>
                    </a:lnTo>
                    <a:lnTo>
                      <a:pt x="1304" y="587"/>
                    </a:lnTo>
                    <a:lnTo>
                      <a:pt x="1309" y="583"/>
                    </a:lnTo>
                    <a:lnTo>
                      <a:pt x="1313" y="587"/>
                    </a:lnTo>
                    <a:lnTo>
                      <a:pt x="1318" y="587"/>
                    </a:lnTo>
                    <a:lnTo>
                      <a:pt x="1318" y="592"/>
                    </a:lnTo>
                    <a:lnTo>
                      <a:pt x="1322" y="592"/>
                    </a:lnTo>
                    <a:lnTo>
                      <a:pt x="1335" y="592"/>
                    </a:lnTo>
                    <a:lnTo>
                      <a:pt x="1339" y="592"/>
                    </a:lnTo>
                    <a:lnTo>
                      <a:pt x="1344" y="592"/>
                    </a:lnTo>
                    <a:lnTo>
                      <a:pt x="1348" y="592"/>
                    </a:lnTo>
                    <a:lnTo>
                      <a:pt x="1357" y="592"/>
                    </a:lnTo>
                    <a:lnTo>
                      <a:pt x="1361" y="592"/>
                    </a:lnTo>
                    <a:lnTo>
                      <a:pt x="1365" y="583"/>
                    </a:lnTo>
                    <a:lnTo>
                      <a:pt x="1370" y="583"/>
                    </a:lnTo>
                    <a:lnTo>
                      <a:pt x="1370" y="578"/>
                    </a:lnTo>
                    <a:lnTo>
                      <a:pt x="1365" y="565"/>
                    </a:lnTo>
                    <a:lnTo>
                      <a:pt x="1365" y="561"/>
                    </a:lnTo>
                    <a:lnTo>
                      <a:pt x="1357" y="557"/>
                    </a:lnTo>
                    <a:lnTo>
                      <a:pt x="1357" y="548"/>
                    </a:lnTo>
                    <a:lnTo>
                      <a:pt x="1352" y="544"/>
                    </a:lnTo>
                    <a:lnTo>
                      <a:pt x="1348" y="539"/>
                    </a:lnTo>
                    <a:lnTo>
                      <a:pt x="1344" y="539"/>
                    </a:lnTo>
                    <a:lnTo>
                      <a:pt x="1335" y="531"/>
                    </a:lnTo>
                    <a:lnTo>
                      <a:pt x="1331" y="531"/>
                    </a:lnTo>
                    <a:lnTo>
                      <a:pt x="1326" y="526"/>
                    </a:lnTo>
                    <a:lnTo>
                      <a:pt x="1326" y="522"/>
                    </a:lnTo>
                    <a:lnTo>
                      <a:pt x="1318" y="518"/>
                    </a:lnTo>
                    <a:lnTo>
                      <a:pt x="1313" y="518"/>
                    </a:lnTo>
                    <a:lnTo>
                      <a:pt x="1313" y="509"/>
                    </a:lnTo>
                    <a:lnTo>
                      <a:pt x="1309" y="505"/>
                    </a:lnTo>
                    <a:lnTo>
                      <a:pt x="1304" y="505"/>
                    </a:lnTo>
                    <a:lnTo>
                      <a:pt x="1300" y="505"/>
                    </a:lnTo>
                    <a:lnTo>
                      <a:pt x="1291" y="500"/>
                    </a:lnTo>
                    <a:lnTo>
                      <a:pt x="1287" y="500"/>
                    </a:lnTo>
                    <a:lnTo>
                      <a:pt x="1283" y="492"/>
                    </a:lnTo>
                    <a:lnTo>
                      <a:pt x="1278" y="487"/>
                    </a:lnTo>
                    <a:lnTo>
                      <a:pt x="1274" y="483"/>
                    </a:lnTo>
                    <a:lnTo>
                      <a:pt x="1265" y="483"/>
                    </a:lnTo>
                    <a:lnTo>
                      <a:pt x="1252" y="483"/>
                    </a:lnTo>
                    <a:lnTo>
                      <a:pt x="1244" y="487"/>
                    </a:lnTo>
                    <a:lnTo>
                      <a:pt x="1235" y="487"/>
                    </a:lnTo>
                    <a:lnTo>
                      <a:pt x="1231" y="487"/>
                    </a:lnTo>
                    <a:lnTo>
                      <a:pt x="1222" y="500"/>
                    </a:lnTo>
                    <a:lnTo>
                      <a:pt x="1222" y="505"/>
                    </a:lnTo>
                    <a:lnTo>
                      <a:pt x="1209" y="522"/>
                    </a:lnTo>
                    <a:lnTo>
                      <a:pt x="1204" y="522"/>
                    </a:lnTo>
                    <a:lnTo>
                      <a:pt x="1191" y="513"/>
                    </a:lnTo>
                    <a:lnTo>
                      <a:pt x="1178" y="509"/>
                    </a:lnTo>
                    <a:lnTo>
                      <a:pt x="1174" y="509"/>
                    </a:lnTo>
                    <a:lnTo>
                      <a:pt x="1170" y="509"/>
                    </a:lnTo>
                    <a:lnTo>
                      <a:pt x="1161" y="513"/>
                    </a:lnTo>
                    <a:lnTo>
                      <a:pt x="1157" y="513"/>
                    </a:lnTo>
                    <a:lnTo>
                      <a:pt x="1148" y="513"/>
                    </a:lnTo>
                    <a:lnTo>
                      <a:pt x="1144" y="513"/>
                    </a:lnTo>
                    <a:lnTo>
                      <a:pt x="1135" y="518"/>
                    </a:lnTo>
                    <a:lnTo>
                      <a:pt x="1135" y="522"/>
                    </a:lnTo>
                    <a:lnTo>
                      <a:pt x="1131" y="526"/>
                    </a:lnTo>
                    <a:lnTo>
                      <a:pt x="1126" y="531"/>
                    </a:lnTo>
                    <a:lnTo>
                      <a:pt x="1104" y="513"/>
                    </a:lnTo>
                    <a:lnTo>
                      <a:pt x="1100" y="496"/>
                    </a:lnTo>
                    <a:lnTo>
                      <a:pt x="1104" y="492"/>
                    </a:lnTo>
                    <a:lnTo>
                      <a:pt x="1113" y="483"/>
                    </a:lnTo>
                    <a:lnTo>
                      <a:pt x="1113" y="478"/>
                    </a:lnTo>
                    <a:lnTo>
                      <a:pt x="1113" y="470"/>
                    </a:lnTo>
                    <a:lnTo>
                      <a:pt x="1109" y="461"/>
                    </a:lnTo>
                    <a:lnTo>
                      <a:pt x="1117" y="448"/>
                    </a:lnTo>
                    <a:lnTo>
                      <a:pt x="1117" y="444"/>
                    </a:lnTo>
                    <a:lnTo>
                      <a:pt x="1122" y="435"/>
                    </a:lnTo>
                    <a:lnTo>
                      <a:pt x="1122" y="431"/>
                    </a:lnTo>
                    <a:lnTo>
                      <a:pt x="1122" y="418"/>
                    </a:lnTo>
                    <a:lnTo>
                      <a:pt x="1131" y="400"/>
                    </a:lnTo>
                    <a:lnTo>
                      <a:pt x="1131" y="392"/>
                    </a:lnTo>
                    <a:lnTo>
                      <a:pt x="1135" y="378"/>
                    </a:lnTo>
                    <a:lnTo>
                      <a:pt x="1139" y="370"/>
                    </a:lnTo>
                    <a:lnTo>
                      <a:pt x="1139" y="361"/>
                    </a:lnTo>
                    <a:lnTo>
                      <a:pt x="1144" y="352"/>
                    </a:lnTo>
                    <a:lnTo>
                      <a:pt x="1144" y="344"/>
                    </a:lnTo>
                    <a:lnTo>
                      <a:pt x="1148" y="344"/>
                    </a:lnTo>
                    <a:lnTo>
                      <a:pt x="1157" y="348"/>
                    </a:lnTo>
                    <a:lnTo>
                      <a:pt x="1161" y="348"/>
                    </a:lnTo>
                    <a:lnTo>
                      <a:pt x="1174" y="352"/>
                    </a:lnTo>
                    <a:lnTo>
                      <a:pt x="1178" y="352"/>
                    </a:lnTo>
                    <a:lnTo>
                      <a:pt x="1178" y="357"/>
                    </a:lnTo>
                    <a:lnTo>
                      <a:pt x="1183" y="357"/>
                    </a:lnTo>
                    <a:lnTo>
                      <a:pt x="1183" y="352"/>
                    </a:lnTo>
                    <a:lnTo>
                      <a:pt x="1187" y="352"/>
                    </a:lnTo>
                    <a:lnTo>
                      <a:pt x="1191" y="352"/>
                    </a:lnTo>
                    <a:lnTo>
                      <a:pt x="1196" y="352"/>
                    </a:lnTo>
                    <a:lnTo>
                      <a:pt x="1196" y="357"/>
                    </a:lnTo>
                    <a:lnTo>
                      <a:pt x="1204" y="361"/>
                    </a:lnTo>
                    <a:lnTo>
                      <a:pt x="1209" y="361"/>
                    </a:lnTo>
                    <a:lnTo>
                      <a:pt x="1213" y="361"/>
                    </a:lnTo>
                    <a:lnTo>
                      <a:pt x="1222" y="352"/>
                    </a:lnTo>
                    <a:lnTo>
                      <a:pt x="1231" y="344"/>
                    </a:lnTo>
                    <a:lnTo>
                      <a:pt x="1239" y="335"/>
                    </a:lnTo>
                    <a:lnTo>
                      <a:pt x="1244" y="326"/>
                    </a:lnTo>
                    <a:lnTo>
                      <a:pt x="1244" y="322"/>
                    </a:lnTo>
                    <a:lnTo>
                      <a:pt x="1248" y="318"/>
                    </a:lnTo>
                    <a:lnTo>
                      <a:pt x="1252" y="318"/>
                    </a:lnTo>
                    <a:lnTo>
                      <a:pt x="1252" y="313"/>
                    </a:lnTo>
                    <a:lnTo>
                      <a:pt x="1257" y="313"/>
                    </a:lnTo>
                    <a:lnTo>
                      <a:pt x="1265" y="313"/>
                    </a:lnTo>
                    <a:lnTo>
                      <a:pt x="1265" y="309"/>
                    </a:lnTo>
                    <a:lnTo>
                      <a:pt x="1270" y="309"/>
                    </a:lnTo>
                    <a:lnTo>
                      <a:pt x="1274" y="309"/>
                    </a:lnTo>
                    <a:lnTo>
                      <a:pt x="1278" y="309"/>
                    </a:lnTo>
                    <a:lnTo>
                      <a:pt x="1278" y="305"/>
                    </a:lnTo>
                    <a:lnTo>
                      <a:pt x="1283" y="305"/>
                    </a:lnTo>
                    <a:lnTo>
                      <a:pt x="1287" y="296"/>
                    </a:lnTo>
                    <a:lnTo>
                      <a:pt x="1287" y="292"/>
                    </a:lnTo>
                    <a:lnTo>
                      <a:pt x="1287" y="287"/>
                    </a:lnTo>
                    <a:lnTo>
                      <a:pt x="1283" y="283"/>
                    </a:lnTo>
                    <a:lnTo>
                      <a:pt x="1287" y="279"/>
                    </a:lnTo>
                    <a:lnTo>
                      <a:pt x="1283" y="274"/>
                    </a:lnTo>
                    <a:lnTo>
                      <a:pt x="1278" y="279"/>
                    </a:lnTo>
                    <a:lnTo>
                      <a:pt x="1274" y="279"/>
                    </a:lnTo>
                    <a:lnTo>
                      <a:pt x="1274" y="274"/>
                    </a:lnTo>
                    <a:lnTo>
                      <a:pt x="1274" y="270"/>
                    </a:lnTo>
                    <a:lnTo>
                      <a:pt x="1278" y="270"/>
                    </a:lnTo>
                    <a:lnTo>
                      <a:pt x="1278" y="265"/>
                    </a:lnTo>
                    <a:lnTo>
                      <a:pt x="1278" y="261"/>
                    </a:lnTo>
                    <a:lnTo>
                      <a:pt x="1278" y="252"/>
                    </a:lnTo>
                    <a:lnTo>
                      <a:pt x="1283" y="252"/>
                    </a:lnTo>
                    <a:lnTo>
                      <a:pt x="1287" y="244"/>
                    </a:lnTo>
                    <a:lnTo>
                      <a:pt x="1287" y="239"/>
                    </a:lnTo>
                    <a:lnTo>
                      <a:pt x="1287" y="235"/>
                    </a:lnTo>
                    <a:lnTo>
                      <a:pt x="1287" y="231"/>
                    </a:lnTo>
                    <a:lnTo>
                      <a:pt x="1287" y="226"/>
                    </a:lnTo>
                    <a:lnTo>
                      <a:pt x="1287" y="218"/>
                    </a:lnTo>
                    <a:lnTo>
                      <a:pt x="1291" y="218"/>
                    </a:lnTo>
                    <a:lnTo>
                      <a:pt x="1291" y="213"/>
                    </a:lnTo>
                    <a:lnTo>
                      <a:pt x="1296" y="213"/>
                    </a:lnTo>
                    <a:lnTo>
                      <a:pt x="1296" y="209"/>
                    </a:lnTo>
                    <a:lnTo>
                      <a:pt x="1296" y="200"/>
                    </a:lnTo>
                    <a:lnTo>
                      <a:pt x="1296" y="196"/>
                    </a:lnTo>
                    <a:lnTo>
                      <a:pt x="1296" y="192"/>
                    </a:lnTo>
                    <a:lnTo>
                      <a:pt x="1300" y="192"/>
                    </a:lnTo>
                    <a:lnTo>
                      <a:pt x="1300" y="179"/>
                    </a:lnTo>
                    <a:lnTo>
                      <a:pt x="1304" y="179"/>
                    </a:lnTo>
                    <a:lnTo>
                      <a:pt x="1300" y="174"/>
                    </a:lnTo>
                    <a:lnTo>
                      <a:pt x="1300" y="170"/>
                    </a:lnTo>
                    <a:lnTo>
                      <a:pt x="1304" y="161"/>
                    </a:lnTo>
                    <a:lnTo>
                      <a:pt x="1304" y="157"/>
                    </a:lnTo>
                    <a:lnTo>
                      <a:pt x="1309" y="152"/>
                    </a:lnTo>
                    <a:lnTo>
                      <a:pt x="1313" y="148"/>
                    </a:lnTo>
                    <a:lnTo>
                      <a:pt x="1313" y="144"/>
                    </a:lnTo>
                    <a:lnTo>
                      <a:pt x="1322" y="135"/>
                    </a:lnTo>
                    <a:lnTo>
                      <a:pt x="1326" y="131"/>
                    </a:lnTo>
                    <a:lnTo>
                      <a:pt x="1331" y="131"/>
                    </a:lnTo>
                    <a:lnTo>
                      <a:pt x="1331" y="126"/>
                    </a:lnTo>
                    <a:lnTo>
                      <a:pt x="1335" y="122"/>
                    </a:lnTo>
                    <a:lnTo>
                      <a:pt x="1335" y="109"/>
                    </a:lnTo>
                    <a:lnTo>
                      <a:pt x="1335" y="105"/>
                    </a:lnTo>
                    <a:lnTo>
                      <a:pt x="1331" y="100"/>
                    </a:lnTo>
                    <a:lnTo>
                      <a:pt x="1326" y="96"/>
                    </a:lnTo>
                    <a:lnTo>
                      <a:pt x="1322" y="92"/>
                    </a:lnTo>
                    <a:lnTo>
                      <a:pt x="1326" y="87"/>
                    </a:lnTo>
                    <a:lnTo>
                      <a:pt x="1326" y="83"/>
                    </a:lnTo>
                    <a:lnTo>
                      <a:pt x="1326" y="74"/>
                    </a:lnTo>
                    <a:lnTo>
                      <a:pt x="1309" y="70"/>
                    </a:lnTo>
                    <a:lnTo>
                      <a:pt x="1300" y="70"/>
                    </a:lnTo>
                    <a:lnTo>
                      <a:pt x="1300" y="74"/>
                    </a:lnTo>
                    <a:lnTo>
                      <a:pt x="1296" y="74"/>
                    </a:lnTo>
                    <a:lnTo>
                      <a:pt x="1291" y="74"/>
                    </a:lnTo>
                    <a:lnTo>
                      <a:pt x="1287" y="74"/>
                    </a:lnTo>
                    <a:lnTo>
                      <a:pt x="1287" y="70"/>
                    </a:lnTo>
                    <a:lnTo>
                      <a:pt x="1287" y="61"/>
                    </a:lnTo>
                    <a:lnTo>
                      <a:pt x="1287" y="57"/>
                    </a:lnTo>
                    <a:lnTo>
                      <a:pt x="1291" y="57"/>
                    </a:lnTo>
                    <a:lnTo>
                      <a:pt x="1296" y="52"/>
                    </a:lnTo>
                    <a:lnTo>
                      <a:pt x="1300" y="48"/>
                    </a:lnTo>
                    <a:lnTo>
                      <a:pt x="1300" y="44"/>
                    </a:lnTo>
                    <a:lnTo>
                      <a:pt x="1304" y="35"/>
                    </a:lnTo>
                    <a:lnTo>
                      <a:pt x="1309" y="31"/>
                    </a:lnTo>
                    <a:lnTo>
                      <a:pt x="1313" y="22"/>
                    </a:lnTo>
                    <a:lnTo>
                      <a:pt x="1318" y="9"/>
                    </a:lnTo>
                    <a:lnTo>
                      <a:pt x="1322" y="9"/>
                    </a:lnTo>
                    <a:lnTo>
                      <a:pt x="1331" y="5"/>
                    </a:lnTo>
                    <a:lnTo>
                      <a:pt x="1335" y="5"/>
                    </a:lnTo>
                    <a:lnTo>
                      <a:pt x="1335" y="9"/>
                    </a:lnTo>
                    <a:lnTo>
                      <a:pt x="1335" y="5"/>
                    </a:lnTo>
                    <a:lnTo>
                      <a:pt x="1339" y="5"/>
                    </a:lnTo>
                    <a:lnTo>
                      <a:pt x="1344" y="5"/>
                    </a:lnTo>
                    <a:lnTo>
                      <a:pt x="1344" y="0"/>
                    </a:lnTo>
                    <a:lnTo>
                      <a:pt x="1348" y="0"/>
                    </a:lnTo>
                    <a:lnTo>
                      <a:pt x="1352" y="5"/>
                    </a:lnTo>
                    <a:lnTo>
                      <a:pt x="1357" y="5"/>
                    </a:lnTo>
                    <a:lnTo>
                      <a:pt x="1361" y="5"/>
                    </a:lnTo>
                    <a:lnTo>
                      <a:pt x="1370" y="13"/>
                    </a:lnTo>
                    <a:lnTo>
                      <a:pt x="1374" y="22"/>
                    </a:lnTo>
                    <a:lnTo>
                      <a:pt x="1374" y="26"/>
                    </a:lnTo>
                    <a:lnTo>
                      <a:pt x="1370" y="31"/>
                    </a:lnTo>
                    <a:lnTo>
                      <a:pt x="1365" y="39"/>
                    </a:lnTo>
                    <a:lnTo>
                      <a:pt x="1365" y="44"/>
                    </a:lnTo>
                    <a:lnTo>
                      <a:pt x="1361" y="44"/>
                    </a:lnTo>
                    <a:lnTo>
                      <a:pt x="1357" y="52"/>
                    </a:lnTo>
                    <a:lnTo>
                      <a:pt x="1352" y="61"/>
                    </a:lnTo>
                    <a:lnTo>
                      <a:pt x="1348" y="65"/>
                    </a:lnTo>
                    <a:lnTo>
                      <a:pt x="1352" y="70"/>
                    </a:lnTo>
                    <a:lnTo>
                      <a:pt x="1357" y="70"/>
                    </a:lnTo>
                    <a:lnTo>
                      <a:pt x="1361" y="70"/>
                    </a:lnTo>
                    <a:lnTo>
                      <a:pt x="1365" y="74"/>
                    </a:lnTo>
                    <a:lnTo>
                      <a:pt x="1370" y="74"/>
                    </a:lnTo>
                    <a:lnTo>
                      <a:pt x="1374" y="79"/>
                    </a:lnTo>
                    <a:lnTo>
                      <a:pt x="1378" y="79"/>
                    </a:lnTo>
                    <a:lnTo>
                      <a:pt x="1383" y="79"/>
                    </a:lnTo>
                    <a:lnTo>
                      <a:pt x="1383" y="83"/>
                    </a:lnTo>
                    <a:lnTo>
                      <a:pt x="1387" y="87"/>
                    </a:lnTo>
                    <a:lnTo>
                      <a:pt x="1391" y="87"/>
                    </a:lnTo>
                    <a:lnTo>
                      <a:pt x="1396" y="87"/>
                    </a:lnTo>
                    <a:lnTo>
                      <a:pt x="1396" y="83"/>
                    </a:lnTo>
                    <a:lnTo>
                      <a:pt x="1400" y="79"/>
                    </a:lnTo>
                    <a:lnTo>
                      <a:pt x="1400" y="74"/>
                    </a:lnTo>
                    <a:lnTo>
                      <a:pt x="1400" y="70"/>
                    </a:lnTo>
                    <a:lnTo>
                      <a:pt x="1400" y="65"/>
                    </a:lnTo>
                    <a:lnTo>
                      <a:pt x="1405" y="65"/>
                    </a:lnTo>
                    <a:lnTo>
                      <a:pt x="1405" y="61"/>
                    </a:lnTo>
                    <a:lnTo>
                      <a:pt x="1413" y="65"/>
                    </a:lnTo>
                    <a:lnTo>
                      <a:pt x="1413" y="70"/>
                    </a:lnTo>
                    <a:lnTo>
                      <a:pt x="1418" y="70"/>
                    </a:lnTo>
                    <a:lnTo>
                      <a:pt x="1422" y="79"/>
                    </a:lnTo>
                    <a:lnTo>
                      <a:pt x="1426" y="79"/>
                    </a:lnTo>
                    <a:lnTo>
                      <a:pt x="1431" y="79"/>
                    </a:lnTo>
                    <a:lnTo>
                      <a:pt x="1435" y="79"/>
                    </a:lnTo>
                    <a:lnTo>
                      <a:pt x="1439" y="79"/>
                    </a:lnTo>
                    <a:lnTo>
                      <a:pt x="1439" y="83"/>
                    </a:lnTo>
                    <a:lnTo>
                      <a:pt x="1435" y="87"/>
                    </a:lnTo>
                    <a:lnTo>
                      <a:pt x="1431" y="92"/>
                    </a:lnTo>
                    <a:lnTo>
                      <a:pt x="1435" y="92"/>
                    </a:lnTo>
                    <a:lnTo>
                      <a:pt x="1435" y="96"/>
                    </a:lnTo>
                    <a:lnTo>
                      <a:pt x="1444" y="113"/>
                    </a:lnTo>
                    <a:lnTo>
                      <a:pt x="1444" y="118"/>
                    </a:lnTo>
                    <a:lnTo>
                      <a:pt x="1444" y="122"/>
                    </a:lnTo>
                    <a:lnTo>
                      <a:pt x="1444" y="126"/>
                    </a:lnTo>
                    <a:lnTo>
                      <a:pt x="1448" y="126"/>
                    </a:lnTo>
                    <a:lnTo>
                      <a:pt x="1448" y="131"/>
                    </a:lnTo>
                    <a:lnTo>
                      <a:pt x="1452" y="135"/>
                    </a:lnTo>
                    <a:lnTo>
                      <a:pt x="1452" y="139"/>
                    </a:lnTo>
                    <a:lnTo>
                      <a:pt x="1457" y="144"/>
                    </a:lnTo>
                    <a:lnTo>
                      <a:pt x="1461" y="148"/>
                    </a:lnTo>
                    <a:lnTo>
                      <a:pt x="1465" y="148"/>
                    </a:lnTo>
                    <a:lnTo>
                      <a:pt x="1470" y="152"/>
                    </a:lnTo>
                    <a:lnTo>
                      <a:pt x="1474" y="157"/>
                    </a:lnTo>
                    <a:lnTo>
                      <a:pt x="1483" y="157"/>
                    </a:lnTo>
                    <a:lnTo>
                      <a:pt x="1487" y="157"/>
                    </a:lnTo>
                    <a:lnTo>
                      <a:pt x="1491" y="152"/>
                    </a:lnTo>
                    <a:lnTo>
                      <a:pt x="1496" y="152"/>
                    </a:lnTo>
                    <a:lnTo>
                      <a:pt x="1496" y="157"/>
                    </a:lnTo>
                    <a:lnTo>
                      <a:pt x="1500" y="157"/>
                    </a:lnTo>
                    <a:lnTo>
                      <a:pt x="1505" y="157"/>
                    </a:lnTo>
                    <a:lnTo>
                      <a:pt x="1509" y="157"/>
                    </a:lnTo>
                    <a:lnTo>
                      <a:pt x="1509" y="152"/>
                    </a:lnTo>
                    <a:lnTo>
                      <a:pt x="1509" y="148"/>
                    </a:lnTo>
                    <a:lnTo>
                      <a:pt x="1513" y="144"/>
                    </a:lnTo>
                    <a:lnTo>
                      <a:pt x="1518" y="144"/>
                    </a:lnTo>
                    <a:lnTo>
                      <a:pt x="1522" y="144"/>
                    </a:lnTo>
                    <a:lnTo>
                      <a:pt x="1526" y="144"/>
                    </a:lnTo>
                    <a:lnTo>
                      <a:pt x="1526" y="139"/>
                    </a:lnTo>
                    <a:lnTo>
                      <a:pt x="1531" y="139"/>
                    </a:lnTo>
                    <a:lnTo>
                      <a:pt x="1535" y="144"/>
                    </a:lnTo>
                    <a:lnTo>
                      <a:pt x="1539" y="144"/>
                    </a:lnTo>
                    <a:lnTo>
                      <a:pt x="1539" y="139"/>
                    </a:lnTo>
                    <a:lnTo>
                      <a:pt x="1544" y="139"/>
                    </a:lnTo>
                    <a:lnTo>
                      <a:pt x="1544" y="135"/>
                    </a:lnTo>
                    <a:lnTo>
                      <a:pt x="1548" y="135"/>
                    </a:lnTo>
                    <a:lnTo>
                      <a:pt x="1552" y="135"/>
                    </a:lnTo>
                    <a:lnTo>
                      <a:pt x="1557" y="135"/>
                    </a:lnTo>
                    <a:lnTo>
                      <a:pt x="1561" y="131"/>
                    </a:lnTo>
                    <a:lnTo>
                      <a:pt x="1565" y="126"/>
                    </a:lnTo>
                    <a:lnTo>
                      <a:pt x="1565" y="118"/>
                    </a:lnTo>
                    <a:lnTo>
                      <a:pt x="1570" y="109"/>
                    </a:lnTo>
                    <a:lnTo>
                      <a:pt x="1570" y="105"/>
                    </a:lnTo>
                    <a:lnTo>
                      <a:pt x="1574" y="105"/>
                    </a:lnTo>
                    <a:lnTo>
                      <a:pt x="1578" y="105"/>
                    </a:lnTo>
                    <a:lnTo>
                      <a:pt x="1583" y="105"/>
                    </a:lnTo>
                    <a:lnTo>
                      <a:pt x="1587" y="105"/>
                    </a:lnTo>
                    <a:lnTo>
                      <a:pt x="1591" y="109"/>
                    </a:lnTo>
                    <a:lnTo>
                      <a:pt x="1596" y="109"/>
                    </a:lnTo>
                    <a:lnTo>
                      <a:pt x="1600" y="113"/>
                    </a:lnTo>
                    <a:lnTo>
                      <a:pt x="1605" y="118"/>
                    </a:lnTo>
                    <a:lnTo>
                      <a:pt x="1609" y="126"/>
                    </a:lnTo>
                    <a:lnTo>
                      <a:pt x="1618" y="131"/>
                    </a:lnTo>
                    <a:lnTo>
                      <a:pt x="1622" y="131"/>
                    </a:lnTo>
                    <a:lnTo>
                      <a:pt x="1631" y="135"/>
                    </a:lnTo>
                    <a:lnTo>
                      <a:pt x="1635" y="139"/>
                    </a:lnTo>
                    <a:lnTo>
                      <a:pt x="1635" y="148"/>
                    </a:lnTo>
                    <a:lnTo>
                      <a:pt x="1635" y="152"/>
                    </a:lnTo>
                    <a:lnTo>
                      <a:pt x="1631" y="157"/>
                    </a:lnTo>
                    <a:lnTo>
                      <a:pt x="1626" y="165"/>
                    </a:lnTo>
                    <a:lnTo>
                      <a:pt x="1626" y="170"/>
                    </a:lnTo>
                    <a:lnTo>
                      <a:pt x="1631" y="179"/>
                    </a:lnTo>
                    <a:lnTo>
                      <a:pt x="1631" y="183"/>
                    </a:lnTo>
                    <a:lnTo>
                      <a:pt x="1631" y="187"/>
                    </a:lnTo>
                    <a:lnTo>
                      <a:pt x="1626" y="192"/>
                    </a:lnTo>
                    <a:lnTo>
                      <a:pt x="1622" y="200"/>
                    </a:lnTo>
                    <a:lnTo>
                      <a:pt x="1622" y="205"/>
                    </a:lnTo>
                    <a:lnTo>
                      <a:pt x="1622" y="209"/>
                    </a:lnTo>
                    <a:lnTo>
                      <a:pt x="1618" y="218"/>
                    </a:lnTo>
                    <a:lnTo>
                      <a:pt x="1618" y="226"/>
                    </a:lnTo>
                    <a:lnTo>
                      <a:pt x="1618" y="235"/>
                    </a:lnTo>
                    <a:lnTo>
                      <a:pt x="1613" y="244"/>
                    </a:lnTo>
                    <a:lnTo>
                      <a:pt x="1613" y="248"/>
                    </a:lnTo>
                    <a:lnTo>
                      <a:pt x="1618" y="261"/>
                    </a:lnTo>
                    <a:lnTo>
                      <a:pt x="1618" y="270"/>
                    </a:lnTo>
                    <a:lnTo>
                      <a:pt x="1622" y="279"/>
                    </a:lnTo>
                    <a:lnTo>
                      <a:pt x="1626" y="287"/>
                    </a:lnTo>
                    <a:lnTo>
                      <a:pt x="1626" y="296"/>
                    </a:lnTo>
                    <a:lnTo>
                      <a:pt x="1626" y="305"/>
                    </a:lnTo>
                    <a:lnTo>
                      <a:pt x="1626" y="313"/>
                    </a:lnTo>
                    <a:lnTo>
                      <a:pt x="1622" y="313"/>
                    </a:lnTo>
                    <a:lnTo>
                      <a:pt x="1618" y="313"/>
                    </a:lnTo>
                    <a:lnTo>
                      <a:pt x="1613" y="313"/>
                    </a:lnTo>
                    <a:lnTo>
                      <a:pt x="1609" y="313"/>
                    </a:lnTo>
                    <a:lnTo>
                      <a:pt x="1609" y="322"/>
                    </a:lnTo>
                    <a:lnTo>
                      <a:pt x="1609" y="326"/>
                    </a:lnTo>
                    <a:lnTo>
                      <a:pt x="1605" y="335"/>
                    </a:lnTo>
                    <a:lnTo>
                      <a:pt x="1605" y="344"/>
                    </a:lnTo>
                    <a:lnTo>
                      <a:pt x="1605" y="352"/>
                    </a:lnTo>
                    <a:lnTo>
                      <a:pt x="1605" y="357"/>
                    </a:lnTo>
                    <a:lnTo>
                      <a:pt x="1605" y="361"/>
                    </a:lnTo>
                    <a:lnTo>
                      <a:pt x="1605" y="365"/>
                    </a:lnTo>
                    <a:lnTo>
                      <a:pt x="1605" y="370"/>
                    </a:lnTo>
                    <a:lnTo>
                      <a:pt x="1605" y="374"/>
                    </a:lnTo>
                    <a:lnTo>
                      <a:pt x="1605" y="383"/>
                    </a:lnTo>
                    <a:lnTo>
                      <a:pt x="1605" y="387"/>
                    </a:lnTo>
                    <a:lnTo>
                      <a:pt x="1609" y="387"/>
                    </a:lnTo>
                    <a:lnTo>
                      <a:pt x="1609" y="392"/>
                    </a:lnTo>
                    <a:lnTo>
                      <a:pt x="1609" y="396"/>
                    </a:lnTo>
                    <a:lnTo>
                      <a:pt x="1609" y="405"/>
                    </a:lnTo>
                    <a:lnTo>
                      <a:pt x="1609" y="409"/>
                    </a:lnTo>
                    <a:lnTo>
                      <a:pt x="1605" y="405"/>
                    </a:lnTo>
                    <a:lnTo>
                      <a:pt x="1591" y="387"/>
                    </a:lnTo>
                    <a:lnTo>
                      <a:pt x="1591" y="383"/>
                    </a:lnTo>
                    <a:lnTo>
                      <a:pt x="1591" y="378"/>
                    </a:lnTo>
                    <a:lnTo>
                      <a:pt x="1587" y="378"/>
                    </a:lnTo>
                    <a:lnTo>
                      <a:pt x="1587" y="374"/>
                    </a:lnTo>
                    <a:lnTo>
                      <a:pt x="1583" y="378"/>
                    </a:lnTo>
                    <a:lnTo>
                      <a:pt x="1583" y="383"/>
                    </a:lnTo>
                    <a:lnTo>
                      <a:pt x="1578" y="387"/>
                    </a:lnTo>
                    <a:lnTo>
                      <a:pt x="1570" y="400"/>
                    </a:lnTo>
                    <a:lnTo>
                      <a:pt x="1570" y="405"/>
                    </a:lnTo>
                    <a:lnTo>
                      <a:pt x="1565" y="409"/>
                    </a:lnTo>
                    <a:lnTo>
                      <a:pt x="1561" y="413"/>
                    </a:lnTo>
                    <a:lnTo>
                      <a:pt x="1561" y="418"/>
                    </a:lnTo>
                    <a:lnTo>
                      <a:pt x="1561" y="422"/>
                    </a:lnTo>
                    <a:lnTo>
                      <a:pt x="1557" y="426"/>
                    </a:lnTo>
                    <a:lnTo>
                      <a:pt x="1557" y="431"/>
                    </a:lnTo>
                    <a:lnTo>
                      <a:pt x="1552" y="431"/>
                    </a:lnTo>
                    <a:lnTo>
                      <a:pt x="1548" y="435"/>
                    </a:lnTo>
                    <a:lnTo>
                      <a:pt x="1544" y="439"/>
                    </a:lnTo>
                    <a:lnTo>
                      <a:pt x="1544" y="444"/>
                    </a:lnTo>
                    <a:lnTo>
                      <a:pt x="1544" y="448"/>
                    </a:lnTo>
                    <a:lnTo>
                      <a:pt x="1539" y="448"/>
                    </a:lnTo>
                    <a:lnTo>
                      <a:pt x="1539" y="452"/>
                    </a:lnTo>
                    <a:lnTo>
                      <a:pt x="1535" y="457"/>
                    </a:lnTo>
                    <a:lnTo>
                      <a:pt x="1531" y="457"/>
                    </a:lnTo>
                    <a:lnTo>
                      <a:pt x="1531" y="461"/>
                    </a:lnTo>
                    <a:lnTo>
                      <a:pt x="1526" y="461"/>
                    </a:lnTo>
                    <a:lnTo>
                      <a:pt x="1522" y="470"/>
                    </a:lnTo>
                    <a:lnTo>
                      <a:pt x="1513" y="478"/>
                    </a:lnTo>
                    <a:lnTo>
                      <a:pt x="1509" y="483"/>
                    </a:lnTo>
                    <a:lnTo>
                      <a:pt x="1509" y="487"/>
                    </a:lnTo>
                    <a:lnTo>
                      <a:pt x="1509" y="492"/>
                    </a:lnTo>
                    <a:lnTo>
                      <a:pt x="1509" y="496"/>
                    </a:lnTo>
                    <a:lnTo>
                      <a:pt x="1505" y="496"/>
                    </a:lnTo>
                    <a:lnTo>
                      <a:pt x="1505" y="500"/>
                    </a:lnTo>
                    <a:lnTo>
                      <a:pt x="1513" y="513"/>
                    </a:lnTo>
                    <a:lnTo>
                      <a:pt x="1518" y="513"/>
                    </a:lnTo>
                    <a:lnTo>
                      <a:pt x="1522" y="518"/>
                    </a:lnTo>
                    <a:lnTo>
                      <a:pt x="1526" y="518"/>
                    </a:lnTo>
                    <a:lnTo>
                      <a:pt x="1531" y="518"/>
                    </a:lnTo>
                    <a:lnTo>
                      <a:pt x="1531" y="522"/>
                    </a:lnTo>
                    <a:lnTo>
                      <a:pt x="1539" y="526"/>
                    </a:lnTo>
                    <a:lnTo>
                      <a:pt x="1544" y="531"/>
                    </a:lnTo>
                    <a:lnTo>
                      <a:pt x="1548" y="535"/>
                    </a:lnTo>
                    <a:lnTo>
                      <a:pt x="1552" y="535"/>
                    </a:lnTo>
                    <a:lnTo>
                      <a:pt x="1557" y="539"/>
                    </a:lnTo>
                    <a:lnTo>
                      <a:pt x="1561" y="539"/>
                    </a:lnTo>
                    <a:lnTo>
                      <a:pt x="1561" y="531"/>
                    </a:lnTo>
                    <a:lnTo>
                      <a:pt x="1570" y="526"/>
                    </a:lnTo>
                    <a:lnTo>
                      <a:pt x="1570" y="522"/>
                    </a:lnTo>
                    <a:lnTo>
                      <a:pt x="1578" y="526"/>
                    </a:lnTo>
                    <a:lnTo>
                      <a:pt x="1583" y="531"/>
                    </a:lnTo>
                    <a:lnTo>
                      <a:pt x="1583" y="535"/>
                    </a:lnTo>
                    <a:lnTo>
                      <a:pt x="1583" y="539"/>
                    </a:lnTo>
                    <a:lnTo>
                      <a:pt x="1578" y="539"/>
                    </a:lnTo>
                    <a:lnTo>
                      <a:pt x="1578" y="548"/>
                    </a:lnTo>
                    <a:lnTo>
                      <a:pt x="1574" y="548"/>
                    </a:lnTo>
                    <a:lnTo>
                      <a:pt x="1574" y="552"/>
                    </a:lnTo>
                    <a:lnTo>
                      <a:pt x="1570" y="552"/>
                    </a:lnTo>
                    <a:lnTo>
                      <a:pt x="1565" y="552"/>
                    </a:lnTo>
                    <a:lnTo>
                      <a:pt x="1561" y="552"/>
                    </a:lnTo>
                    <a:lnTo>
                      <a:pt x="1557" y="552"/>
                    </a:lnTo>
                    <a:lnTo>
                      <a:pt x="1552" y="552"/>
                    </a:lnTo>
                    <a:lnTo>
                      <a:pt x="1552" y="557"/>
                    </a:lnTo>
                    <a:lnTo>
                      <a:pt x="1552" y="570"/>
                    </a:lnTo>
                    <a:lnTo>
                      <a:pt x="1557" y="574"/>
                    </a:lnTo>
                    <a:lnTo>
                      <a:pt x="1561" y="578"/>
                    </a:lnTo>
                    <a:lnTo>
                      <a:pt x="1565" y="583"/>
                    </a:lnTo>
                    <a:lnTo>
                      <a:pt x="1570" y="583"/>
                    </a:lnTo>
                    <a:lnTo>
                      <a:pt x="1565" y="587"/>
                    </a:lnTo>
                    <a:lnTo>
                      <a:pt x="1565" y="592"/>
                    </a:lnTo>
                    <a:lnTo>
                      <a:pt x="1565" y="596"/>
                    </a:lnTo>
                    <a:lnTo>
                      <a:pt x="1557" y="596"/>
                    </a:lnTo>
                    <a:lnTo>
                      <a:pt x="1548" y="600"/>
                    </a:lnTo>
                    <a:lnTo>
                      <a:pt x="1552" y="618"/>
                    </a:lnTo>
                    <a:lnTo>
                      <a:pt x="1552" y="626"/>
                    </a:lnTo>
                    <a:lnTo>
                      <a:pt x="1552" y="631"/>
                    </a:lnTo>
                    <a:lnTo>
                      <a:pt x="1548" y="631"/>
                    </a:lnTo>
                    <a:lnTo>
                      <a:pt x="1544" y="631"/>
                    </a:lnTo>
                    <a:lnTo>
                      <a:pt x="1535" y="626"/>
                    </a:lnTo>
                    <a:lnTo>
                      <a:pt x="1526" y="622"/>
                    </a:lnTo>
                    <a:lnTo>
                      <a:pt x="1526" y="626"/>
                    </a:lnTo>
                    <a:lnTo>
                      <a:pt x="1522" y="626"/>
                    </a:lnTo>
                    <a:lnTo>
                      <a:pt x="1522" y="631"/>
                    </a:lnTo>
                    <a:lnTo>
                      <a:pt x="1513" y="626"/>
                    </a:lnTo>
                    <a:lnTo>
                      <a:pt x="1509" y="622"/>
                    </a:lnTo>
                    <a:lnTo>
                      <a:pt x="1505" y="618"/>
                    </a:lnTo>
                    <a:lnTo>
                      <a:pt x="1496" y="618"/>
                    </a:lnTo>
                    <a:lnTo>
                      <a:pt x="1491" y="618"/>
                    </a:lnTo>
                    <a:lnTo>
                      <a:pt x="1491" y="622"/>
                    </a:lnTo>
                    <a:lnTo>
                      <a:pt x="1496" y="626"/>
                    </a:lnTo>
                    <a:lnTo>
                      <a:pt x="1491" y="631"/>
                    </a:lnTo>
                    <a:lnTo>
                      <a:pt x="1491" y="635"/>
                    </a:lnTo>
                    <a:lnTo>
                      <a:pt x="1491" y="639"/>
                    </a:lnTo>
                    <a:lnTo>
                      <a:pt x="1487" y="644"/>
                    </a:lnTo>
                    <a:lnTo>
                      <a:pt x="1491" y="644"/>
                    </a:lnTo>
                    <a:lnTo>
                      <a:pt x="1491" y="648"/>
                    </a:lnTo>
                    <a:lnTo>
                      <a:pt x="1496" y="648"/>
                    </a:lnTo>
                    <a:lnTo>
                      <a:pt x="1500" y="644"/>
                    </a:lnTo>
                    <a:lnTo>
                      <a:pt x="1505" y="644"/>
                    </a:lnTo>
                    <a:lnTo>
                      <a:pt x="1509" y="648"/>
                    </a:lnTo>
                    <a:lnTo>
                      <a:pt x="1509" y="652"/>
                    </a:lnTo>
                    <a:lnTo>
                      <a:pt x="1509" y="657"/>
                    </a:lnTo>
                    <a:lnTo>
                      <a:pt x="1513" y="661"/>
                    </a:lnTo>
                    <a:lnTo>
                      <a:pt x="1518" y="661"/>
                    </a:lnTo>
                    <a:lnTo>
                      <a:pt x="1522" y="661"/>
                    </a:lnTo>
                    <a:lnTo>
                      <a:pt x="1522" y="665"/>
                    </a:lnTo>
                    <a:lnTo>
                      <a:pt x="1526" y="670"/>
                    </a:lnTo>
                    <a:lnTo>
                      <a:pt x="1531" y="674"/>
                    </a:lnTo>
                    <a:lnTo>
                      <a:pt x="1531" y="678"/>
                    </a:lnTo>
                    <a:lnTo>
                      <a:pt x="1526" y="683"/>
                    </a:lnTo>
                    <a:lnTo>
                      <a:pt x="1526" y="687"/>
                    </a:lnTo>
                    <a:lnTo>
                      <a:pt x="1522" y="687"/>
                    </a:lnTo>
                    <a:lnTo>
                      <a:pt x="1518" y="692"/>
                    </a:lnTo>
                    <a:lnTo>
                      <a:pt x="1518" y="696"/>
                    </a:lnTo>
                    <a:lnTo>
                      <a:pt x="1522" y="713"/>
                    </a:lnTo>
                    <a:lnTo>
                      <a:pt x="1526" y="726"/>
                    </a:lnTo>
                    <a:lnTo>
                      <a:pt x="1531" y="731"/>
                    </a:lnTo>
                    <a:lnTo>
                      <a:pt x="1535" y="735"/>
                    </a:lnTo>
                    <a:lnTo>
                      <a:pt x="1539" y="739"/>
                    </a:lnTo>
                    <a:lnTo>
                      <a:pt x="1544" y="744"/>
                    </a:lnTo>
                    <a:lnTo>
                      <a:pt x="1548" y="744"/>
                    </a:lnTo>
                    <a:lnTo>
                      <a:pt x="1548" y="748"/>
                    </a:lnTo>
                    <a:lnTo>
                      <a:pt x="1548" y="752"/>
                    </a:lnTo>
                    <a:lnTo>
                      <a:pt x="1548" y="757"/>
                    </a:lnTo>
                    <a:lnTo>
                      <a:pt x="1548" y="761"/>
                    </a:lnTo>
                    <a:lnTo>
                      <a:pt x="1548" y="765"/>
                    </a:lnTo>
                    <a:lnTo>
                      <a:pt x="1552" y="765"/>
                    </a:lnTo>
                    <a:lnTo>
                      <a:pt x="1557" y="761"/>
                    </a:lnTo>
                    <a:lnTo>
                      <a:pt x="1561" y="761"/>
                    </a:lnTo>
                    <a:lnTo>
                      <a:pt x="1561" y="757"/>
                    </a:lnTo>
                    <a:lnTo>
                      <a:pt x="1570" y="752"/>
                    </a:lnTo>
                    <a:lnTo>
                      <a:pt x="1574" y="748"/>
                    </a:lnTo>
                    <a:lnTo>
                      <a:pt x="1587" y="735"/>
                    </a:lnTo>
                    <a:lnTo>
                      <a:pt x="1591" y="731"/>
                    </a:lnTo>
                    <a:lnTo>
                      <a:pt x="1591" y="726"/>
                    </a:lnTo>
                    <a:lnTo>
                      <a:pt x="1596" y="726"/>
                    </a:lnTo>
                    <a:lnTo>
                      <a:pt x="1596" y="731"/>
                    </a:lnTo>
                    <a:lnTo>
                      <a:pt x="1600" y="739"/>
                    </a:lnTo>
                    <a:lnTo>
                      <a:pt x="1609" y="752"/>
                    </a:lnTo>
                    <a:lnTo>
                      <a:pt x="1613" y="752"/>
                    </a:lnTo>
                    <a:lnTo>
                      <a:pt x="1618" y="757"/>
                    </a:lnTo>
                    <a:lnTo>
                      <a:pt x="1618" y="761"/>
                    </a:lnTo>
                    <a:lnTo>
                      <a:pt x="1618" y="765"/>
                    </a:lnTo>
                    <a:lnTo>
                      <a:pt x="1618" y="770"/>
                    </a:lnTo>
                    <a:lnTo>
                      <a:pt x="1622" y="770"/>
                    </a:lnTo>
                    <a:lnTo>
                      <a:pt x="1626" y="778"/>
                    </a:lnTo>
                    <a:lnTo>
                      <a:pt x="1635" y="792"/>
                    </a:lnTo>
                    <a:lnTo>
                      <a:pt x="1635" y="796"/>
                    </a:lnTo>
                    <a:lnTo>
                      <a:pt x="1635" y="800"/>
                    </a:lnTo>
                    <a:lnTo>
                      <a:pt x="1631" y="800"/>
                    </a:lnTo>
                    <a:lnTo>
                      <a:pt x="1626" y="809"/>
                    </a:lnTo>
                    <a:lnTo>
                      <a:pt x="1631" y="813"/>
                    </a:lnTo>
                    <a:lnTo>
                      <a:pt x="1648" y="818"/>
                    </a:lnTo>
                    <a:lnTo>
                      <a:pt x="1652" y="818"/>
                    </a:lnTo>
                    <a:lnTo>
                      <a:pt x="1652" y="822"/>
                    </a:lnTo>
                    <a:lnTo>
                      <a:pt x="1652" y="831"/>
                    </a:lnTo>
                    <a:lnTo>
                      <a:pt x="1652" y="844"/>
                    </a:lnTo>
                    <a:lnTo>
                      <a:pt x="1648" y="844"/>
                    </a:lnTo>
                    <a:lnTo>
                      <a:pt x="1635" y="852"/>
                    </a:lnTo>
                    <a:lnTo>
                      <a:pt x="1631" y="852"/>
                    </a:lnTo>
                    <a:lnTo>
                      <a:pt x="1626" y="857"/>
                    </a:lnTo>
                    <a:lnTo>
                      <a:pt x="1626" y="861"/>
                    </a:lnTo>
                    <a:lnTo>
                      <a:pt x="1626" y="865"/>
                    </a:lnTo>
                    <a:lnTo>
                      <a:pt x="1626" y="870"/>
                    </a:lnTo>
                    <a:lnTo>
                      <a:pt x="1622" y="874"/>
                    </a:lnTo>
                    <a:lnTo>
                      <a:pt x="1613" y="878"/>
                    </a:lnTo>
                    <a:lnTo>
                      <a:pt x="1613" y="883"/>
                    </a:lnTo>
                    <a:lnTo>
                      <a:pt x="1609" y="883"/>
                    </a:lnTo>
                    <a:lnTo>
                      <a:pt x="1605" y="883"/>
                    </a:lnTo>
                    <a:lnTo>
                      <a:pt x="1596" y="878"/>
                    </a:lnTo>
                    <a:lnTo>
                      <a:pt x="1591" y="878"/>
                    </a:lnTo>
                    <a:lnTo>
                      <a:pt x="1587" y="878"/>
                    </a:lnTo>
                    <a:lnTo>
                      <a:pt x="1587" y="874"/>
                    </a:lnTo>
                    <a:lnTo>
                      <a:pt x="1583" y="878"/>
                    </a:lnTo>
                    <a:lnTo>
                      <a:pt x="1578" y="878"/>
                    </a:lnTo>
                    <a:lnTo>
                      <a:pt x="1578" y="883"/>
                    </a:lnTo>
                    <a:lnTo>
                      <a:pt x="1583" y="883"/>
                    </a:lnTo>
                    <a:lnTo>
                      <a:pt x="1583" y="887"/>
                    </a:lnTo>
                    <a:lnTo>
                      <a:pt x="1587" y="887"/>
                    </a:lnTo>
                    <a:lnTo>
                      <a:pt x="1587" y="892"/>
                    </a:lnTo>
                    <a:lnTo>
                      <a:pt x="1583" y="896"/>
                    </a:lnTo>
                    <a:lnTo>
                      <a:pt x="1578" y="896"/>
                    </a:lnTo>
                    <a:lnTo>
                      <a:pt x="1574" y="896"/>
                    </a:lnTo>
                    <a:lnTo>
                      <a:pt x="1570" y="896"/>
                    </a:lnTo>
                    <a:lnTo>
                      <a:pt x="1561" y="892"/>
                    </a:lnTo>
                    <a:lnTo>
                      <a:pt x="1557" y="896"/>
                    </a:lnTo>
                    <a:lnTo>
                      <a:pt x="1557" y="900"/>
                    </a:lnTo>
                    <a:lnTo>
                      <a:pt x="1557" y="905"/>
                    </a:lnTo>
                    <a:lnTo>
                      <a:pt x="1557" y="909"/>
                    </a:lnTo>
                    <a:lnTo>
                      <a:pt x="1552" y="909"/>
                    </a:lnTo>
                    <a:lnTo>
                      <a:pt x="1544" y="918"/>
                    </a:lnTo>
                    <a:lnTo>
                      <a:pt x="1539" y="922"/>
                    </a:lnTo>
                    <a:lnTo>
                      <a:pt x="1539" y="918"/>
                    </a:lnTo>
                    <a:lnTo>
                      <a:pt x="1535" y="918"/>
                    </a:lnTo>
                    <a:lnTo>
                      <a:pt x="1535" y="913"/>
                    </a:lnTo>
                    <a:lnTo>
                      <a:pt x="1526" y="918"/>
                    </a:lnTo>
                    <a:lnTo>
                      <a:pt x="1522" y="918"/>
                    </a:lnTo>
                    <a:lnTo>
                      <a:pt x="1522" y="922"/>
                    </a:lnTo>
                    <a:lnTo>
                      <a:pt x="1518" y="926"/>
                    </a:lnTo>
                    <a:lnTo>
                      <a:pt x="1513" y="935"/>
                    </a:lnTo>
                    <a:lnTo>
                      <a:pt x="1509" y="944"/>
                    </a:lnTo>
                    <a:lnTo>
                      <a:pt x="1505" y="944"/>
                    </a:lnTo>
                    <a:lnTo>
                      <a:pt x="1500" y="944"/>
                    </a:lnTo>
                    <a:lnTo>
                      <a:pt x="1487" y="948"/>
                    </a:lnTo>
                    <a:lnTo>
                      <a:pt x="1487" y="952"/>
                    </a:lnTo>
                    <a:lnTo>
                      <a:pt x="1483" y="957"/>
                    </a:lnTo>
                    <a:lnTo>
                      <a:pt x="1478" y="957"/>
                    </a:lnTo>
                    <a:lnTo>
                      <a:pt x="1474" y="957"/>
                    </a:lnTo>
                    <a:lnTo>
                      <a:pt x="1474" y="961"/>
                    </a:lnTo>
                    <a:lnTo>
                      <a:pt x="1474" y="965"/>
                    </a:lnTo>
                    <a:lnTo>
                      <a:pt x="1474" y="970"/>
                    </a:lnTo>
                    <a:lnTo>
                      <a:pt x="1470" y="974"/>
                    </a:lnTo>
                    <a:lnTo>
                      <a:pt x="1465" y="978"/>
                    </a:lnTo>
                    <a:lnTo>
                      <a:pt x="1457" y="992"/>
                    </a:lnTo>
                    <a:lnTo>
                      <a:pt x="1457" y="996"/>
                    </a:lnTo>
                    <a:lnTo>
                      <a:pt x="1457" y="100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" name="Freeform 28">
                <a:extLst>
                  <a:ext uri="{FF2B5EF4-FFF2-40B4-BE49-F238E27FC236}">
                    <a16:creationId xmlns:a16="http://schemas.microsoft.com/office/drawing/2014/main" id="{14303DEC-27F9-95A1-ECD4-23A3539A1A6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72818" y="2171030"/>
                <a:ext cx="1082524" cy="704850"/>
              </a:xfrm>
              <a:custGeom>
                <a:avLst/>
                <a:gdLst>
                  <a:gd name="T0" fmla="*/ 492 w 626"/>
                  <a:gd name="T1" fmla="*/ 287 h 426"/>
                  <a:gd name="T2" fmla="*/ 461 w 626"/>
                  <a:gd name="T3" fmla="*/ 300 h 426"/>
                  <a:gd name="T4" fmla="*/ 487 w 626"/>
                  <a:gd name="T5" fmla="*/ 326 h 426"/>
                  <a:gd name="T6" fmla="*/ 470 w 626"/>
                  <a:gd name="T7" fmla="*/ 343 h 426"/>
                  <a:gd name="T8" fmla="*/ 422 w 626"/>
                  <a:gd name="T9" fmla="*/ 352 h 426"/>
                  <a:gd name="T10" fmla="*/ 396 w 626"/>
                  <a:gd name="T11" fmla="*/ 330 h 426"/>
                  <a:gd name="T12" fmla="*/ 378 w 626"/>
                  <a:gd name="T13" fmla="*/ 356 h 426"/>
                  <a:gd name="T14" fmla="*/ 370 w 626"/>
                  <a:gd name="T15" fmla="*/ 387 h 426"/>
                  <a:gd name="T16" fmla="*/ 339 w 626"/>
                  <a:gd name="T17" fmla="*/ 426 h 426"/>
                  <a:gd name="T18" fmla="*/ 326 w 626"/>
                  <a:gd name="T19" fmla="*/ 391 h 426"/>
                  <a:gd name="T20" fmla="*/ 296 w 626"/>
                  <a:gd name="T21" fmla="*/ 361 h 426"/>
                  <a:gd name="T22" fmla="*/ 296 w 626"/>
                  <a:gd name="T23" fmla="*/ 322 h 426"/>
                  <a:gd name="T24" fmla="*/ 261 w 626"/>
                  <a:gd name="T25" fmla="*/ 287 h 426"/>
                  <a:gd name="T26" fmla="*/ 244 w 626"/>
                  <a:gd name="T27" fmla="*/ 252 h 426"/>
                  <a:gd name="T28" fmla="*/ 231 w 626"/>
                  <a:gd name="T29" fmla="*/ 269 h 426"/>
                  <a:gd name="T30" fmla="*/ 213 w 626"/>
                  <a:gd name="T31" fmla="*/ 261 h 426"/>
                  <a:gd name="T32" fmla="*/ 165 w 626"/>
                  <a:gd name="T33" fmla="*/ 239 h 426"/>
                  <a:gd name="T34" fmla="*/ 144 w 626"/>
                  <a:gd name="T35" fmla="*/ 230 h 426"/>
                  <a:gd name="T36" fmla="*/ 131 w 626"/>
                  <a:gd name="T37" fmla="*/ 200 h 426"/>
                  <a:gd name="T38" fmla="*/ 113 w 626"/>
                  <a:gd name="T39" fmla="*/ 169 h 426"/>
                  <a:gd name="T40" fmla="*/ 87 w 626"/>
                  <a:gd name="T41" fmla="*/ 178 h 426"/>
                  <a:gd name="T42" fmla="*/ 61 w 626"/>
                  <a:gd name="T43" fmla="*/ 195 h 426"/>
                  <a:gd name="T44" fmla="*/ 57 w 626"/>
                  <a:gd name="T45" fmla="*/ 174 h 426"/>
                  <a:gd name="T46" fmla="*/ 31 w 626"/>
                  <a:gd name="T47" fmla="*/ 126 h 426"/>
                  <a:gd name="T48" fmla="*/ 44 w 626"/>
                  <a:gd name="T49" fmla="*/ 104 h 426"/>
                  <a:gd name="T50" fmla="*/ 22 w 626"/>
                  <a:gd name="T51" fmla="*/ 87 h 426"/>
                  <a:gd name="T52" fmla="*/ 4 w 626"/>
                  <a:gd name="T53" fmla="*/ 78 h 426"/>
                  <a:gd name="T54" fmla="*/ 9 w 626"/>
                  <a:gd name="T55" fmla="*/ 56 h 426"/>
                  <a:gd name="T56" fmla="*/ 26 w 626"/>
                  <a:gd name="T57" fmla="*/ 56 h 426"/>
                  <a:gd name="T58" fmla="*/ 57 w 626"/>
                  <a:gd name="T59" fmla="*/ 61 h 426"/>
                  <a:gd name="T60" fmla="*/ 70 w 626"/>
                  <a:gd name="T61" fmla="*/ 26 h 426"/>
                  <a:gd name="T62" fmla="*/ 87 w 626"/>
                  <a:gd name="T63" fmla="*/ 8 h 426"/>
                  <a:gd name="T64" fmla="*/ 113 w 626"/>
                  <a:gd name="T65" fmla="*/ 4 h 426"/>
                  <a:gd name="T66" fmla="*/ 135 w 626"/>
                  <a:gd name="T67" fmla="*/ 30 h 426"/>
                  <a:gd name="T68" fmla="*/ 178 w 626"/>
                  <a:gd name="T69" fmla="*/ 65 h 426"/>
                  <a:gd name="T70" fmla="*/ 205 w 626"/>
                  <a:gd name="T71" fmla="*/ 56 h 426"/>
                  <a:gd name="T72" fmla="*/ 244 w 626"/>
                  <a:gd name="T73" fmla="*/ 39 h 426"/>
                  <a:gd name="T74" fmla="*/ 257 w 626"/>
                  <a:gd name="T75" fmla="*/ 61 h 426"/>
                  <a:gd name="T76" fmla="*/ 287 w 626"/>
                  <a:gd name="T77" fmla="*/ 56 h 426"/>
                  <a:gd name="T78" fmla="*/ 318 w 626"/>
                  <a:gd name="T79" fmla="*/ 52 h 426"/>
                  <a:gd name="T80" fmla="*/ 335 w 626"/>
                  <a:gd name="T81" fmla="*/ 78 h 426"/>
                  <a:gd name="T82" fmla="*/ 344 w 626"/>
                  <a:gd name="T83" fmla="*/ 91 h 426"/>
                  <a:gd name="T84" fmla="*/ 370 w 626"/>
                  <a:gd name="T85" fmla="*/ 95 h 426"/>
                  <a:gd name="T86" fmla="*/ 409 w 626"/>
                  <a:gd name="T87" fmla="*/ 122 h 426"/>
                  <a:gd name="T88" fmla="*/ 400 w 626"/>
                  <a:gd name="T89" fmla="*/ 78 h 426"/>
                  <a:gd name="T90" fmla="*/ 426 w 626"/>
                  <a:gd name="T91" fmla="*/ 95 h 426"/>
                  <a:gd name="T92" fmla="*/ 439 w 626"/>
                  <a:gd name="T93" fmla="*/ 122 h 426"/>
                  <a:gd name="T94" fmla="*/ 461 w 626"/>
                  <a:gd name="T95" fmla="*/ 126 h 426"/>
                  <a:gd name="T96" fmla="*/ 492 w 626"/>
                  <a:gd name="T97" fmla="*/ 139 h 426"/>
                  <a:gd name="T98" fmla="*/ 513 w 626"/>
                  <a:gd name="T99" fmla="*/ 113 h 426"/>
                  <a:gd name="T100" fmla="*/ 526 w 626"/>
                  <a:gd name="T101" fmla="*/ 95 h 426"/>
                  <a:gd name="T102" fmla="*/ 539 w 626"/>
                  <a:gd name="T103" fmla="*/ 104 h 426"/>
                  <a:gd name="T104" fmla="*/ 570 w 626"/>
                  <a:gd name="T105" fmla="*/ 117 h 426"/>
                  <a:gd name="T106" fmla="*/ 600 w 626"/>
                  <a:gd name="T107" fmla="*/ 126 h 426"/>
                  <a:gd name="T108" fmla="*/ 613 w 626"/>
                  <a:gd name="T109" fmla="*/ 122 h 426"/>
                  <a:gd name="T110" fmla="*/ 622 w 626"/>
                  <a:gd name="T111" fmla="*/ 156 h 426"/>
                  <a:gd name="T112" fmla="*/ 609 w 626"/>
                  <a:gd name="T113" fmla="*/ 174 h 426"/>
                  <a:gd name="T114" fmla="*/ 596 w 626"/>
                  <a:gd name="T115" fmla="*/ 195 h 426"/>
                  <a:gd name="T116" fmla="*/ 605 w 626"/>
                  <a:gd name="T117" fmla="*/ 213 h 426"/>
                  <a:gd name="T118" fmla="*/ 574 w 626"/>
                  <a:gd name="T119" fmla="*/ 191 h 426"/>
                  <a:gd name="T120" fmla="*/ 548 w 626"/>
                  <a:gd name="T121" fmla="*/ 178 h 426"/>
                  <a:gd name="T122" fmla="*/ 552 w 626"/>
                  <a:gd name="T123" fmla="*/ 222 h 426"/>
                  <a:gd name="T124" fmla="*/ 526 w 626"/>
                  <a:gd name="T125" fmla="*/ 243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6" h="426">
                    <a:moveTo>
                      <a:pt x="518" y="269"/>
                    </a:moveTo>
                    <a:lnTo>
                      <a:pt x="513" y="274"/>
                    </a:lnTo>
                    <a:lnTo>
                      <a:pt x="513" y="278"/>
                    </a:lnTo>
                    <a:lnTo>
                      <a:pt x="509" y="278"/>
                    </a:lnTo>
                    <a:lnTo>
                      <a:pt x="500" y="282"/>
                    </a:lnTo>
                    <a:lnTo>
                      <a:pt x="492" y="287"/>
                    </a:lnTo>
                    <a:lnTo>
                      <a:pt x="487" y="287"/>
                    </a:lnTo>
                    <a:lnTo>
                      <a:pt x="483" y="287"/>
                    </a:lnTo>
                    <a:lnTo>
                      <a:pt x="478" y="287"/>
                    </a:lnTo>
                    <a:lnTo>
                      <a:pt x="474" y="287"/>
                    </a:lnTo>
                    <a:lnTo>
                      <a:pt x="461" y="295"/>
                    </a:lnTo>
                    <a:lnTo>
                      <a:pt x="461" y="300"/>
                    </a:lnTo>
                    <a:lnTo>
                      <a:pt x="465" y="304"/>
                    </a:lnTo>
                    <a:lnTo>
                      <a:pt x="470" y="308"/>
                    </a:lnTo>
                    <a:lnTo>
                      <a:pt x="474" y="317"/>
                    </a:lnTo>
                    <a:lnTo>
                      <a:pt x="478" y="317"/>
                    </a:lnTo>
                    <a:lnTo>
                      <a:pt x="483" y="322"/>
                    </a:lnTo>
                    <a:lnTo>
                      <a:pt x="487" y="326"/>
                    </a:lnTo>
                    <a:lnTo>
                      <a:pt x="487" y="330"/>
                    </a:lnTo>
                    <a:lnTo>
                      <a:pt x="483" y="339"/>
                    </a:lnTo>
                    <a:lnTo>
                      <a:pt x="483" y="343"/>
                    </a:lnTo>
                    <a:lnTo>
                      <a:pt x="478" y="343"/>
                    </a:lnTo>
                    <a:lnTo>
                      <a:pt x="474" y="343"/>
                    </a:lnTo>
                    <a:lnTo>
                      <a:pt x="470" y="343"/>
                    </a:lnTo>
                    <a:lnTo>
                      <a:pt x="465" y="343"/>
                    </a:lnTo>
                    <a:lnTo>
                      <a:pt x="461" y="343"/>
                    </a:lnTo>
                    <a:lnTo>
                      <a:pt x="461" y="348"/>
                    </a:lnTo>
                    <a:lnTo>
                      <a:pt x="452" y="348"/>
                    </a:lnTo>
                    <a:lnTo>
                      <a:pt x="448" y="352"/>
                    </a:lnTo>
                    <a:lnTo>
                      <a:pt x="422" y="352"/>
                    </a:lnTo>
                    <a:lnTo>
                      <a:pt x="418" y="348"/>
                    </a:lnTo>
                    <a:lnTo>
                      <a:pt x="413" y="343"/>
                    </a:lnTo>
                    <a:lnTo>
                      <a:pt x="409" y="343"/>
                    </a:lnTo>
                    <a:lnTo>
                      <a:pt x="409" y="339"/>
                    </a:lnTo>
                    <a:lnTo>
                      <a:pt x="405" y="335"/>
                    </a:lnTo>
                    <a:lnTo>
                      <a:pt x="396" y="330"/>
                    </a:lnTo>
                    <a:lnTo>
                      <a:pt x="391" y="335"/>
                    </a:lnTo>
                    <a:lnTo>
                      <a:pt x="387" y="339"/>
                    </a:lnTo>
                    <a:lnTo>
                      <a:pt x="383" y="343"/>
                    </a:lnTo>
                    <a:lnTo>
                      <a:pt x="383" y="348"/>
                    </a:lnTo>
                    <a:lnTo>
                      <a:pt x="378" y="352"/>
                    </a:lnTo>
                    <a:lnTo>
                      <a:pt x="378" y="356"/>
                    </a:lnTo>
                    <a:lnTo>
                      <a:pt x="378" y="369"/>
                    </a:lnTo>
                    <a:lnTo>
                      <a:pt x="378" y="374"/>
                    </a:lnTo>
                    <a:lnTo>
                      <a:pt x="374" y="374"/>
                    </a:lnTo>
                    <a:lnTo>
                      <a:pt x="374" y="378"/>
                    </a:lnTo>
                    <a:lnTo>
                      <a:pt x="370" y="382"/>
                    </a:lnTo>
                    <a:lnTo>
                      <a:pt x="370" y="387"/>
                    </a:lnTo>
                    <a:lnTo>
                      <a:pt x="370" y="391"/>
                    </a:lnTo>
                    <a:lnTo>
                      <a:pt x="370" y="395"/>
                    </a:lnTo>
                    <a:lnTo>
                      <a:pt x="361" y="404"/>
                    </a:lnTo>
                    <a:lnTo>
                      <a:pt x="357" y="417"/>
                    </a:lnTo>
                    <a:lnTo>
                      <a:pt x="352" y="422"/>
                    </a:lnTo>
                    <a:lnTo>
                      <a:pt x="339" y="426"/>
                    </a:lnTo>
                    <a:lnTo>
                      <a:pt x="335" y="426"/>
                    </a:lnTo>
                    <a:lnTo>
                      <a:pt x="331" y="422"/>
                    </a:lnTo>
                    <a:lnTo>
                      <a:pt x="335" y="413"/>
                    </a:lnTo>
                    <a:lnTo>
                      <a:pt x="335" y="400"/>
                    </a:lnTo>
                    <a:lnTo>
                      <a:pt x="335" y="395"/>
                    </a:lnTo>
                    <a:lnTo>
                      <a:pt x="326" y="391"/>
                    </a:lnTo>
                    <a:lnTo>
                      <a:pt x="322" y="387"/>
                    </a:lnTo>
                    <a:lnTo>
                      <a:pt x="318" y="378"/>
                    </a:lnTo>
                    <a:lnTo>
                      <a:pt x="313" y="374"/>
                    </a:lnTo>
                    <a:lnTo>
                      <a:pt x="309" y="369"/>
                    </a:lnTo>
                    <a:lnTo>
                      <a:pt x="300" y="365"/>
                    </a:lnTo>
                    <a:lnTo>
                      <a:pt x="296" y="361"/>
                    </a:lnTo>
                    <a:lnTo>
                      <a:pt x="291" y="352"/>
                    </a:lnTo>
                    <a:lnTo>
                      <a:pt x="291" y="343"/>
                    </a:lnTo>
                    <a:lnTo>
                      <a:pt x="291" y="339"/>
                    </a:lnTo>
                    <a:lnTo>
                      <a:pt x="296" y="335"/>
                    </a:lnTo>
                    <a:lnTo>
                      <a:pt x="300" y="326"/>
                    </a:lnTo>
                    <a:lnTo>
                      <a:pt x="296" y="322"/>
                    </a:lnTo>
                    <a:lnTo>
                      <a:pt x="291" y="322"/>
                    </a:lnTo>
                    <a:lnTo>
                      <a:pt x="287" y="326"/>
                    </a:lnTo>
                    <a:lnTo>
                      <a:pt x="274" y="308"/>
                    </a:lnTo>
                    <a:lnTo>
                      <a:pt x="274" y="304"/>
                    </a:lnTo>
                    <a:lnTo>
                      <a:pt x="265" y="295"/>
                    </a:lnTo>
                    <a:lnTo>
                      <a:pt x="261" y="287"/>
                    </a:lnTo>
                    <a:lnTo>
                      <a:pt x="257" y="282"/>
                    </a:lnTo>
                    <a:lnTo>
                      <a:pt x="248" y="278"/>
                    </a:lnTo>
                    <a:lnTo>
                      <a:pt x="248" y="274"/>
                    </a:lnTo>
                    <a:lnTo>
                      <a:pt x="244" y="269"/>
                    </a:lnTo>
                    <a:lnTo>
                      <a:pt x="244" y="265"/>
                    </a:lnTo>
                    <a:lnTo>
                      <a:pt x="244" y="252"/>
                    </a:lnTo>
                    <a:lnTo>
                      <a:pt x="239" y="252"/>
                    </a:lnTo>
                    <a:lnTo>
                      <a:pt x="235" y="252"/>
                    </a:lnTo>
                    <a:lnTo>
                      <a:pt x="231" y="256"/>
                    </a:lnTo>
                    <a:lnTo>
                      <a:pt x="231" y="261"/>
                    </a:lnTo>
                    <a:lnTo>
                      <a:pt x="231" y="265"/>
                    </a:lnTo>
                    <a:lnTo>
                      <a:pt x="231" y="269"/>
                    </a:lnTo>
                    <a:lnTo>
                      <a:pt x="226" y="274"/>
                    </a:lnTo>
                    <a:lnTo>
                      <a:pt x="222" y="278"/>
                    </a:lnTo>
                    <a:lnTo>
                      <a:pt x="218" y="278"/>
                    </a:lnTo>
                    <a:lnTo>
                      <a:pt x="213" y="269"/>
                    </a:lnTo>
                    <a:lnTo>
                      <a:pt x="213" y="265"/>
                    </a:lnTo>
                    <a:lnTo>
                      <a:pt x="213" y="261"/>
                    </a:lnTo>
                    <a:lnTo>
                      <a:pt x="205" y="252"/>
                    </a:lnTo>
                    <a:lnTo>
                      <a:pt x="200" y="248"/>
                    </a:lnTo>
                    <a:lnTo>
                      <a:pt x="191" y="248"/>
                    </a:lnTo>
                    <a:lnTo>
                      <a:pt x="178" y="243"/>
                    </a:lnTo>
                    <a:lnTo>
                      <a:pt x="170" y="239"/>
                    </a:lnTo>
                    <a:lnTo>
                      <a:pt x="165" y="239"/>
                    </a:lnTo>
                    <a:lnTo>
                      <a:pt x="165" y="243"/>
                    </a:lnTo>
                    <a:lnTo>
                      <a:pt x="165" y="248"/>
                    </a:lnTo>
                    <a:lnTo>
                      <a:pt x="161" y="248"/>
                    </a:lnTo>
                    <a:lnTo>
                      <a:pt x="144" y="243"/>
                    </a:lnTo>
                    <a:lnTo>
                      <a:pt x="139" y="239"/>
                    </a:lnTo>
                    <a:lnTo>
                      <a:pt x="144" y="230"/>
                    </a:lnTo>
                    <a:lnTo>
                      <a:pt x="148" y="230"/>
                    </a:lnTo>
                    <a:lnTo>
                      <a:pt x="148" y="226"/>
                    </a:lnTo>
                    <a:lnTo>
                      <a:pt x="148" y="222"/>
                    </a:lnTo>
                    <a:lnTo>
                      <a:pt x="139" y="208"/>
                    </a:lnTo>
                    <a:lnTo>
                      <a:pt x="135" y="200"/>
                    </a:lnTo>
                    <a:lnTo>
                      <a:pt x="131" y="200"/>
                    </a:lnTo>
                    <a:lnTo>
                      <a:pt x="131" y="195"/>
                    </a:lnTo>
                    <a:lnTo>
                      <a:pt x="131" y="191"/>
                    </a:lnTo>
                    <a:lnTo>
                      <a:pt x="131" y="187"/>
                    </a:lnTo>
                    <a:lnTo>
                      <a:pt x="126" y="182"/>
                    </a:lnTo>
                    <a:lnTo>
                      <a:pt x="122" y="182"/>
                    </a:lnTo>
                    <a:lnTo>
                      <a:pt x="113" y="169"/>
                    </a:lnTo>
                    <a:lnTo>
                      <a:pt x="109" y="161"/>
                    </a:lnTo>
                    <a:lnTo>
                      <a:pt x="109" y="156"/>
                    </a:lnTo>
                    <a:lnTo>
                      <a:pt x="104" y="156"/>
                    </a:lnTo>
                    <a:lnTo>
                      <a:pt x="104" y="161"/>
                    </a:lnTo>
                    <a:lnTo>
                      <a:pt x="100" y="165"/>
                    </a:lnTo>
                    <a:lnTo>
                      <a:pt x="87" y="178"/>
                    </a:lnTo>
                    <a:lnTo>
                      <a:pt x="83" y="182"/>
                    </a:lnTo>
                    <a:lnTo>
                      <a:pt x="74" y="187"/>
                    </a:lnTo>
                    <a:lnTo>
                      <a:pt x="74" y="191"/>
                    </a:lnTo>
                    <a:lnTo>
                      <a:pt x="70" y="191"/>
                    </a:lnTo>
                    <a:lnTo>
                      <a:pt x="65" y="195"/>
                    </a:lnTo>
                    <a:lnTo>
                      <a:pt x="61" y="195"/>
                    </a:lnTo>
                    <a:lnTo>
                      <a:pt x="61" y="191"/>
                    </a:lnTo>
                    <a:lnTo>
                      <a:pt x="61" y="187"/>
                    </a:lnTo>
                    <a:lnTo>
                      <a:pt x="61" y="182"/>
                    </a:lnTo>
                    <a:lnTo>
                      <a:pt x="61" y="178"/>
                    </a:lnTo>
                    <a:lnTo>
                      <a:pt x="61" y="174"/>
                    </a:lnTo>
                    <a:lnTo>
                      <a:pt x="57" y="174"/>
                    </a:lnTo>
                    <a:lnTo>
                      <a:pt x="52" y="169"/>
                    </a:lnTo>
                    <a:lnTo>
                      <a:pt x="48" y="165"/>
                    </a:lnTo>
                    <a:lnTo>
                      <a:pt x="44" y="161"/>
                    </a:lnTo>
                    <a:lnTo>
                      <a:pt x="39" y="156"/>
                    </a:lnTo>
                    <a:lnTo>
                      <a:pt x="35" y="143"/>
                    </a:lnTo>
                    <a:lnTo>
                      <a:pt x="31" y="126"/>
                    </a:lnTo>
                    <a:lnTo>
                      <a:pt x="31" y="122"/>
                    </a:lnTo>
                    <a:lnTo>
                      <a:pt x="35" y="117"/>
                    </a:lnTo>
                    <a:lnTo>
                      <a:pt x="39" y="117"/>
                    </a:lnTo>
                    <a:lnTo>
                      <a:pt x="39" y="113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39" y="100"/>
                    </a:lnTo>
                    <a:lnTo>
                      <a:pt x="35" y="95"/>
                    </a:lnTo>
                    <a:lnTo>
                      <a:pt x="35" y="91"/>
                    </a:lnTo>
                    <a:lnTo>
                      <a:pt x="31" y="91"/>
                    </a:lnTo>
                    <a:lnTo>
                      <a:pt x="26" y="91"/>
                    </a:lnTo>
                    <a:lnTo>
                      <a:pt x="22" y="87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4"/>
                    </a:lnTo>
                    <a:lnTo>
                      <a:pt x="13" y="74"/>
                    </a:lnTo>
                    <a:lnTo>
                      <a:pt x="9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69"/>
                    </a:lnTo>
                    <a:lnTo>
                      <a:pt x="4" y="65"/>
                    </a:lnTo>
                    <a:lnTo>
                      <a:pt x="4" y="61"/>
                    </a:lnTo>
                    <a:lnTo>
                      <a:pt x="9" y="56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9" y="48"/>
                    </a:lnTo>
                    <a:lnTo>
                      <a:pt x="18" y="48"/>
                    </a:lnTo>
                    <a:lnTo>
                      <a:pt x="22" y="52"/>
                    </a:lnTo>
                    <a:lnTo>
                      <a:pt x="26" y="56"/>
                    </a:lnTo>
                    <a:lnTo>
                      <a:pt x="35" y="61"/>
                    </a:lnTo>
                    <a:lnTo>
                      <a:pt x="35" y="56"/>
                    </a:lnTo>
                    <a:lnTo>
                      <a:pt x="39" y="56"/>
                    </a:lnTo>
                    <a:lnTo>
                      <a:pt x="39" y="52"/>
                    </a:lnTo>
                    <a:lnTo>
                      <a:pt x="48" y="56"/>
                    </a:lnTo>
                    <a:lnTo>
                      <a:pt x="57" y="61"/>
                    </a:lnTo>
                    <a:lnTo>
                      <a:pt x="61" y="61"/>
                    </a:lnTo>
                    <a:lnTo>
                      <a:pt x="65" y="61"/>
                    </a:lnTo>
                    <a:lnTo>
                      <a:pt x="65" y="56"/>
                    </a:lnTo>
                    <a:lnTo>
                      <a:pt x="65" y="48"/>
                    </a:lnTo>
                    <a:lnTo>
                      <a:pt x="61" y="30"/>
                    </a:lnTo>
                    <a:lnTo>
                      <a:pt x="70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7"/>
                    </a:lnTo>
                    <a:lnTo>
                      <a:pt x="83" y="13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91" y="13"/>
                    </a:lnTo>
                    <a:lnTo>
                      <a:pt x="91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13" y="4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6" y="0"/>
                    </a:lnTo>
                    <a:lnTo>
                      <a:pt x="131" y="13"/>
                    </a:lnTo>
                    <a:lnTo>
                      <a:pt x="135" y="22"/>
                    </a:lnTo>
                    <a:lnTo>
                      <a:pt x="135" y="30"/>
                    </a:lnTo>
                    <a:lnTo>
                      <a:pt x="139" y="39"/>
                    </a:lnTo>
                    <a:lnTo>
                      <a:pt x="148" y="48"/>
                    </a:lnTo>
                    <a:lnTo>
                      <a:pt x="157" y="56"/>
                    </a:lnTo>
                    <a:lnTo>
                      <a:pt x="165" y="65"/>
                    </a:lnTo>
                    <a:lnTo>
                      <a:pt x="174" y="65"/>
                    </a:lnTo>
                    <a:lnTo>
                      <a:pt x="178" y="65"/>
                    </a:lnTo>
                    <a:lnTo>
                      <a:pt x="191" y="56"/>
                    </a:lnTo>
                    <a:lnTo>
                      <a:pt x="196" y="52"/>
                    </a:lnTo>
                    <a:lnTo>
                      <a:pt x="196" y="48"/>
                    </a:lnTo>
                    <a:lnTo>
                      <a:pt x="200" y="52"/>
                    </a:lnTo>
                    <a:lnTo>
                      <a:pt x="205" y="52"/>
                    </a:lnTo>
                    <a:lnTo>
                      <a:pt x="205" y="56"/>
                    </a:lnTo>
                    <a:lnTo>
                      <a:pt x="209" y="56"/>
                    </a:lnTo>
                    <a:lnTo>
                      <a:pt x="222" y="52"/>
                    </a:lnTo>
                    <a:lnTo>
                      <a:pt x="226" y="52"/>
                    </a:lnTo>
                    <a:lnTo>
                      <a:pt x="231" y="48"/>
                    </a:lnTo>
                    <a:lnTo>
                      <a:pt x="239" y="43"/>
                    </a:lnTo>
                    <a:lnTo>
                      <a:pt x="244" y="39"/>
                    </a:lnTo>
                    <a:lnTo>
                      <a:pt x="244" y="43"/>
                    </a:lnTo>
                    <a:lnTo>
                      <a:pt x="244" y="48"/>
                    </a:lnTo>
                    <a:lnTo>
                      <a:pt x="248" y="52"/>
                    </a:lnTo>
                    <a:lnTo>
                      <a:pt x="248" y="56"/>
                    </a:lnTo>
                    <a:lnTo>
                      <a:pt x="252" y="56"/>
                    </a:lnTo>
                    <a:lnTo>
                      <a:pt x="257" y="61"/>
                    </a:lnTo>
                    <a:lnTo>
                      <a:pt x="261" y="61"/>
                    </a:lnTo>
                    <a:lnTo>
                      <a:pt x="265" y="61"/>
                    </a:lnTo>
                    <a:lnTo>
                      <a:pt x="274" y="65"/>
                    </a:lnTo>
                    <a:lnTo>
                      <a:pt x="278" y="65"/>
                    </a:lnTo>
                    <a:lnTo>
                      <a:pt x="283" y="61"/>
                    </a:lnTo>
                    <a:lnTo>
                      <a:pt x="287" y="56"/>
                    </a:lnTo>
                    <a:lnTo>
                      <a:pt x="291" y="52"/>
                    </a:lnTo>
                    <a:lnTo>
                      <a:pt x="300" y="48"/>
                    </a:lnTo>
                    <a:lnTo>
                      <a:pt x="305" y="48"/>
                    </a:lnTo>
                    <a:lnTo>
                      <a:pt x="309" y="52"/>
                    </a:lnTo>
                    <a:lnTo>
                      <a:pt x="313" y="52"/>
                    </a:lnTo>
                    <a:lnTo>
                      <a:pt x="318" y="52"/>
                    </a:lnTo>
                    <a:lnTo>
                      <a:pt x="322" y="52"/>
                    </a:lnTo>
                    <a:lnTo>
                      <a:pt x="326" y="52"/>
                    </a:lnTo>
                    <a:lnTo>
                      <a:pt x="335" y="65"/>
                    </a:lnTo>
                    <a:lnTo>
                      <a:pt x="335" y="69"/>
                    </a:lnTo>
                    <a:lnTo>
                      <a:pt x="335" y="74"/>
                    </a:lnTo>
                    <a:lnTo>
                      <a:pt x="335" y="78"/>
                    </a:lnTo>
                    <a:lnTo>
                      <a:pt x="335" y="82"/>
                    </a:lnTo>
                    <a:lnTo>
                      <a:pt x="339" y="87"/>
                    </a:lnTo>
                    <a:lnTo>
                      <a:pt x="339" y="91"/>
                    </a:lnTo>
                    <a:lnTo>
                      <a:pt x="339" y="95"/>
                    </a:lnTo>
                    <a:lnTo>
                      <a:pt x="344" y="95"/>
                    </a:lnTo>
                    <a:lnTo>
                      <a:pt x="344" y="91"/>
                    </a:lnTo>
                    <a:lnTo>
                      <a:pt x="348" y="91"/>
                    </a:lnTo>
                    <a:lnTo>
                      <a:pt x="348" y="87"/>
                    </a:lnTo>
                    <a:lnTo>
                      <a:pt x="361" y="87"/>
                    </a:lnTo>
                    <a:lnTo>
                      <a:pt x="370" y="87"/>
                    </a:lnTo>
                    <a:lnTo>
                      <a:pt x="374" y="91"/>
                    </a:lnTo>
                    <a:lnTo>
                      <a:pt x="370" y="95"/>
                    </a:lnTo>
                    <a:lnTo>
                      <a:pt x="374" y="104"/>
                    </a:lnTo>
                    <a:lnTo>
                      <a:pt x="383" y="113"/>
                    </a:lnTo>
                    <a:lnTo>
                      <a:pt x="383" y="117"/>
                    </a:lnTo>
                    <a:lnTo>
                      <a:pt x="396" y="126"/>
                    </a:lnTo>
                    <a:lnTo>
                      <a:pt x="400" y="126"/>
                    </a:lnTo>
                    <a:lnTo>
                      <a:pt x="409" y="122"/>
                    </a:lnTo>
                    <a:lnTo>
                      <a:pt x="413" y="122"/>
                    </a:lnTo>
                    <a:lnTo>
                      <a:pt x="413" y="117"/>
                    </a:lnTo>
                    <a:lnTo>
                      <a:pt x="409" y="108"/>
                    </a:lnTo>
                    <a:lnTo>
                      <a:pt x="409" y="104"/>
                    </a:lnTo>
                    <a:lnTo>
                      <a:pt x="405" y="100"/>
                    </a:lnTo>
                    <a:lnTo>
                      <a:pt x="400" y="78"/>
                    </a:lnTo>
                    <a:lnTo>
                      <a:pt x="405" y="78"/>
                    </a:lnTo>
                    <a:lnTo>
                      <a:pt x="426" y="78"/>
                    </a:lnTo>
                    <a:lnTo>
                      <a:pt x="426" y="82"/>
                    </a:lnTo>
                    <a:lnTo>
                      <a:pt x="426" y="87"/>
                    </a:lnTo>
                    <a:lnTo>
                      <a:pt x="426" y="91"/>
                    </a:lnTo>
                    <a:lnTo>
                      <a:pt x="426" y="95"/>
                    </a:lnTo>
                    <a:lnTo>
                      <a:pt x="426" y="100"/>
                    </a:lnTo>
                    <a:lnTo>
                      <a:pt x="431" y="108"/>
                    </a:lnTo>
                    <a:lnTo>
                      <a:pt x="431" y="113"/>
                    </a:lnTo>
                    <a:lnTo>
                      <a:pt x="435" y="113"/>
                    </a:lnTo>
                    <a:lnTo>
                      <a:pt x="435" y="117"/>
                    </a:lnTo>
                    <a:lnTo>
                      <a:pt x="439" y="122"/>
                    </a:lnTo>
                    <a:lnTo>
                      <a:pt x="444" y="122"/>
                    </a:lnTo>
                    <a:lnTo>
                      <a:pt x="444" y="126"/>
                    </a:lnTo>
                    <a:lnTo>
                      <a:pt x="448" y="126"/>
                    </a:lnTo>
                    <a:lnTo>
                      <a:pt x="452" y="126"/>
                    </a:lnTo>
                    <a:lnTo>
                      <a:pt x="457" y="126"/>
                    </a:lnTo>
                    <a:lnTo>
                      <a:pt x="461" y="126"/>
                    </a:lnTo>
                    <a:lnTo>
                      <a:pt x="461" y="135"/>
                    </a:lnTo>
                    <a:lnTo>
                      <a:pt x="465" y="139"/>
                    </a:lnTo>
                    <a:lnTo>
                      <a:pt x="474" y="152"/>
                    </a:lnTo>
                    <a:lnTo>
                      <a:pt x="483" y="152"/>
                    </a:lnTo>
                    <a:lnTo>
                      <a:pt x="492" y="143"/>
                    </a:lnTo>
                    <a:lnTo>
                      <a:pt x="492" y="139"/>
                    </a:lnTo>
                    <a:lnTo>
                      <a:pt x="492" y="135"/>
                    </a:lnTo>
                    <a:lnTo>
                      <a:pt x="492" y="130"/>
                    </a:lnTo>
                    <a:lnTo>
                      <a:pt x="492" y="126"/>
                    </a:lnTo>
                    <a:lnTo>
                      <a:pt x="505" y="117"/>
                    </a:lnTo>
                    <a:lnTo>
                      <a:pt x="509" y="113"/>
                    </a:lnTo>
                    <a:lnTo>
                      <a:pt x="513" y="113"/>
                    </a:lnTo>
                    <a:lnTo>
                      <a:pt x="518" y="113"/>
                    </a:lnTo>
                    <a:lnTo>
                      <a:pt x="518" y="108"/>
                    </a:lnTo>
                    <a:lnTo>
                      <a:pt x="522" y="108"/>
                    </a:lnTo>
                    <a:lnTo>
                      <a:pt x="522" y="104"/>
                    </a:lnTo>
                    <a:lnTo>
                      <a:pt x="522" y="100"/>
                    </a:lnTo>
                    <a:lnTo>
                      <a:pt x="526" y="95"/>
                    </a:lnTo>
                    <a:lnTo>
                      <a:pt x="531" y="95"/>
                    </a:lnTo>
                    <a:lnTo>
                      <a:pt x="535" y="100"/>
                    </a:lnTo>
                    <a:lnTo>
                      <a:pt x="535" y="104"/>
                    </a:lnTo>
                    <a:lnTo>
                      <a:pt x="535" y="108"/>
                    </a:lnTo>
                    <a:lnTo>
                      <a:pt x="539" y="108"/>
                    </a:lnTo>
                    <a:lnTo>
                      <a:pt x="539" y="104"/>
                    </a:lnTo>
                    <a:lnTo>
                      <a:pt x="544" y="95"/>
                    </a:lnTo>
                    <a:lnTo>
                      <a:pt x="548" y="87"/>
                    </a:lnTo>
                    <a:lnTo>
                      <a:pt x="552" y="87"/>
                    </a:lnTo>
                    <a:lnTo>
                      <a:pt x="557" y="100"/>
                    </a:lnTo>
                    <a:lnTo>
                      <a:pt x="561" y="113"/>
                    </a:lnTo>
                    <a:lnTo>
                      <a:pt x="570" y="117"/>
                    </a:lnTo>
                    <a:lnTo>
                      <a:pt x="574" y="117"/>
                    </a:lnTo>
                    <a:lnTo>
                      <a:pt x="578" y="117"/>
                    </a:lnTo>
                    <a:lnTo>
                      <a:pt x="587" y="122"/>
                    </a:lnTo>
                    <a:lnTo>
                      <a:pt x="592" y="122"/>
                    </a:lnTo>
                    <a:lnTo>
                      <a:pt x="596" y="126"/>
                    </a:lnTo>
                    <a:lnTo>
                      <a:pt x="600" y="126"/>
                    </a:lnTo>
                    <a:lnTo>
                      <a:pt x="600" y="122"/>
                    </a:lnTo>
                    <a:lnTo>
                      <a:pt x="600" y="117"/>
                    </a:lnTo>
                    <a:lnTo>
                      <a:pt x="605" y="117"/>
                    </a:lnTo>
                    <a:lnTo>
                      <a:pt x="609" y="117"/>
                    </a:lnTo>
                    <a:lnTo>
                      <a:pt x="609" y="122"/>
                    </a:lnTo>
                    <a:lnTo>
                      <a:pt x="613" y="122"/>
                    </a:lnTo>
                    <a:lnTo>
                      <a:pt x="618" y="117"/>
                    </a:lnTo>
                    <a:lnTo>
                      <a:pt x="622" y="117"/>
                    </a:lnTo>
                    <a:lnTo>
                      <a:pt x="626" y="122"/>
                    </a:lnTo>
                    <a:lnTo>
                      <a:pt x="626" y="135"/>
                    </a:lnTo>
                    <a:lnTo>
                      <a:pt x="622" y="139"/>
                    </a:lnTo>
                    <a:lnTo>
                      <a:pt x="622" y="156"/>
                    </a:lnTo>
                    <a:lnTo>
                      <a:pt x="622" y="161"/>
                    </a:lnTo>
                    <a:lnTo>
                      <a:pt x="626" y="161"/>
                    </a:lnTo>
                    <a:lnTo>
                      <a:pt x="626" y="165"/>
                    </a:lnTo>
                    <a:lnTo>
                      <a:pt x="622" y="169"/>
                    </a:lnTo>
                    <a:lnTo>
                      <a:pt x="613" y="174"/>
                    </a:lnTo>
                    <a:lnTo>
                      <a:pt x="609" y="174"/>
                    </a:lnTo>
                    <a:lnTo>
                      <a:pt x="600" y="178"/>
                    </a:lnTo>
                    <a:lnTo>
                      <a:pt x="592" y="187"/>
                    </a:lnTo>
                    <a:lnTo>
                      <a:pt x="587" y="191"/>
                    </a:lnTo>
                    <a:lnTo>
                      <a:pt x="587" y="195"/>
                    </a:lnTo>
                    <a:lnTo>
                      <a:pt x="592" y="195"/>
                    </a:lnTo>
                    <a:lnTo>
                      <a:pt x="596" y="195"/>
                    </a:lnTo>
                    <a:lnTo>
                      <a:pt x="600" y="195"/>
                    </a:lnTo>
                    <a:lnTo>
                      <a:pt x="600" y="200"/>
                    </a:lnTo>
                    <a:lnTo>
                      <a:pt x="605" y="200"/>
                    </a:lnTo>
                    <a:lnTo>
                      <a:pt x="605" y="204"/>
                    </a:lnTo>
                    <a:lnTo>
                      <a:pt x="605" y="208"/>
                    </a:lnTo>
                    <a:lnTo>
                      <a:pt x="605" y="213"/>
                    </a:lnTo>
                    <a:lnTo>
                      <a:pt x="600" y="208"/>
                    </a:lnTo>
                    <a:lnTo>
                      <a:pt x="596" y="204"/>
                    </a:lnTo>
                    <a:lnTo>
                      <a:pt x="587" y="204"/>
                    </a:lnTo>
                    <a:lnTo>
                      <a:pt x="583" y="200"/>
                    </a:lnTo>
                    <a:lnTo>
                      <a:pt x="578" y="195"/>
                    </a:lnTo>
                    <a:lnTo>
                      <a:pt x="574" y="191"/>
                    </a:lnTo>
                    <a:lnTo>
                      <a:pt x="574" y="187"/>
                    </a:lnTo>
                    <a:lnTo>
                      <a:pt x="574" y="182"/>
                    </a:lnTo>
                    <a:lnTo>
                      <a:pt x="570" y="182"/>
                    </a:lnTo>
                    <a:lnTo>
                      <a:pt x="557" y="182"/>
                    </a:lnTo>
                    <a:lnTo>
                      <a:pt x="552" y="178"/>
                    </a:lnTo>
                    <a:lnTo>
                      <a:pt x="548" y="178"/>
                    </a:lnTo>
                    <a:lnTo>
                      <a:pt x="548" y="182"/>
                    </a:lnTo>
                    <a:lnTo>
                      <a:pt x="548" y="187"/>
                    </a:lnTo>
                    <a:lnTo>
                      <a:pt x="548" y="195"/>
                    </a:lnTo>
                    <a:lnTo>
                      <a:pt x="548" y="204"/>
                    </a:lnTo>
                    <a:lnTo>
                      <a:pt x="548" y="222"/>
                    </a:lnTo>
                    <a:lnTo>
                      <a:pt x="552" y="222"/>
                    </a:lnTo>
                    <a:lnTo>
                      <a:pt x="552" y="226"/>
                    </a:lnTo>
                    <a:lnTo>
                      <a:pt x="552" y="230"/>
                    </a:lnTo>
                    <a:lnTo>
                      <a:pt x="539" y="239"/>
                    </a:lnTo>
                    <a:lnTo>
                      <a:pt x="535" y="235"/>
                    </a:lnTo>
                    <a:lnTo>
                      <a:pt x="531" y="235"/>
                    </a:lnTo>
                    <a:lnTo>
                      <a:pt x="526" y="243"/>
                    </a:lnTo>
                    <a:lnTo>
                      <a:pt x="526" y="252"/>
                    </a:lnTo>
                    <a:lnTo>
                      <a:pt x="526" y="256"/>
                    </a:lnTo>
                    <a:lnTo>
                      <a:pt x="526" y="261"/>
                    </a:lnTo>
                    <a:lnTo>
                      <a:pt x="522" y="265"/>
                    </a:lnTo>
                    <a:lnTo>
                      <a:pt x="518" y="269"/>
                    </a:lnTo>
                    <a:close/>
                  </a:path>
                </a:pathLst>
              </a:custGeom>
              <a:solidFill>
                <a:srgbClr val="EBE9E5"/>
              </a:solidFill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9" name="Freeform 29">
                <a:extLst>
                  <a:ext uri="{FF2B5EF4-FFF2-40B4-BE49-F238E27FC236}">
                    <a16:creationId xmlns:a16="http://schemas.microsoft.com/office/drawing/2014/main" id="{8EFF60C4-6E1C-C21B-8D56-19C5537AC60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598949" y="2564730"/>
                <a:ext cx="758976" cy="709612"/>
              </a:xfrm>
              <a:custGeom>
                <a:avLst/>
                <a:gdLst>
                  <a:gd name="T0" fmla="*/ 204 w 439"/>
                  <a:gd name="T1" fmla="*/ 322 h 430"/>
                  <a:gd name="T2" fmla="*/ 226 w 439"/>
                  <a:gd name="T3" fmla="*/ 265 h 430"/>
                  <a:gd name="T4" fmla="*/ 183 w 439"/>
                  <a:gd name="T5" fmla="*/ 248 h 430"/>
                  <a:gd name="T6" fmla="*/ 148 w 439"/>
                  <a:gd name="T7" fmla="*/ 248 h 430"/>
                  <a:gd name="T8" fmla="*/ 139 w 439"/>
                  <a:gd name="T9" fmla="*/ 265 h 430"/>
                  <a:gd name="T10" fmla="*/ 118 w 439"/>
                  <a:gd name="T11" fmla="*/ 300 h 430"/>
                  <a:gd name="T12" fmla="*/ 87 w 439"/>
                  <a:gd name="T13" fmla="*/ 330 h 430"/>
                  <a:gd name="T14" fmla="*/ 65 w 439"/>
                  <a:gd name="T15" fmla="*/ 322 h 430"/>
                  <a:gd name="T16" fmla="*/ 52 w 439"/>
                  <a:gd name="T17" fmla="*/ 300 h 430"/>
                  <a:gd name="T18" fmla="*/ 31 w 439"/>
                  <a:gd name="T19" fmla="*/ 300 h 430"/>
                  <a:gd name="T20" fmla="*/ 0 w 439"/>
                  <a:gd name="T21" fmla="*/ 274 h 430"/>
                  <a:gd name="T22" fmla="*/ 18 w 439"/>
                  <a:gd name="T23" fmla="*/ 243 h 430"/>
                  <a:gd name="T24" fmla="*/ 26 w 439"/>
                  <a:gd name="T25" fmla="*/ 230 h 430"/>
                  <a:gd name="T26" fmla="*/ 22 w 439"/>
                  <a:gd name="T27" fmla="*/ 209 h 430"/>
                  <a:gd name="T28" fmla="*/ 18 w 439"/>
                  <a:gd name="T29" fmla="*/ 178 h 430"/>
                  <a:gd name="T30" fmla="*/ 9 w 439"/>
                  <a:gd name="T31" fmla="*/ 161 h 430"/>
                  <a:gd name="T32" fmla="*/ 22 w 439"/>
                  <a:gd name="T33" fmla="*/ 148 h 430"/>
                  <a:gd name="T34" fmla="*/ 39 w 439"/>
                  <a:gd name="T35" fmla="*/ 152 h 430"/>
                  <a:gd name="T36" fmla="*/ 44 w 439"/>
                  <a:gd name="T37" fmla="*/ 161 h 430"/>
                  <a:gd name="T38" fmla="*/ 65 w 439"/>
                  <a:gd name="T39" fmla="*/ 191 h 430"/>
                  <a:gd name="T40" fmla="*/ 78 w 439"/>
                  <a:gd name="T41" fmla="*/ 169 h 430"/>
                  <a:gd name="T42" fmla="*/ 87 w 439"/>
                  <a:gd name="T43" fmla="*/ 152 h 430"/>
                  <a:gd name="T44" fmla="*/ 100 w 439"/>
                  <a:gd name="T45" fmla="*/ 143 h 430"/>
                  <a:gd name="T46" fmla="*/ 126 w 439"/>
                  <a:gd name="T47" fmla="*/ 126 h 430"/>
                  <a:gd name="T48" fmla="*/ 148 w 439"/>
                  <a:gd name="T49" fmla="*/ 104 h 430"/>
                  <a:gd name="T50" fmla="*/ 170 w 439"/>
                  <a:gd name="T51" fmla="*/ 100 h 430"/>
                  <a:gd name="T52" fmla="*/ 183 w 439"/>
                  <a:gd name="T53" fmla="*/ 87 h 430"/>
                  <a:gd name="T54" fmla="*/ 196 w 439"/>
                  <a:gd name="T55" fmla="*/ 87 h 430"/>
                  <a:gd name="T56" fmla="*/ 191 w 439"/>
                  <a:gd name="T57" fmla="*/ 74 h 430"/>
                  <a:gd name="T58" fmla="*/ 204 w 439"/>
                  <a:gd name="T59" fmla="*/ 69 h 430"/>
                  <a:gd name="T60" fmla="*/ 226 w 439"/>
                  <a:gd name="T61" fmla="*/ 74 h 430"/>
                  <a:gd name="T62" fmla="*/ 239 w 439"/>
                  <a:gd name="T63" fmla="*/ 52 h 430"/>
                  <a:gd name="T64" fmla="*/ 265 w 439"/>
                  <a:gd name="T65" fmla="*/ 35 h 430"/>
                  <a:gd name="T66" fmla="*/ 265 w 439"/>
                  <a:gd name="T67" fmla="*/ 0 h 430"/>
                  <a:gd name="T68" fmla="*/ 313 w 439"/>
                  <a:gd name="T69" fmla="*/ 26 h 430"/>
                  <a:gd name="T70" fmla="*/ 331 w 439"/>
                  <a:gd name="T71" fmla="*/ 26 h 430"/>
                  <a:gd name="T72" fmla="*/ 344 w 439"/>
                  <a:gd name="T73" fmla="*/ 13 h 430"/>
                  <a:gd name="T74" fmla="*/ 361 w 439"/>
                  <a:gd name="T75" fmla="*/ 48 h 430"/>
                  <a:gd name="T76" fmla="*/ 396 w 439"/>
                  <a:gd name="T77" fmla="*/ 83 h 430"/>
                  <a:gd name="T78" fmla="*/ 391 w 439"/>
                  <a:gd name="T79" fmla="*/ 113 h 430"/>
                  <a:gd name="T80" fmla="*/ 426 w 439"/>
                  <a:gd name="T81" fmla="*/ 152 h 430"/>
                  <a:gd name="T82" fmla="*/ 439 w 439"/>
                  <a:gd name="T83" fmla="*/ 187 h 430"/>
                  <a:gd name="T84" fmla="*/ 426 w 439"/>
                  <a:gd name="T85" fmla="*/ 209 h 430"/>
                  <a:gd name="T86" fmla="*/ 405 w 439"/>
                  <a:gd name="T87" fmla="*/ 230 h 430"/>
                  <a:gd name="T88" fmla="*/ 378 w 439"/>
                  <a:gd name="T89" fmla="*/ 256 h 430"/>
                  <a:gd name="T90" fmla="*/ 370 w 439"/>
                  <a:gd name="T91" fmla="*/ 278 h 430"/>
                  <a:gd name="T92" fmla="*/ 335 w 439"/>
                  <a:gd name="T93" fmla="*/ 304 h 430"/>
                  <a:gd name="T94" fmla="*/ 305 w 439"/>
                  <a:gd name="T95" fmla="*/ 317 h 430"/>
                  <a:gd name="T96" fmla="*/ 274 w 439"/>
                  <a:gd name="T97" fmla="*/ 339 h 430"/>
                  <a:gd name="T98" fmla="*/ 248 w 439"/>
                  <a:gd name="T99" fmla="*/ 365 h 430"/>
                  <a:gd name="T100" fmla="*/ 213 w 439"/>
                  <a:gd name="T101" fmla="*/ 404 h 430"/>
                  <a:gd name="T102" fmla="*/ 200 w 439"/>
                  <a:gd name="T103" fmla="*/ 422 h 430"/>
                  <a:gd name="T104" fmla="*/ 183 w 439"/>
                  <a:gd name="T105" fmla="*/ 430 h 430"/>
                  <a:gd name="T106" fmla="*/ 204 w 439"/>
                  <a:gd name="T107" fmla="*/ 400 h 430"/>
                  <a:gd name="T108" fmla="*/ 204 w 439"/>
                  <a:gd name="T109" fmla="*/ 387 h 430"/>
                  <a:gd name="T110" fmla="*/ 196 w 439"/>
                  <a:gd name="T111" fmla="*/ 369 h 430"/>
                  <a:gd name="T112" fmla="*/ 183 w 439"/>
                  <a:gd name="T113" fmla="*/ 365 h 430"/>
                  <a:gd name="T114" fmla="*/ 191 w 439"/>
                  <a:gd name="T115" fmla="*/ 374 h 430"/>
                  <a:gd name="T116" fmla="*/ 183 w 439"/>
                  <a:gd name="T117" fmla="*/ 365 h 430"/>
                  <a:gd name="T118" fmla="*/ 191 w 439"/>
                  <a:gd name="T119" fmla="*/ 374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39" h="430">
                    <a:moveTo>
                      <a:pt x="191" y="348"/>
                    </a:moveTo>
                    <a:lnTo>
                      <a:pt x="187" y="343"/>
                    </a:lnTo>
                    <a:lnTo>
                      <a:pt x="187" y="335"/>
                    </a:lnTo>
                    <a:lnTo>
                      <a:pt x="191" y="330"/>
                    </a:lnTo>
                    <a:lnTo>
                      <a:pt x="200" y="322"/>
                    </a:lnTo>
                    <a:lnTo>
                      <a:pt x="200" y="322"/>
                    </a:lnTo>
                    <a:lnTo>
                      <a:pt x="204" y="322"/>
                    </a:lnTo>
                    <a:lnTo>
                      <a:pt x="204" y="322"/>
                    </a:lnTo>
                    <a:lnTo>
                      <a:pt x="209" y="313"/>
                    </a:lnTo>
                    <a:lnTo>
                      <a:pt x="213" y="300"/>
                    </a:lnTo>
                    <a:lnTo>
                      <a:pt x="222" y="291"/>
                    </a:lnTo>
                    <a:lnTo>
                      <a:pt x="226" y="283"/>
                    </a:lnTo>
                    <a:lnTo>
                      <a:pt x="226" y="269"/>
                    </a:lnTo>
                    <a:lnTo>
                      <a:pt x="226" y="265"/>
                    </a:lnTo>
                    <a:lnTo>
                      <a:pt x="226" y="265"/>
                    </a:lnTo>
                    <a:lnTo>
                      <a:pt x="213" y="252"/>
                    </a:lnTo>
                    <a:lnTo>
                      <a:pt x="209" y="252"/>
                    </a:lnTo>
                    <a:lnTo>
                      <a:pt x="200" y="248"/>
                    </a:lnTo>
                    <a:lnTo>
                      <a:pt x="187" y="243"/>
                    </a:lnTo>
                    <a:lnTo>
                      <a:pt x="187" y="248"/>
                    </a:lnTo>
                    <a:lnTo>
                      <a:pt x="183" y="248"/>
                    </a:lnTo>
                    <a:lnTo>
                      <a:pt x="178" y="248"/>
                    </a:lnTo>
                    <a:lnTo>
                      <a:pt x="174" y="248"/>
                    </a:lnTo>
                    <a:lnTo>
                      <a:pt x="174" y="248"/>
                    </a:lnTo>
                    <a:lnTo>
                      <a:pt x="174" y="243"/>
                    </a:lnTo>
                    <a:lnTo>
                      <a:pt x="161" y="243"/>
                    </a:lnTo>
                    <a:lnTo>
                      <a:pt x="152" y="243"/>
                    </a:lnTo>
                    <a:lnTo>
                      <a:pt x="148" y="248"/>
                    </a:lnTo>
                    <a:lnTo>
                      <a:pt x="148" y="252"/>
                    </a:lnTo>
                    <a:lnTo>
                      <a:pt x="144" y="252"/>
                    </a:lnTo>
                    <a:lnTo>
                      <a:pt x="139" y="256"/>
                    </a:lnTo>
                    <a:lnTo>
                      <a:pt x="139" y="256"/>
                    </a:lnTo>
                    <a:lnTo>
                      <a:pt x="135" y="265"/>
                    </a:lnTo>
                    <a:lnTo>
                      <a:pt x="139" y="265"/>
                    </a:lnTo>
                    <a:lnTo>
                      <a:pt x="139" y="265"/>
                    </a:lnTo>
                    <a:lnTo>
                      <a:pt x="144" y="265"/>
                    </a:lnTo>
                    <a:lnTo>
                      <a:pt x="139" y="269"/>
                    </a:lnTo>
                    <a:lnTo>
                      <a:pt x="135" y="269"/>
                    </a:lnTo>
                    <a:lnTo>
                      <a:pt x="131" y="269"/>
                    </a:lnTo>
                    <a:lnTo>
                      <a:pt x="131" y="274"/>
                    </a:lnTo>
                    <a:lnTo>
                      <a:pt x="122" y="287"/>
                    </a:lnTo>
                    <a:lnTo>
                      <a:pt x="118" y="300"/>
                    </a:lnTo>
                    <a:lnTo>
                      <a:pt x="118" y="309"/>
                    </a:lnTo>
                    <a:lnTo>
                      <a:pt x="118" y="313"/>
                    </a:lnTo>
                    <a:lnTo>
                      <a:pt x="113" y="317"/>
                    </a:lnTo>
                    <a:lnTo>
                      <a:pt x="113" y="317"/>
                    </a:lnTo>
                    <a:lnTo>
                      <a:pt x="104" y="322"/>
                    </a:lnTo>
                    <a:lnTo>
                      <a:pt x="96" y="326"/>
                    </a:lnTo>
                    <a:lnTo>
                      <a:pt x="87" y="330"/>
                    </a:lnTo>
                    <a:lnTo>
                      <a:pt x="83" y="335"/>
                    </a:lnTo>
                    <a:lnTo>
                      <a:pt x="83" y="335"/>
                    </a:lnTo>
                    <a:lnTo>
                      <a:pt x="78" y="339"/>
                    </a:lnTo>
                    <a:lnTo>
                      <a:pt x="74" y="335"/>
                    </a:lnTo>
                    <a:lnTo>
                      <a:pt x="70" y="330"/>
                    </a:lnTo>
                    <a:lnTo>
                      <a:pt x="70" y="322"/>
                    </a:lnTo>
                    <a:lnTo>
                      <a:pt x="65" y="322"/>
                    </a:lnTo>
                    <a:lnTo>
                      <a:pt x="65" y="322"/>
                    </a:lnTo>
                    <a:lnTo>
                      <a:pt x="61" y="322"/>
                    </a:lnTo>
                    <a:lnTo>
                      <a:pt x="61" y="326"/>
                    </a:lnTo>
                    <a:lnTo>
                      <a:pt x="57" y="317"/>
                    </a:lnTo>
                    <a:lnTo>
                      <a:pt x="57" y="309"/>
                    </a:lnTo>
                    <a:lnTo>
                      <a:pt x="52" y="304"/>
                    </a:lnTo>
                    <a:lnTo>
                      <a:pt x="52" y="300"/>
                    </a:lnTo>
                    <a:lnTo>
                      <a:pt x="52" y="300"/>
                    </a:lnTo>
                    <a:lnTo>
                      <a:pt x="44" y="300"/>
                    </a:lnTo>
                    <a:lnTo>
                      <a:pt x="44" y="300"/>
                    </a:lnTo>
                    <a:lnTo>
                      <a:pt x="39" y="300"/>
                    </a:lnTo>
                    <a:lnTo>
                      <a:pt x="39" y="300"/>
                    </a:lnTo>
                    <a:lnTo>
                      <a:pt x="35" y="300"/>
                    </a:lnTo>
                    <a:lnTo>
                      <a:pt x="31" y="300"/>
                    </a:lnTo>
                    <a:lnTo>
                      <a:pt x="26" y="296"/>
                    </a:lnTo>
                    <a:lnTo>
                      <a:pt x="18" y="291"/>
                    </a:lnTo>
                    <a:lnTo>
                      <a:pt x="18" y="291"/>
                    </a:lnTo>
                    <a:lnTo>
                      <a:pt x="9" y="287"/>
                    </a:lnTo>
                    <a:lnTo>
                      <a:pt x="0" y="278"/>
                    </a:lnTo>
                    <a:lnTo>
                      <a:pt x="0" y="278"/>
                    </a:lnTo>
                    <a:lnTo>
                      <a:pt x="0" y="274"/>
                    </a:lnTo>
                    <a:lnTo>
                      <a:pt x="4" y="269"/>
                    </a:lnTo>
                    <a:lnTo>
                      <a:pt x="4" y="269"/>
                    </a:lnTo>
                    <a:lnTo>
                      <a:pt x="9" y="265"/>
                    </a:lnTo>
                    <a:lnTo>
                      <a:pt x="9" y="256"/>
                    </a:lnTo>
                    <a:lnTo>
                      <a:pt x="18" y="248"/>
                    </a:lnTo>
                    <a:lnTo>
                      <a:pt x="18" y="248"/>
                    </a:lnTo>
                    <a:lnTo>
                      <a:pt x="18" y="243"/>
                    </a:lnTo>
                    <a:lnTo>
                      <a:pt x="18" y="243"/>
                    </a:lnTo>
                    <a:lnTo>
                      <a:pt x="18" y="239"/>
                    </a:lnTo>
                    <a:lnTo>
                      <a:pt x="18" y="239"/>
                    </a:lnTo>
                    <a:lnTo>
                      <a:pt x="22" y="239"/>
                    </a:lnTo>
                    <a:lnTo>
                      <a:pt x="22" y="235"/>
                    </a:lnTo>
                    <a:lnTo>
                      <a:pt x="26" y="230"/>
                    </a:lnTo>
                    <a:lnTo>
                      <a:pt x="26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2"/>
                    </a:lnTo>
                    <a:lnTo>
                      <a:pt x="26" y="222"/>
                    </a:lnTo>
                    <a:lnTo>
                      <a:pt x="26" y="217"/>
                    </a:lnTo>
                    <a:lnTo>
                      <a:pt x="26" y="213"/>
                    </a:lnTo>
                    <a:lnTo>
                      <a:pt x="22" y="209"/>
                    </a:lnTo>
                    <a:lnTo>
                      <a:pt x="22" y="209"/>
                    </a:lnTo>
                    <a:lnTo>
                      <a:pt x="22" y="209"/>
                    </a:lnTo>
                    <a:lnTo>
                      <a:pt x="18" y="204"/>
                    </a:lnTo>
                    <a:lnTo>
                      <a:pt x="18" y="200"/>
                    </a:lnTo>
                    <a:lnTo>
                      <a:pt x="18" y="200"/>
                    </a:lnTo>
                    <a:lnTo>
                      <a:pt x="18" y="196"/>
                    </a:lnTo>
                    <a:lnTo>
                      <a:pt x="18" y="178"/>
                    </a:lnTo>
                    <a:lnTo>
                      <a:pt x="18" y="178"/>
                    </a:lnTo>
                    <a:lnTo>
                      <a:pt x="18" y="174"/>
                    </a:lnTo>
                    <a:lnTo>
                      <a:pt x="18" y="169"/>
                    </a:lnTo>
                    <a:lnTo>
                      <a:pt x="18" y="169"/>
                    </a:lnTo>
                    <a:lnTo>
                      <a:pt x="18" y="165"/>
                    </a:lnTo>
                    <a:lnTo>
                      <a:pt x="13" y="165"/>
                    </a:lnTo>
                    <a:lnTo>
                      <a:pt x="9" y="161"/>
                    </a:lnTo>
                    <a:lnTo>
                      <a:pt x="9" y="156"/>
                    </a:lnTo>
                    <a:lnTo>
                      <a:pt x="9" y="152"/>
                    </a:lnTo>
                    <a:lnTo>
                      <a:pt x="13" y="152"/>
                    </a:lnTo>
                    <a:lnTo>
                      <a:pt x="13" y="152"/>
                    </a:lnTo>
                    <a:lnTo>
                      <a:pt x="18" y="148"/>
                    </a:lnTo>
                    <a:lnTo>
                      <a:pt x="18" y="148"/>
                    </a:lnTo>
                    <a:lnTo>
                      <a:pt x="22" y="148"/>
                    </a:lnTo>
                    <a:lnTo>
                      <a:pt x="22" y="143"/>
                    </a:lnTo>
                    <a:lnTo>
                      <a:pt x="22" y="139"/>
                    </a:lnTo>
                    <a:lnTo>
                      <a:pt x="26" y="143"/>
                    </a:lnTo>
                    <a:lnTo>
                      <a:pt x="31" y="148"/>
                    </a:lnTo>
                    <a:lnTo>
                      <a:pt x="31" y="152"/>
                    </a:lnTo>
                    <a:lnTo>
                      <a:pt x="35" y="152"/>
                    </a:lnTo>
                    <a:lnTo>
                      <a:pt x="39" y="152"/>
                    </a:lnTo>
                    <a:lnTo>
                      <a:pt x="39" y="152"/>
                    </a:lnTo>
                    <a:lnTo>
                      <a:pt x="44" y="152"/>
                    </a:lnTo>
                    <a:lnTo>
                      <a:pt x="44" y="152"/>
                    </a:lnTo>
                    <a:lnTo>
                      <a:pt x="44" y="152"/>
                    </a:lnTo>
                    <a:lnTo>
                      <a:pt x="44" y="156"/>
                    </a:lnTo>
                    <a:lnTo>
                      <a:pt x="44" y="161"/>
                    </a:lnTo>
                    <a:lnTo>
                      <a:pt x="44" y="161"/>
                    </a:lnTo>
                    <a:lnTo>
                      <a:pt x="48" y="165"/>
                    </a:lnTo>
                    <a:lnTo>
                      <a:pt x="57" y="174"/>
                    </a:lnTo>
                    <a:lnTo>
                      <a:pt x="61" y="183"/>
                    </a:lnTo>
                    <a:lnTo>
                      <a:pt x="61" y="183"/>
                    </a:lnTo>
                    <a:lnTo>
                      <a:pt x="65" y="187"/>
                    </a:lnTo>
                    <a:lnTo>
                      <a:pt x="65" y="191"/>
                    </a:lnTo>
                    <a:lnTo>
                      <a:pt x="65" y="191"/>
                    </a:lnTo>
                    <a:lnTo>
                      <a:pt x="70" y="191"/>
                    </a:lnTo>
                    <a:lnTo>
                      <a:pt x="70" y="191"/>
                    </a:lnTo>
                    <a:lnTo>
                      <a:pt x="70" y="191"/>
                    </a:lnTo>
                    <a:lnTo>
                      <a:pt x="70" y="191"/>
                    </a:lnTo>
                    <a:lnTo>
                      <a:pt x="70" y="187"/>
                    </a:lnTo>
                    <a:lnTo>
                      <a:pt x="70" y="183"/>
                    </a:lnTo>
                    <a:lnTo>
                      <a:pt x="78" y="169"/>
                    </a:lnTo>
                    <a:lnTo>
                      <a:pt x="83" y="165"/>
                    </a:lnTo>
                    <a:lnTo>
                      <a:pt x="87" y="161"/>
                    </a:lnTo>
                    <a:lnTo>
                      <a:pt x="87" y="161"/>
                    </a:lnTo>
                    <a:lnTo>
                      <a:pt x="87" y="161"/>
                    </a:lnTo>
                    <a:lnTo>
                      <a:pt x="87" y="156"/>
                    </a:lnTo>
                    <a:lnTo>
                      <a:pt x="87" y="152"/>
                    </a:lnTo>
                    <a:lnTo>
                      <a:pt x="87" y="152"/>
                    </a:lnTo>
                    <a:lnTo>
                      <a:pt x="87" y="148"/>
                    </a:lnTo>
                    <a:lnTo>
                      <a:pt x="91" y="148"/>
                    </a:lnTo>
                    <a:lnTo>
                      <a:pt x="96" y="148"/>
                    </a:lnTo>
                    <a:lnTo>
                      <a:pt x="96" y="148"/>
                    </a:lnTo>
                    <a:lnTo>
                      <a:pt x="96" y="148"/>
                    </a:lnTo>
                    <a:lnTo>
                      <a:pt x="100" y="143"/>
                    </a:lnTo>
                    <a:lnTo>
                      <a:pt x="100" y="143"/>
                    </a:lnTo>
                    <a:lnTo>
                      <a:pt x="100" y="139"/>
                    </a:lnTo>
                    <a:lnTo>
                      <a:pt x="113" y="135"/>
                    </a:lnTo>
                    <a:lnTo>
                      <a:pt x="113" y="135"/>
                    </a:lnTo>
                    <a:lnTo>
                      <a:pt x="118" y="135"/>
                    </a:lnTo>
                    <a:lnTo>
                      <a:pt x="118" y="135"/>
                    </a:lnTo>
                    <a:lnTo>
                      <a:pt x="122" y="135"/>
                    </a:lnTo>
                    <a:lnTo>
                      <a:pt x="126" y="126"/>
                    </a:lnTo>
                    <a:lnTo>
                      <a:pt x="131" y="117"/>
                    </a:lnTo>
                    <a:lnTo>
                      <a:pt x="131" y="117"/>
                    </a:lnTo>
                    <a:lnTo>
                      <a:pt x="135" y="113"/>
                    </a:lnTo>
                    <a:lnTo>
                      <a:pt x="135" y="113"/>
                    </a:lnTo>
                    <a:lnTo>
                      <a:pt x="135" y="109"/>
                    </a:lnTo>
                    <a:lnTo>
                      <a:pt x="139" y="109"/>
                    </a:lnTo>
                    <a:lnTo>
                      <a:pt x="148" y="104"/>
                    </a:lnTo>
                    <a:lnTo>
                      <a:pt x="148" y="104"/>
                    </a:lnTo>
                    <a:lnTo>
                      <a:pt x="148" y="109"/>
                    </a:lnTo>
                    <a:lnTo>
                      <a:pt x="152" y="109"/>
                    </a:lnTo>
                    <a:lnTo>
                      <a:pt x="152" y="113"/>
                    </a:lnTo>
                    <a:lnTo>
                      <a:pt x="157" y="109"/>
                    </a:lnTo>
                    <a:lnTo>
                      <a:pt x="165" y="100"/>
                    </a:lnTo>
                    <a:lnTo>
                      <a:pt x="170" y="100"/>
                    </a:lnTo>
                    <a:lnTo>
                      <a:pt x="170" y="96"/>
                    </a:lnTo>
                    <a:lnTo>
                      <a:pt x="170" y="91"/>
                    </a:lnTo>
                    <a:lnTo>
                      <a:pt x="170" y="91"/>
                    </a:lnTo>
                    <a:lnTo>
                      <a:pt x="170" y="87"/>
                    </a:lnTo>
                    <a:lnTo>
                      <a:pt x="170" y="87"/>
                    </a:lnTo>
                    <a:lnTo>
                      <a:pt x="174" y="83"/>
                    </a:lnTo>
                    <a:lnTo>
                      <a:pt x="183" y="87"/>
                    </a:lnTo>
                    <a:lnTo>
                      <a:pt x="187" y="87"/>
                    </a:lnTo>
                    <a:lnTo>
                      <a:pt x="187" y="87"/>
                    </a:lnTo>
                    <a:lnTo>
                      <a:pt x="191" y="87"/>
                    </a:lnTo>
                    <a:lnTo>
                      <a:pt x="191" y="87"/>
                    </a:lnTo>
                    <a:lnTo>
                      <a:pt x="191" y="87"/>
                    </a:lnTo>
                    <a:lnTo>
                      <a:pt x="196" y="87"/>
                    </a:lnTo>
                    <a:lnTo>
                      <a:pt x="196" y="87"/>
                    </a:lnTo>
                    <a:lnTo>
                      <a:pt x="200" y="83"/>
                    </a:lnTo>
                    <a:lnTo>
                      <a:pt x="200" y="83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191" y="74"/>
                    </a:lnTo>
                    <a:lnTo>
                      <a:pt x="191" y="69"/>
                    </a:lnTo>
                    <a:lnTo>
                      <a:pt x="191" y="69"/>
                    </a:lnTo>
                    <a:lnTo>
                      <a:pt x="196" y="69"/>
                    </a:lnTo>
                    <a:lnTo>
                      <a:pt x="200" y="65"/>
                    </a:lnTo>
                    <a:lnTo>
                      <a:pt x="200" y="69"/>
                    </a:lnTo>
                    <a:lnTo>
                      <a:pt x="204" y="69"/>
                    </a:lnTo>
                    <a:lnTo>
                      <a:pt x="204" y="69"/>
                    </a:lnTo>
                    <a:lnTo>
                      <a:pt x="209" y="69"/>
                    </a:lnTo>
                    <a:lnTo>
                      <a:pt x="218" y="74"/>
                    </a:lnTo>
                    <a:lnTo>
                      <a:pt x="218" y="74"/>
                    </a:lnTo>
                    <a:lnTo>
                      <a:pt x="218" y="74"/>
                    </a:lnTo>
                    <a:lnTo>
                      <a:pt x="222" y="74"/>
                    </a:lnTo>
                    <a:lnTo>
                      <a:pt x="222" y="74"/>
                    </a:lnTo>
                    <a:lnTo>
                      <a:pt x="226" y="74"/>
                    </a:lnTo>
                    <a:lnTo>
                      <a:pt x="226" y="69"/>
                    </a:lnTo>
                    <a:lnTo>
                      <a:pt x="235" y="65"/>
                    </a:lnTo>
                    <a:lnTo>
                      <a:pt x="239" y="61"/>
                    </a:lnTo>
                    <a:lnTo>
                      <a:pt x="239" y="61"/>
                    </a:lnTo>
                    <a:lnTo>
                      <a:pt x="239" y="56"/>
                    </a:lnTo>
                    <a:lnTo>
                      <a:pt x="239" y="52"/>
                    </a:lnTo>
                    <a:lnTo>
                      <a:pt x="239" y="52"/>
                    </a:lnTo>
                    <a:lnTo>
                      <a:pt x="239" y="48"/>
                    </a:lnTo>
                    <a:lnTo>
                      <a:pt x="244" y="43"/>
                    </a:lnTo>
                    <a:lnTo>
                      <a:pt x="244" y="43"/>
                    </a:lnTo>
                    <a:lnTo>
                      <a:pt x="248" y="43"/>
                    </a:lnTo>
                    <a:lnTo>
                      <a:pt x="248" y="43"/>
                    </a:lnTo>
                    <a:lnTo>
                      <a:pt x="261" y="35"/>
                    </a:lnTo>
                    <a:lnTo>
                      <a:pt x="265" y="35"/>
                    </a:lnTo>
                    <a:lnTo>
                      <a:pt x="265" y="22"/>
                    </a:lnTo>
                    <a:lnTo>
                      <a:pt x="265" y="13"/>
                    </a:lnTo>
                    <a:lnTo>
                      <a:pt x="265" y="9"/>
                    </a:lnTo>
                    <a:lnTo>
                      <a:pt x="265" y="9"/>
                    </a:lnTo>
                    <a:lnTo>
                      <a:pt x="265" y="4"/>
                    </a:lnTo>
                    <a:lnTo>
                      <a:pt x="265" y="4"/>
                    </a:lnTo>
                    <a:lnTo>
                      <a:pt x="265" y="0"/>
                    </a:lnTo>
                    <a:lnTo>
                      <a:pt x="270" y="0"/>
                    </a:lnTo>
                    <a:lnTo>
                      <a:pt x="278" y="4"/>
                    </a:lnTo>
                    <a:lnTo>
                      <a:pt x="291" y="9"/>
                    </a:lnTo>
                    <a:lnTo>
                      <a:pt x="300" y="9"/>
                    </a:lnTo>
                    <a:lnTo>
                      <a:pt x="305" y="13"/>
                    </a:lnTo>
                    <a:lnTo>
                      <a:pt x="313" y="22"/>
                    </a:lnTo>
                    <a:lnTo>
                      <a:pt x="313" y="26"/>
                    </a:lnTo>
                    <a:lnTo>
                      <a:pt x="313" y="26"/>
                    </a:lnTo>
                    <a:lnTo>
                      <a:pt x="313" y="30"/>
                    </a:lnTo>
                    <a:lnTo>
                      <a:pt x="318" y="39"/>
                    </a:lnTo>
                    <a:lnTo>
                      <a:pt x="322" y="39"/>
                    </a:lnTo>
                    <a:lnTo>
                      <a:pt x="326" y="35"/>
                    </a:lnTo>
                    <a:lnTo>
                      <a:pt x="331" y="30"/>
                    </a:lnTo>
                    <a:lnTo>
                      <a:pt x="331" y="26"/>
                    </a:lnTo>
                    <a:lnTo>
                      <a:pt x="331" y="22"/>
                    </a:lnTo>
                    <a:lnTo>
                      <a:pt x="331" y="22"/>
                    </a:lnTo>
                    <a:lnTo>
                      <a:pt x="331" y="17"/>
                    </a:lnTo>
                    <a:lnTo>
                      <a:pt x="335" y="13"/>
                    </a:lnTo>
                    <a:lnTo>
                      <a:pt x="335" y="13"/>
                    </a:lnTo>
                    <a:lnTo>
                      <a:pt x="339" y="13"/>
                    </a:lnTo>
                    <a:lnTo>
                      <a:pt x="344" y="13"/>
                    </a:lnTo>
                    <a:lnTo>
                      <a:pt x="344" y="26"/>
                    </a:lnTo>
                    <a:lnTo>
                      <a:pt x="344" y="30"/>
                    </a:lnTo>
                    <a:lnTo>
                      <a:pt x="344" y="30"/>
                    </a:lnTo>
                    <a:lnTo>
                      <a:pt x="348" y="35"/>
                    </a:lnTo>
                    <a:lnTo>
                      <a:pt x="348" y="39"/>
                    </a:lnTo>
                    <a:lnTo>
                      <a:pt x="357" y="43"/>
                    </a:lnTo>
                    <a:lnTo>
                      <a:pt x="361" y="48"/>
                    </a:lnTo>
                    <a:lnTo>
                      <a:pt x="365" y="56"/>
                    </a:lnTo>
                    <a:lnTo>
                      <a:pt x="374" y="65"/>
                    </a:lnTo>
                    <a:lnTo>
                      <a:pt x="374" y="69"/>
                    </a:lnTo>
                    <a:lnTo>
                      <a:pt x="387" y="87"/>
                    </a:lnTo>
                    <a:lnTo>
                      <a:pt x="391" y="83"/>
                    </a:lnTo>
                    <a:lnTo>
                      <a:pt x="391" y="83"/>
                    </a:lnTo>
                    <a:lnTo>
                      <a:pt x="396" y="83"/>
                    </a:lnTo>
                    <a:lnTo>
                      <a:pt x="400" y="87"/>
                    </a:lnTo>
                    <a:lnTo>
                      <a:pt x="396" y="96"/>
                    </a:lnTo>
                    <a:lnTo>
                      <a:pt x="396" y="96"/>
                    </a:lnTo>
                    <a:lnTo>
                      <a:pt x="391" y="100"/>
                    </a:lnTo>
                    <a:lnTo>
                      <a:pt x="391" y="104"/>
                    </a:lnTo>
                    <a:lnTo>
                      <a:pt x="391" y="113"/>
                    </a:lnTo>
                    <a:lnTo>
                      <a:pt x="391" y="113"/>
                    </a:lnTo>
                    <a:lnTo>
                      <a:pt x="396" y="122"/>
                    </a:lnTo>
                    <a:lnTo>
                      <a:pt x="400" y="126"/>
                    </a:lnTo>
                    <a:lnTo>
                      <a:pt x="409" y="130"/>
                    </a:lnTo>
                    <a:lnTo>
                      <a:pt x="413" y="135"/>
                    </a:lnTo>
                    <a:lnTo>
                      <a:pt x="418" y="139"/>
                    </a:lnTo>
                    <a:lnTo>
                      <a:pt x="422" y="148"/>
                    </a:lnTo>
                    <a:lnTo>
                      <a:pt x="426" y="152"/>
                    </a:lnTo>
                    <a:lnTo>
                      <a:pt x="435" y="156"/>
                    </a:lnTo>
                    <a:lnTo>
                      <a:pt x="435" y="161"/>
                    </a:lnTo>
                    <a:lnTo>
                      <a:pt x="435" y="174"/>
                    </a:lnTo>
                    <a:lnTo>
                      <a:pt x="431" y="183"/>
                    </a:lnTo>
                    <a:lnTo>
                      <a:pt x="435" y="187"/>
                    </a:lnTo>
                    <a:lnTo>
                      <a:pt x="435" y="187"/>
                    </a:lnTo>
                    <a:lnTo>
                      <a:pt x="439" y="187"/>
                    </a:lnTo>
                    <a:lnTo>
                      <a:pt x="439" y="187"/>
                    </a:lnTo>
                    <a:lnTo>
                      <a:pt x="439" y="191"/>
                    </a:lnTo>
                    <a:lnTo>
                      <a:pt x="435" y="196"/>
                    </a:lnTo>
                    <a:lnTo>
                      <a:pt x="435" y="200"/>
                    </a:lnTo>
                    <a:lnTo>
                      <a:pt x="431" y="200"/>
                    </a:lnTo>
                    <a:lnTo>
                      <a:pt x="426" y="204"/>
                    </a:lnTo>
                    <a:lnTo>
                      <a:pt x="426" y="209"/>
                    </a:lnTo>
                    <a:lnTo>
                      <a:pt x="422" y="213"/>
                    </a:lnTo>
                    <a:lnTo>
                      <a:pt x="418" y="213"/>
                    </a:lnTo>
                    <a:lnTo>
                      <a:pt x="418" y="213"/>
                    </a:lnTo>
                    <a:lnTo>
                      <a:pt x="409" y="222"/>
                    </a:lnTo>
                    <a:lnTo>
                      <a:pt x="405" y="226"/>
                    </a:lnTo>
                    <a:lnTo>
                      <a:pt x="405" y="230"/>
                    </a:lnTo>
                    <a:lnTo>
                      <a:pt x="405" y="230"/>
                    </a:lnTo>
                    <a:lnTo>
                      <a:pt x="400" y="235"/>
                    </a:lnTo>
                    <a:lnTo>
                      <a:pt x="396" y="235"/>
                    </a:lnTo>
                    <a:lnTo>
                      <a:pt x="391" y="239"/>
                    </a:lnTo>
                    <a:lnTo>
                      <a:pt x="387" y="248"/>
                    </a:lnTo>
                    <a:lnTo>
                      <a:pt x="387" y="252"/>
                    </a:lnTo>
                    <a:lnTo>
                      <a:pt x="383" y="252"/>
                    </a:lnTo>
                    <a:lnTo>
                      <a:pt x="378" y="256"/>
                    </a:lnTo>
                    <a:lnTo>
                      <a:pt x="370" y="269"/>
                    </a:lnTo>
                    <a:lnTo>
                      <a:pt x="370" y="269"/>
                    </a:lnTo>
                    <a:lnTo>
                      <a:pt x="370" y="274"/>
                    </a:lnTo>
                    <a:lnTo>
                      <a:pt x="370" y="274"/>
                    </a:lnTo>
                    <a:lnTo>
                      <a:pt x="370" y="274"/>
                    </a:lnTo>
                    <a:lnTo>
                      <a:pt x="370" y="278"/>
                    </a:lnTo>
                    <a:lnTo>
                      <a:pt x="370" y="278"/>
                    </a:lnTo>
                    <a:lnTo>
                      <a:pt x="370" y="283"/>
                    </a:lnTo>
                    <a:lnTo>
                      <a:pt x="365" y="287"/>
                    </a:lnTo>
                    <a:lnTo>
                      <a:pt x="357" y="300"/>
                    </a:lnTo>
                    <a:lnTo>
                      <a:pt x="352" y="300"/>
                    </a:lnTo>
                    <a:lnTo>
                      <a:pt x="348" y="300"/>
                    </a:lnTo>
                    <a:lnTo>
                      <a:pt x="335" y="304"/>
                    </a:lnTo>
                    <a:lnTo>
                      <a:pt x="335" y="304"/>
                    </a:lnTo>
                    <a:lnTo>
                      <a:pt x="331" y="304"/>
                    </a:lnTo>
                    <a:lnTo>
                      <a:pt x="322" y="313"/>
                    </a:lnTo>
                    <a:lnTo>
                      <a:pt x="313" y="317"/>
                    </a:lnTo>
                    <a:lnTo>
                      <a:pt x="309" y="313"/>
                    </a:lnTo>
                    <a:lnTo>
                      <a:pt x="300" y="313"/>
                    </a:lnTo>
                    <a:lnTo>
                      <a:pt x="300" y="317"/>
                    </a:lnTo>
                    <a:lnTo>
                      <a:pt x="305" y="317"/>
                    </a:lnTo>
                    <a:lnTo>
                      <a:pt x="305" y="322"/>
                    </a:lnTo>
                    <a:lnTo>
                      <a:pt x="300" y="326"/>
                    </a:lnTo>
                    <a:lnTo>
                      <a:pt x="296" y="326"/>
                    </a:lnTo>
                    <a:lnTo>
                      <a:pt x="287" y="330"/>
                    </a:lnTo>
                    <a:lnTo>
                      <a:pt x="287" y="335"/>
                    </a:lnTo>
                    <a:lnTo>
                      <a:pt x="278" y="339"/>
                    </a:lnTo>
                    <a:lnTo>
                      <a:pt x="274" y="339"/>
                    </a:lnTo>
                    <a:lnTo>
                      <a:pt x="265" y="352"/>
                    </a:lnTo>
                    <a:lnTo>
                      <a:pt x="257" y="356"/>
                    </a:lnTo>
                    <a:lnTo>
                      <a:pt x="257" y="356"/>
                    </a:lnTo>
                    <a:lnTo>
                      <a:pt x="252" y="356"/>
                    </a:lnTo>
                    <a:lnTo>
                      <a:pt x="252" y="361"/>
                    </a:lnTo>
                    <a:lnTo>
                      <a:pt x="248" y="365"/>
                    </a:lnTo>
                    <a:lnTo>
                      <a:pt x="248" y="365"/>
                    </a:lnTo>
                    <a:lnTo>
                      <a:pt x="244" y="369"/>
                    </a:lnTo>
                    <a:lnTo>
                      <a:pt x="239" y="383"/>
                    </a:lnTo>
                    <a:lnTo>
                      <a:pt x="231" y="396"/>
                    </a:lnTo>
                    <a:lnTo>
                      <a:pt x="226" y="396"/>
                    </a:lnTo>
                    <a:lnTo>
                      <a:pt x="218" y="400"/>
                    </a:lnTo>
                    <a:lnTo>
                      <a:pt x="213" y="400"/>
                    </a:lnTo>
                    <a:lnTo>
                      <a:pt x="213" y="404"/>
                    </a:lnTo>
                    <a:lnTo>
                      <a:pt x="213" y="409"/>
                    </a:lnTo>
                    <a:lnTo>
                      <a:pt x="213" y="409"/>
                    </a:lnTo>
                    <a:lnTo>
                      <a:pt x="218" y="409"/>
                    </a:lnTo>
                    <a:lnTo>
                      <a:pt x="218" y="413"/>
                    </a:lnTo>
                    <a:lnTo>
                      <a:pt x="204" y="422"/>
                    </a:lnTo>
                    <a:lnTo>
                      <a:pt x="200" y="422"/>
                    </a:lnTo>
                    <a:lnTo>
                      <a:pt x="200" y="422"/>
                    </a:lnTo>
                    <a:lnTo>
                      <a:pt x="196" y="422"/>
                    </a:lnTo>
                    <a:lnTo>
                      <a:pt x="196" y="422"/>
                    </a:lnTo>
                    <a:lnTo>
                      <a:pt x="196" y="422"/>
                    </a:lnTo>
                    <a:lnTo>
                      <a:pt x="191" y="426"/>
                    </a:lnTo>
                    <a:lnTo>
                      <a:pt x="187" y="426"/>
                    </a:lnTo>
                    <a:lnTo>
                      <a:pt x="187" y="430"/>
                    </a:lnTo>
                    <a:lnTo>
                      <a:pt x="183" y="430"/>
                    </a:lnTo>
                    <a:lnTo>
                      <a:pt x="178" y="430"/>
                    </a:lnTo>
                    <a:lnTo>
                      <a:pt x="174" y="417"/>
                    </a:lnTo>
                    <a:lnTo>
                      <a:pt x="178" y="413"/>
                    </a:lnTo>
                    <a:lnTo>
                      <a:pt x="183" y="413"/>
                    </a:lnTo>
                    <a:lnTo>
                      <a:pt x="183" y="413"/>
                    </a:lnTo>
                    <a:lnTo>
                      <a:pt x="196" y="404"/>
                    </a:lnTo>
                    <a:lnTo>
                      <a:pt x="204" y="400"/>
                    </a:lnTo>
                    <a:lnTo>
                      <a:pt x="209" y="396"/>
                    </a:lnTo>
                    <a:lnTo>
                      <a:pt x="209" y="396"/>
                    </a:lnTo>
                    <a:lnTo>
                      <a:pt x="209" y="396"/>
                    </a:lnTo>
                    <a:lnTo>
                      <a:pt x="213" y="396"/>
                    </a:lnTo>
                    <a:lnTo>
                      <a:pt x="213" y="391"/>
                    </a:lnTo>
                    <a:lnTo>
                      <a:pt x="209" y="387"/>
                    </a:lnTo>
                    <a:lnTo>
                      <a:pt x="204" y="387"/>
                    </a:lnTo>
                    <a:lnTo>
                      <a:pt x="204" y="383"/>
                    </a:lnTo>
                    <a:lnTo>
                      <a:pt x="213" y="369"/>
                    </a:lnTo>
                    <a:lnTo>
                      <a:pt x="204" y="369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74"/>
                    </a:lnTo>
                    <a:lnTo>
                      <a:pt x="196" y="369"/>
                    </a:lnTo>
                    <a:lnTo>
                      <a:pt x="191" y="369"/>
                    </a:lnTo>
                    <a:lnTo>
                      <a:pt x="191" y="365"/>
                    </a:lnTo>
                    <a:lnTo>
                      <a:pt x="187" y="361"/>
                    </a:lnTo>
                    <a:lnTo>
                      <a:pt x="187" y="361"/>
                    </a:lnTo>
                    <a:lnTo>
                      <a:pt x="183" y="361"/>
                    </a:lnTo>
                    <a:lnTo>
                      <a:pt x="183" y="361"/>
                    </a:lnTo>
                    <a:lnTo>
                      <a:pt x="183" y="365"/>
                    </a:lnTo>
                    <a:lnTo>
                      <a:pt x="174" y="361"/>
                    </a:lnTo>
                    <a:lnTo>
                      <a:pt x="178" y="356"/>
                    </a:lnTo>
                    <a:lnTo>
                      <a:pt x="187" y="352"/>
                    </a:lnTo>
                    <a:lnTo>
                      <a:pt x="191" y="352"/>
                    </a:lnTo>
                    <a:lnTo>
                      <a:pt x="191" y="343"/>
                    </a:lnTo>
                    <a:lnTo>
                      <a:pt x="191" y="348"/>
                    </a:lnTo>
                    <a:close/>
                    <a:moveTo>
                      <a:pt x="191" y="374"/>
                    </a:moveTo>
                    <a:lnTo>
                      <a:pt x="187" y="374"/>
                    </a:lnTo>
                    <a:lnTo>
                      <a:pt x="183" y="374"/>
                    </a:lnTo>
                    <a:lnTo>
                      <a:pt x="183" y="374"/>
                    </a:lnTo>
                    <a:lnTo>
                      <a:pt x="178" y="374"/>
                    </a:lnTo>
                    <a:lnTo>
                      <a:pt x="178" y="374"/>
                    </a:lnTo>
                    <a:lnTo>
                      <a:pt x="178" y="369"/>
                    </a:lnTo>
                    <a:lnTo>
                      <a:pt x="183" y="365"/>
                    </a:lnTo>
                    <a:lnTo>
                      <a:pt x="187" y="365"/>
                    </a:lnTo>
                    <a:lnTo>
                      <a:pt x="187" y="365"/>
                    </a:lnTo>
                    <a:lnTo>
                      <a:pt x="187" y="365"/>
                    </a:lnTo>
                    <a:lnTo>
                      <a:pt x="191" y="365"/>
                    </a:lnTo>
                    <a:lnTo>
                      <a:pt x="191" y="365"/>
                    </a:lnTo>
                    <a:lnTo>
                      <a:pt x="191" y="369"/>
                    </a:lnTo>
                    <a:lnTo>
                      <a:pt x="191" y="374"/>
                    </a:lnTo>
                    <a:lnTo>
                      <a:pt x="191" y="374"/>
                    </a:lnTo>
                    <a:close/>
                  </a:path>
                </a:pathLst>
              </a:custGeom>
              <a:solidFill>
                <a:srgbClr val="D7D2CB"/>
              </a:solidFill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0" name="Freeform 30">
                <a:extLst>
                  <a:ext uri="{FF2B5EF4-FFF2-40B4-BE49-F238E27FC236}">
                    <a16:creationId xmlns:a16="http://schemas.microsoft.com/office/drawing/2014/main" id="{A74E947F-C613-9439-7D7B-2DDF9829DF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544" y="1788442"/>
                <a:ext cx="2633738" cy="1874838"/>
              </a:xfrm>
              <a:custGeom>
                <a:avLst/>
                <a:gdLst>
                  <a:gd name="T0" fmla="*/ 1100 w 1518"/>
                  <a:gd name="T1" fmla="*/ 1022 h 1135"/>
                  <a:gd name="T2" fmla="*/ 1092 w 1518"/>
                  <a:gd name="T3" fmla="*/ 1074 h 1135"/>
                  <a:gd name="T4" fmla="*/ 1100 w 1518"/>
                  <a:gd name="T5" fmla="*/ 1122 h 1135"/>
                  <a:gd name="T6" fmla="*/ 1022 w 1518"/>
                  <a:gd name="T7" fmla="*/ 1126 h 1135"/>
                  <a:gd name="T8" fmla="*/ 935 w 1518"/>
                  <a:gd name="T9" fmla="*/ 1100 h 1135"/>
                  <a:gd name="T10" fmla="*/ 844 w 1518"/>
                  <a:gd name="T11" fmla="*/ 1070 h 1135"/>
                  <a:gd name="T12" fmla="*/ 774 w 1518"/>
                  <a:gd name="T13" fmla="*/ 1079 h 1135"/>
                  <a:gd name="T14" fmla="*/ 678 w 1518"/>
                  <a:gd name="T15" fmla="*/ 1100 h 1135"/>
                  <a:gd name="T16" fmla="*/ 605 w 1518"/>
                  <a:gd name="T17" fmla="*/ 1105 h 1135"/>
                  <a:gd name="T18" fmla="*/ 526 w 1518"/>
                  <a:gd name="T19" fmla="*/ 1066 h 1135"/>
                  <a:gd name="T20" fmla="*/ 457 w 1518"/>
                  <a:gd name="T21" fmla="*/ 1070 h 1135"/>
                  <a:gd name="T22" fmla="*/ 409 w 1518"/>
                  <a:gd name="T23" fmla="*/ 1066 h 1135"/>
                  <a:gd name="T24" fmla="*/ 339 w 1518"/>
                  <a:gd name="T25" fmla="*/ 1035 h 1135"/>
                  <a:gd name="T26" fmla="*/ 291 w 1518"/>
                  <a:gd name="T27" fmla="*/ 1100 h 1135"/>
                  <a:gd name="T28" fmla="*/ 231 w 1518"/>
                  <a:gd name="T29" fmla="*/ 1096 h 1135"/>
                  <a:gd name="T30" fmla="*/ 187 w 1518"/>
                  <a:gd name="T31" fmla="*/ 1031 h 1135"/>
                  <a:gd name="T32" fmla="*/ 178 w 1518"/>
                  <a:gd name="T33" fmla="*/ 979 h 1135"/>
                  <a:gd name="T34" fmla="*/ 104 w 1518"/>
                  <a:gd name="T35" fmla="*/ 931 h 1135"/>
                  <a:gd name="T36" fmla="*/ 70 w 1518"/>
                  <a:gd name="T37" fmla="*/ 896 h 1135"/>
                  <a:gd name="T38" fmla="*/ 57 w 1518"/>
                  <a:gd name="T39" fmla="*/ 826 h 1135"/>
                  <a:gd name="T40" fmla="*/ 4 w 1518"/>
                  <a:gd name="T41" fmla="*/ 779 h 1135"/>
                  <a:gd name="T42" fmla="*/ 48 w 1518"/>
                  <a:gd name="T43" fmla="*/ 735 h 1135"/>
                  <a:gd name="T44" fmla="*/ 65 w 1518"/>
                  <a:gd name="T45" fmla="*/ 666 h 1135"/>
                  <a:gd name="T46" fmla="*/ 9 w 1518"/>
                  <a:gd name="T47" fmla="*/ 609 h 1135"/>
                  <a:gd name="T48" fmla="*/ 44 w 1518"/>
                  <a:gd name="T49" fmla="*/ 553 h 1135"/>
                  <a:gd name="T50" fmla="*/ 117 w 1518"/>
                  <a:gd name="T51" fmla="*/ 518 h 1135"/>
                  <a:gd name="T52" fmla="*/ 174 w 1518"/>
                  <a:gd name="T53" fmla="*/ 513 h 1135"/>
                  <a:gd name="T54" fmla="*/ 226 w 1518"/>
                  <a:gd name="T55" fmla="*/ 548 h 1135"/>
                  <a:gd name="T56" fmla="*/ 300 w 1518"/>
                  <a:gd name="T57" fmla="*/ 522 h 1135"/>
                  <a:gd name="T58" fmla="*/ 365 w 1518"/>
                  <a:gd name="T59" fmla="*/ 513 h 1135"/>
                  <a:gd name="T60" fmla="*/ 478 w 1518"/>
                  <a:gd name="T61" fmla="*/ 487 h 1135"/>
                  <a:gd name="T62" fmla="*/ 518 w 1518"/>
                  <a:gd name="T63" fmla="*/ 431 h 1135"/>
                  <a:gd name="T64" fmla="*/ 561 w 1518"/>
                  <a:gd name="T65" fmla="*/ 400 h 1135"/>
                  <a:gd name="T66" fmla="*/ 578 w 1518"/>
                  <a:gd name="T67" fmla="*/ 279 h 1135"/>
                  <a:gd name="T68" fmla="*/ 591 w 1518"/>
                  <a:gd name="T69" fmla="*/ 244 h 1135"/>
                  <a:gd name="T70" fmla="*/ 670 w 1518"/>
                  <a:gd name="T71" fmla="*/ 257 h 1135"/>
                  <a:gd name="T72" fmla="*/ 718 w 1518"/>
                  <a:gd name="T73" fmla="*/ 266 h 1135"/>
                  <a:gd name="T74" fmla="*/ 722 w 1518"/>
                  <a:gd name="T75" fmla="*/ 218 h 1135"/>
                  <a:gd name="T76" fmla="*/ 765 w 1518"/>
                  <a:gd name="T77" fmla="*/ 144 h 1135"/>
                  <a:gd name="T78" fmla="*/ 805 w 1518"/>
                  <a:gd name="T79" fmla="*/ 126 h 1135"/>
                  <a:gd name="T80" fmla="*/ 878 w 1518"/>
                  <a:gd name="T81" fmla="*/ 157 h 1135"/>
                  <a:gd name="T82" fmla="*/ 935 w 1518"/>
                  <a:gd name="T83" fmla="*/ 148 h 1135"/>
                  <a:gd name="T84" fmla="*/ 948 w 1518"/>
                  <a:gd name="T85" fmla="*/ 66 h 1135"/>
                  <a:gd name="T86" fmla="*/ 1013 w 1518"/>
                  <a:gd name="T87" fmla="*/ 39 h 1135"/>
                  <a:gd name="T88" fmla="*/ 1083 w 1518"/>
                  <a:gd name="T89" fmla="*/ 9 h 1135"/>
                  <a:gd name="T90" fmla="*/ 1100 w 1518"/>
                  <a:gd name="T91" fmla="*/ 70 h 1135"/>
                  <a:gd name="T92" fmla="*/ 1161 w 1518"/>
                  <a:gd name="T93" fmla="*/ 122 h 1135"/>
                  <a:gd name="T94" fmla="*/ 1205 w 1518"/>
                  <a:gd name="T95" fmla="*/ 157 h 1135"/>
                  <a:gd name="T96" fmla="*/ 1235 w 1518"/>
                  <a:gd name="T97" fmla="*/ 266 h 1135"/>
                  <a:gd name="T98" fmla="*/ 1205 w 1518"/>
                  <a:gd name="T99" fmla="*/ 361 h 1135"/>
                  <a:gd name="T100" fmla="*/ 1274 w 1518"/>
                  <a:gd name="T101" fmla="*/ 396 h 1135"/>
                  <a:gd name="T102" fmla="*/ 1366 w 1518"/>
                  <a:gd name="T103" fmla="*/ 422 h 1135"/>
                  <a:gd name="T104" fmla="*/ 1418 w 1518"/>
                  <a:gd name="T105" fmla="*/ 470 h 1135"/>
                  <a:gd name="T106" fmla="*/ 1470 w 1518"/>
                  <a:gd name="T107" fmla="*/ 518 h 1135"/>
                  <a:gd name="T108" fmla="*/ 1492 w 1518"/>
                  <a:gd name="T109" fmla="*/ 587 h 1135"/>
                  <a:gd name="T110" fmla="*/ 1492 w 1518"/>
                  <a:gd name="T111" fmla="*/ 692 h 1135"/>
                  <a:gd name="T112" fmla="*/ 1400 w 1518"/>
                  <a:gd name="T113" fmla="*/ 718 h 1135"/>
                  <a:gd name="T114" fmla="*/ 1318 w 1518"/>
                  <a:gd name="T115" fmla="*/ 766 h 1135"/>
                  <a:gd name="T116" fmla="*/ 1318 w 1518"/>
                  <a:gd name="T117" fmla="*/ 874 h 1135"/>
                  <a:gd name="T118" fmla="*/ 1287 w 1518"/>
                  <a:gd name="T119" fmla="*/ 900 h 1135"/>
                  <a:gd name="T120" fmla="*/ 1222 w 1518"/>
                  <a:gd name="T121" fmla="*/ 913 h 1135"/>
                  <a:gd name="T122" fmla="*/ 1131 w 1518"/>
                  <a:gd name="T123" fmla="*/ 931 h 1135"/>
                  <a:gd name="T124" fmla="*/ 1065 w 1518"/>
                  <a:gd name="T125" fmla="*/ 957 h 1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18" h="1135">
                    <a:moveTo>
                      <a:pt x="1065" y="957"/>
                    </a:moveTo>
                    <a:lnTo>
                      <a:pt x="1065" y="961"/>
                    </a:lnTo>
                    <a:lnTo>
                      <a:pt x="1065" y="966"/>
                    </a:lnTo>
                    <a:lnTo>
                      <a:pt x="1065" y="970"/>
                    </a:lnTo>
                    <a:lnTo>
                      <a:pt x="1065" y="974"/>
                    </a:lnTo>
                    <a:lnTo>
                      <a:pt x="1065" y="979"/>
                    </a:lnTo>
                    <a:lnTo>
                      <a:pt x="1065" y="983"/>
                    </a:lnTo>
                    <a:lnTo>
                      <a:pt x="1065" y="987"/>
                    </a:lnTo>
                    <a:lnTo>
                      <a:pt x="1065" y="992"/>
                    </a:lnTo>
                    <a:lnTo>
                      <a:pt x="1070" y="996"/>
                    </a:lnTo>
                    <a:lnTo>
                      <a:pt x="1070" y="1000"/>
                    </a:lnTo>
                    <a:lnTo>
                      <a:pt x="1074" y="1000"/>
                    </a:lnTo>
                    <a:lnTo>
                      <a:pt x="1083" y="1009"/>
                    </a:lnTo>
                    <a:lnTo>
                      <a:pt x="1087" y="1013"/>
                    </a:lnTo>
                    <a:lnTo>
                      <a:pt x="1100" y="1022"/>
                    </a:lnTo>
                    <a:lnTo>
                      <a:pt x="1109" y="1031"/>
                    </a:lnTo>
                    <a:lnTo>
                      <a:pt x="1113" y="1035"/>
                    </a:lnTo>
                    <a:lnTo>
                      <a:pt x="1118" y="1039"/>
                    </a:lnTo>
                    <a:lnTo>
                      <a:pt x="1122" y="1039"/>
                    </a:lnTo>
                    <a:lnTo>
                      <a:pt x="1122" y="1044"/>
                    </a:lnTo>
                    <a:lnTo>
                      <a:pt x="1118" y="1044"/>
                    </a:lnTo>
                    <a:lnTo>
                      <a:pt x="1113" y="1048"/>
                    </a:lnTo>
                    <a:lnTo>
                      <a:pt x="1109" y="1052"/>
                    </a:lnTo>
                    <a:lnTo>
                      <a:pt x="1109" y="1057"/>
                    </a:lnTo>
                    <a:lnTo>
                      <a:pt x="1109" y="1061"/>
                    </a:lnTo>
                    <a:lnTo>
                      <a:pt x="1109" y="1066"/>
                    </a:lnTo>
                    <a:lnTo>
                      <a:pt x="1105" y="1070"/>
                    </a:lnTo>
                    <a:lnTo>
                      <a:pt x="1105" y="1074"/>
                    </a:lnTo>
                    <a:lnTo>
                      <a:pt x="1100" y="1074"/>
                    </a:lnTo>
                    <a:lnTo>
                      <a:pt x="1092" y="1074"/>
                    </a:lnTo>
                    <a:lnTo>
                      <a:pt x="1087" y="1079"/>
                    </a:lnTo>
                    <a:lnTo>
                      <a:pt x="1083" y="1079"/>
                    </a:lnTo>
                    <a:lnTo>
                      <a:pt x="1074" y="1083"/>
                    </a:lnTo>
                    <a:lnTo>
                      <a:pt x="1074" y="1087"/>
                    </a:lnTo>
                    <a:lnTo>
                      <a:pt x="1074" y="1092"/>
                    </a:lnTo>
                    <a:lnTo>
                      <a:pt x="1074" y="1096"/>
                    </a:lnTo>
                    <a:lnTo>
                      <a:pt x="1074" y="1109"/>
                    </a:lnTo>
                    <a:lnTo>
                      <a:pt x="1074" y="1113"/>
                    </a:lnTo>
                    <a:lnTo>
                      <a:pt x="1079" y="1113"/>
                    </a:lnTo>
                    <a:lnTo>
                      <a:pt x="1083" y="1113"/>
                    </a:lnTo>
                    <a:lnTo>
                      <a:pt x="1087" y="1113"/>
                    </a:lnTo>
                    <a:lnTo>
                      <a:pt x="1092" y="1113"/>
                    </a:lnTo>
                    <a:lnTo>
                      <a:pt x="1096" y="1118"/>
                    </a:lnTo>
                    <a:lnTo>
                      <a:pt x="1100" y="1118"/>
                    </a:lnTo>
                    <a:lnTo>
                      <a:pt x="1100" y="1122"/>
                    </a:lnTo>
                    <a:lnTo>
                      <a:pt x="1096" y="1122"/>
                    </a:lnTo>
                    <a:lnTo>
                      <a:pt x="1092" y="1126"/>
                    </a:lnTo>
                    <a:lnTo>
                      <a:pt x="1087" y="1126"/>
                    </a:lnTo>
                    <a:lnTo>
                      <a:pt x="1083" y="1126"/>
                    </a:lnTo>
                    <a:lnTo>
                      <a:pt x="1079" y="1126"/>
                    </a:lnTo>
                    <a:lnTo>
                      <a:pt x="1074" y="1126"/>
                    </a:lnTo>
                    <a:lnTo>
                      <a:pt x="1070" y="1131"/>
                    </a:lnTo>
                    <a:lnTo>
                      <a:pt x="1065" y="1131"/>
                    </a:lnTo>
                    <a:lnTo>
                      <a:pt x="1061" y="1135"/>
                    </a:lnTo>
                    <a:lnTo>
                      <a:pt x="1057" y="1135"/>
                    </a:lnTo>
                    <a:lnTo>
                      <a:pt x="1052" y="1135"/>
                    </a:lnTo>
                    <a:lnTo>
                      <a:pt x="1044" y="1135"/>
                    </a:lnTo>
                    <a:lnTo>
                      <a:pt x="1039" y="1135"/>
                    </a:lnTo>
                    <a:lnTo>
                      <a:pt x="1026" y="1126"/>
                    </a:lnTo>
                    <a:lnTo>
                      <a:pt x="1022" y="1126"/>
                    </a:lnTo>
                    <a:lnTo>
                      <a:pt x="1022" y="1122"/>
                    </a:lnTo>
                    <a:lnTo>
                      <a:pt x="1018" y="1118"/>
                    </a:lnTo>
                    <a:lnTo>
                      <a:pt x="1013" y="1118"/>
                    </a:lnTo>
                    <a:lnTo>
                      <a:pt x="1009" y="1118"/>
                    </a:lnTo>
                    <a:lnTo>
                      <a:pt x="996" y="1118"/>
                    </a:lnTo>
                    <a:lnTo>
                      <a:pt x="987" y="1118"/>
                    </a:lnTo>
                    <a:lnTo>
                      <a:pt x="983" y="1118"/>
                    </a:lnTo>
                    <a:lnTo>
                      <a:pt x="978" y="1118"/>
                    </a:lnTo>
                    <a:lnTo>
                      <a:pt x="974" y="1118"/>
                    </a:lnTo>
                    <a:lnTo>
                      <a:pt x="970" y="1118"/>
                    </a:lnTo>
                    <a:lnTo>
                      <a:pt x="952" y="1109"/>
                    </a:lnTo>
                    <a:lnTo>
                      <a:pt x="948" y="1109"/>
                    </a:lnTo>
                    <a:lnTo>
                      <a:pt x="948" y="1105"/>
                    </a:lnTo>
                    <a:lnTo>
                      <a:pt x="939" y="1100"/>
                    </a:lnTo>
                    <a:lnTo>
                      <a:pt x="935" y="1100"/>
                    </a:lnTo>
                    <a:lnTo>
                      <a:pt x="931" y="1096"/>
                    </a:lnTo>
                    <a:lnTo>
                      <a:pt x="922" y="1092"/>
                    </a:lnTo>
                    <a:lnTo>
                      <a:pt x="918" y="1087"/>
                    </a:lnTo>
                    <a:lnTo>
                      <a:pt x="913" y="1083"/>
                    </a:lnTo>
                    <a:lnTo>
                      <a:pt x="909" y="1083"/>
                    </a:lnTo>
                    <a:lnTo>
                      <a:pt x="905" y="1079"/>
                    </a:lnTo>
                    <a:lnTo>
                      <a:pt x="900" y="1079"/>
                    </a:lnTo>
                    <a:lnTo>
                      <a:pt x="896" y="1079"/>
                    </a:lnTo>
                    <a:lnTo>
                      <a:pt x="887" y="1074"/>
                    </a:lnTo>
                    <a:lnTo>
                      <a:pt x="878" y="1074"/>
                    </a:lnTo>
                    <a:lnTo>
                      <a:pt x="874" y="1074"/>
                    </a:lnTo>
                    <a:lnTo>
                      <a:pt x="857" y="1070"/>
                    </a:lnTo>
                    <a:lnTo>
                      <a:pt x="852" y="1070"/>
                    </a:lnTo>
                    <a:lnTo>
                      <a:pt x="848" y="1070"/>
                    </a:lnTo>
                    <a:lnTo>
                      <a:pt x="844" y="1070"/>
                    </a:lnTo>
                    <a:lnTo>
                      <a:pt x="844" y="1074"/>
                    </a:lnTo>
                    <a:lnTo>
                      <a:pt x="839" y="1074"/>
                    </a:lnTo>
                    <a:lnTo>
                      <a:pt x="831" y="1079"/>
                    </a:lnTo>
                    <a:lnTo>
                      <a:pt x="826" y="1083"/>
                    </a:lnTo>
                    <a:lnTo>
                      <a:pt x="822" y="1083"/>
                    </a:lnTo>
                    <a:lnTo>
                      <a:pt x="818" y="1083"/>
                    </a:lnTo>
                    <a:lnTo>
                      <a:pt x="818" y="1079"/>
                    </a:lnTo>
                    <a:lnTo>
                      <a:pt x="813" y="1079"/>
                    </a:lnTo>
                    <a:lnTo>
                      <a:pt x="809" y="1079"/>
                    </a:lnTo>
                    <a:lnTo>
                      <a:pt x="805" y="1079"/>
                    </a:lnTo>
                    <a:lnTo>
                      <a:pt x="800" y="1079"/>
                    </a:lnTo>
                    <a:lnTo>
                      <a:pt x="796" y="1079"/>
                    </a:lnTo>
                    <a:lnTo>
                      <a:pt x="792" y="1079"/>
                    </a:lnTo>
                    <a:lnTo>
                      <a:pt x="787" y="1079"/>
                    </a:lnTo>
                    <a:lnTo>
                      <a:pt x="774" y="1079"/>
                    </a:lnTo>
                    <a:lnTo>
                      <a:pt x="761" y="1079"/>
                    </a:lnTo>
                    <a:lnTo>
                      <a:pt x="757" y="1083"/>
                    </a:lnTo>
                    <a:lnTo>
                      <a:pt x="752" y="1083"/>
                    </a:lnTo>
                    <a:lnTo>
                      <a:pt x="748" y="1087"/>
                    </a:lnTo>
                    <a:lnTo>
                      <a:pt x="744" y="1092"/>
                    </a:lnTo>
                    <a:lnTo>
                      <a:pt x="739" y="1092"/>
                    </a:lnTo>
                    <a:lnTo>
                      <a:pt x="735" y="1096"/>
                    </a:lnTo>
                    <a:lnTo>
                      <a:pt x="731" y="1100"/>
                    </a:lnTo>
                    <a:lnTo>
                      <a:pt x="726" y="1100"/>
                    </a:lnTo>
                    <a:lnTo>
                      <a:pt x="709" y="1109"/>
                    </a:lnTo>
                    <a:lnTo>
                      <a:pt x="705" y="1109"/>
                    </a:lnTo>
                    <a:lnTo>
                      <a:pt x="705" y="1105"/>
                    </a:lnTo>
                    <a:lnTo>
                      <a:pt x="700" y="1105"/>
                    </a:lnTo>
                    <a:lnTo>
                      <a:pt x="696" y="1100"/>
                    </a:lnTo>
                    <a:lnTo>
                      <a:pt x="678" y="1100"/>
                    </a:lnTo>
                    <a:lnTo>
                      <a:pt x="674" y="1100"/>
                    </a:lnTo>
                    <a:lnTo>
                      <a:pt x="670" y="1100"/>
                    </a:lnTo>
                    <a:lnTo>
                      <a:pt x="665" y="1100"/>
                    </a:lnTo>
                    <a:lnTo>
                      <a:pt x="665" y="1105"/>
                    </a:lnTo>
                    <a:lnTo>
                      <a:pt x="661" y="1105"/>
                    </a:lnTo>
                    <a:lnTo>
                      <a:pt x="648" y="1100"/>
                    </a:lnTo>
                    <a:lnTo>
                      <a:pt x="631" y="1105"/>
                    </a:lnTo>
                    <a:lnTo>
                      <a:pt x="622" y="1105"/>
                    </a:lnTo>
                    <a:lnTo>
                      <a:pt x="618" y="1109"/>
                    </a:lnTo>
                    <a:lnTo>
                      <a:pt x="613" y="1109"/>
                    </a:lnTo>
                    <a:lnTo>
                      <a:pt x="613" y="1113"/>
                    </a:lnTo>
                    <a:lnTo>
                      <a:pt x="609" y="1113"/>
                    </a:lnTo>
                    <a:lnTo>
                      <a:pt x="605" y="1113"/>
                    </a:lnTo>
                    <a:lnTo>
                      <a:pt x="605" y="1109"/>
                    </a:lnTo>
                    <a:lnTo>
                      <a:pt x="605" y="1105"/>
                    </a:lnTo>
                    <a:lnTo>
                      <a:pt x="600" y="1105"/>
                    </a:lnTo>
                    <a:lnTo>
                      <a:pt x="591" y="1105"/>
                    </a:lnTo>
                    <a:lnTo>
                      <a:pt x="587" y="1105"/>
                    </a:lnTo>
                    <a:lnTo>
                      <a:pt x="574" y="1100"/>
                    </a:lnTo>
                    <a:lnTo>
                      <a:pt x="570" y="1096"/>
                    </a:lnTo>
                    <a:lnTo>
                      <a:pt x="565" y="1087"/>
                    </a:lnTo>
                    <a:lnTo>
                      <a:pt x="561" y="1083"/>
                    </a:lnTo>
                    <a:lnTo>
                      <a:pt x="552" y="1079"/>
                    </a:lnTo>
                    <a:lnTo>
                      <a:pt x="548" y="1074"/>
                    </a:lnTo>
                    <a:lnTo>
                      <a:pt x="544" y="1074"/>
                    </a:lnTo>
                    <a:lnTo>
                      <a:pt x="539" y="1074"/>
                    </a:lnTo>
                    <a:lnTo>
                      <a:pt x="535" y="1074"/>
                    </a:lnTo>
                    <a:lnTo>
                      <a:pt x="535" y="1070"/>
                    </a:lnTo>
                    <a:lnTo>
                      <a:pt x="531" y="1070"/>
                    </a:lnTo>
                    <a:lnTo>
                      <a:pt x="526" y="1066"/>
                    </a:lnTo>
                    <a:lnTo>
                      <a:pt x="518" y="1066"/>
                    </a:lnTo>
                    <a:lnTo>
                      <a:pt x="513" y="1066"/>
                    </a:lnTo>
                    <a:lnTo>
                      <a:pt x="509" y="1066"/>
                    </a:lnTo>
                    <a:lnTo>
                      <a:pt x="504" y="1066"/>
                    </a:lnTo>
                    <a:lnTo>
                      <a:pt x="500" y="1066"/>
                    </a:lnTo>
                    <a:lnTo>
                      <a:pt x="496" y="1066"/>
                    </a:lnTo>
                    <a:lnTo>
                      <a:pt x="496" y="1061"/>
                    </a:lnTo>
                    <a:lnTo>
                      <a:pt x="496" y="1057"/>
                    </a:lnTo>
                    <a:lnTo>
                      <a:pt x="491" y="1057"/>
                    </a:lnTo>
                    <a:lnTo>
                      <a:pt x="487" y="1057"/>
                    </a:lnTo>
                    <a:lnTo>
                      <a:pt x="483" y="1057"/>
                    </a:lnTo>
                    <a:lnTo>
                      <a:pt x="478" y="1057"/>
                    </a:lnTo>
                    <a:lnTo>
                      <a:pt x="465" y="1061"/>
                    </a:lnTo>
                    <a:lnTo>
                      <a:pt x="461" y="1066"/>
                    </a:lnTo>
                    <a:lnTo>
                      <a:pt x="457" y="1070"/>
                    </a:lnTo>
                    <a:lnTo>
                      <a:pt x="452" y="1079"/>
                    </a:lnTo>
                    <a:lnTo>
                      <a:pt x="448" y="1083"/>
                    </a:lnTo>
                    <a:lnTo>
                      <a:pt x="444" y="1087"/>
                    </a:lnTo>
                    <a:lnTo>
                      <a:pt x="439" y="1087"/>
                    </a:lnTo>
                    <a:lnTo>
                      <a:pt x="435" y="1087"/>
                    </a:lnTo>
                    <a:lnTo>
                      <a:pt x="431" y="1087"/>
                    </a:lnTo>
                    <a:lnTo>
                      <a:pt x="426" y="1087"/>
                    </a:lnTo>
                    <a:lnTo>
                      <a:pt x="426" y="1083"/>
                    </a:lnTo>
                    <a:lnTo>
                      <a:pt x="422" y="1083"/>
                    </a:lnTo>
                    <a:lnTo>
                      <a:pt x="422" y="1079"/>
                    </a:lnTo>
                    <a:lnTo>
                      <a:pt x="418" y="1079"/>
                    </a:lnTo>
                    <a:lnTo>
                      <a:pt x="418" y="1074"/>
                    </a:lnTo>
                    <a:lnTo>
                      <a:pt x="418" y="1070"/>
                    </a:lnTo>
                    <a:lnTo>
                      <a:pt x="413" y="1066"/>
                    </a:lnTo>
                    <a:lnTo>
                      <a:pt x="409" y="1066"/>
                    </a:lnTo>
                    <a:lnTo>
                      <a:pt x="404" y="1066"/>
                    </a:lnTo>
                    <a:lnTo>
                      <a:pt x="400" y="1066"/>
                    </a:lnTo>
                    <a:lnTo>
                      <a:pt x="400" y="1061"/>
                    </a:lnTo>
                    <a:lnTo>
                      <a:pt x="396" y="1061"/>
                    </a:lnTo>
                    <a:lnTo>
                      <a:pt x="396" y="1057"/>
                    </a:lnTo>
                    <a:lnTo>
                      <a:pt x="391" y="1061"/>
                    </a:lnTo>
                    <a:lnTo>
                      <a:pt x="383" y="1061"/>
                    </a:lnTo>
                    <a:lnTo>
                      <a:pt x="374" y="1057"/>
                    </a:lnTo>
                    <a:lnTo>
                      <a:pt x="370" y="1052"/>
                    </a:lnTo>
                    <a:lnTo>
                      <a:pt x="357" y="1044"/>
                    </a:lnTo>
                    <a:lnTo>
                      <a:pt x="352" y="1044"/>
                    </a:lnTo>
                    <a:lnTo>
                      <a:pt x="352" y="1039"/>
                    </a:lnTo>
                    <a:lnTo>
                      <a:pt x="348" y="1035"/>
                    </a:lnTo>
                    <a:lnTo>
                      <a:pt x="344" y="1031"/>
                    </a:lnTo>
                    <a:lnTo>
                      <a:pt x="339" y="1035"/>
                    </a:lnTo>
                    <a:lnTo>
                      <a:pt x="331" y="1048"/>
                    </a:lnTo>
                    <a:lnTo>
                      <a:pt x="326" y="1052"/>
                    </a:lnTo>
                    <a:lnTo>
                      <a:pt x="322" y="1052"/>
                    </a:lnTo>
                    <a:lnTo>
                      <a:pt x="313" y="1057"/>
                    </a:lnTo>
                    <a:lnTo>
                      <a:pt x="313" y="1061"/>
                    </a:lnTo>
                    <a:lnTo>
                      <a:pt x="313" y="1066"/>
                    </a:lnTo>
                    <a:lnTo>
                      <a:pt x="313" y="1070"/>
                    </a:lnTo>
                    <a:lnTo>
                      <a:pt x="309" y="1070"/>
                    </a:lnTo>
                    <a:lnTo>
                      <a:pt x="304" y="1070"/>
                    </a:lnTo>
                    <a:lnTo>
                      <a:pt x="300" y="1070"/>
                    </a:lnTo>
                    <a:lnTo>
                      <a:pt x="300" y="1083"/>
                    </a:lnTo>
                    <a:lnTo>
                      <a:pt x="300" y="1087"/>
                    </a:lnTo>
                    <a:lnTo>
                      <a:pt x="300" y="1092"/>
                    </a:lnTo>
                    <a:lnTo>
                      <a:pt x="296" y="1096"/>
                    </a:lnTo>
                    <a:lnTo>
                      <a:pt x="291" y="1100"/>
                    </a:lnTo>
                    <a:lnTo>
                      <a:pt x="291" y="1105"/>
                    </a:lnTo>
                    <a:lnTo>
                      <a:pt x="283" y="1109"/>
                    </a:lnTo>
                    <a:lnTo>
                      <a:pt x="278" y="1109"/>
                    </a:lnTo>
                    <a:lnTo>
                      <a:pt x="274" y="1105"/>
                    </a:lnTo>
                    <a:lnTo>
                      <a:pt x="270" y="1105"/>
                    </a:lnTo>
                    <a:lnTo>
                      <a:pt x="265" y="1100"/>
                    </a:lnTo>
                    <a:lnTo>
                      <a:pt x="261" y="1100"/>
                    </a:lnTo>
                    <a:lnTo>
                      <a:pt x="257" y="1100"/>
                    </a:lnTo>
                    <a:lnTo>
                      <a:pt x="252" y="1100"/>
                    </a:lnTo>
                    <a:lnTo>
                      <a:pt x="248" y="1100"/>
                    </a:lnTo>
                    <a:lnTo>
                      <a:pt x="248" y="1096"/>
                    </a:lnTo>
                    <a:lnTo>
                      <a:pt x="244" y="1096"/>
                    </a:lnTo>
                    <a:lnTo>
                      <a:pt x="239" y="1096"/>
                    </a:lnTo>
                    <a:lnTo>
                      <a:pt x="235" y="1096"/>
                    </a:lnTo>
                    <a:lnTo>
                      <a:pt x="231" y="1096"/>
                    </a:lnTo>
                    <a:lnTo>
                      <a:pt x="226" y="1100"/>
                    </a:lnTo>
                    <a:lnTo>
                      <a:pt x="222" y="1096"/>
                    </a:lnTo>
                    <a:lnTo>
                      <a:pt x="209" y="1079"/>
                    </a:lnTo>
                    <a:lnTo>
                      <a:pt x="209" y="1074"/>
                    </a:lnTo>
                    <a:lnTo>
                      <a:pt x="204" y="1074"/>
                    </a:lnTo>
                    <a:lnTo>
                      <a:pt x="196" y="1070"/>
                    </a:lnTo>
                    <a:lnTo>
                      <a:pt x="191" y="1070"/>
                    </a:lnTo>
                    <a:lnTo>
                      <a:pt x="191" y="1066"/>
                    </a:lnTo>
                    <a:lnTo>
                      <a:pt x="187" y="1066"/>
                    </a:lnTo>
                    <a:lnTo>
                      <a:pt x="187" y="1061"/>
                    </a:lnTo>
                    <a:lnTo>
                      <a:pt x="187" y="1057"/>
                    </a:lnTo>
                    <a:lnTo>
                      <a:pt x="187" y="1052"/>
                    </a:lnTo>
                    <a:lnTo>
                      <a:pt x="187" y="1039"/>
                    </a:lnTo>
                    <a:lnTo>
                      <a:pt x="187" y="1035"/>
                    </a:lnTo>
                    <a:lnTo>
                      <a:pt x="187" y="1031"/>
                    </a:lnTo>
                    <a:lnTo>
                      <a:pt x="187" y="1018"/>
                    </a:lnTo>
                    <a:lnTo>
                      <a:pt x="187" y="1013"/>
                    </a:lnTo>
                    <a:lnTo>
                      <a:pt x="183" y="1009"/>
                    </a:lnTo>
                    <a:lnTo>
                      <a:pt x="183" y="1000"/>
                    </a:lnTo>
                    <a:lnTo>
                      <a:pt x="187" y="1000"/>
                    </a:lnTo>
                    <a:lnTo>
                      <a:pt x="187" y="996"/>
                    </a:lnTo>
                    <a:lnTo>
                      <a:pt x="191" y="992"/>
                    </a:lnTo>
                    <a:lnTo>
                      <a:pt x="196" y="987"/>
                    </a:lnTo>
                    <a:lnTo>
                      <a:pt x="191" y="987"/>
                    </a:lnTo>
                    <a:lnTo>
                      <a:pt x="191" y="983"/>
                    </a:lnTo>
                    <a:lnTo>
                      <a:pt x="187" y="983"/>
                    </a:lnTo>
                    <a:lnTo>
                      <a:pt x="183" y="987"/>
                    </a:lnTo>
                    <a:lnTo>
                      <a:pt x="178" y="987"/>
                    </a:lnTo>
                    <a:lnTo>
                      <a:pt x="178" y="983"/>
                    </a:lnTo>
                    <a:lnTo>
                      <a:pt x="178" y="979"/>
                    </a:lnTo>
                    <a:lnTo>
                      <a:pt x="174" y="979"/>
                    </a:lnTo>
                    <a:lnTo>
                      <a:pt x="170" y="979"/>
                    </a:lnTo>
                    <a:lnTo>
                      <a:pt x="165" y="979"/>
                    </a:lnTo>
                    <a:lnTo>
                      <a:pt x="161" y="979"/>
                    </a:lnTo>
                    <a:lnTo>
                      <a:pt x="157" y="974"/>
                    </a:lnTo>
                    <a:lnTo>
                      <a:pt x="152" y="974"/>
                    </a:lnTo>
                    <a:lnTo>
                      <a:pt x="148" y="974"/>
                    </a:lnTo>
                    <a:lnTo>
                      <a:pt x="139" y="966"/>
                    </a:lnTo>
                    <a:lnTo>
                      <a:pt x="131" y="961"/>
                    </a:lnTo>
                    <a:lnTo>
                      <a:pt x="117" y="948"/>
                    </a:lnTo>
                    <a:lnTo>
                      <a:pt x="113" y="944"/>
                    </a:lnTo>
                    <a:lnTo>
                      <a:pt x="109" y="944"/>
                    </a:lnTo>
                    <a:lnTo>
                      <a:pt x="109" y="939"/>
                    </a:lnTo>
                    <a:lnTo>
                      <a:pt x="109" y="935"/>
                    </a:lnTo>
                    <a:lnTo>
                      <a:pt x="104" y="931"/>
                    </a:lnTo>
                    <a:lnTo>
                      <a:pt x="100" y="931"/>
                    </a:lnTo>
                    <a:lnTo>
                      <a:pt x="100" y="926"/>
                    </a:lnTo>
                    <a:lnTo>
                      <a:pt x="104" y="918"/>
                    </a:lnTo>
                    <a:lnTo>
                      <a:pt x="96" y="918"/>
                    </a:lnTo>
                    <a:lnTo>
                      <a:pt x="91" y="922"/>
                    </a:lnTo>
                    <a:lnTo>
                      <a:pt x="83" y="918"/>
                    </a:lnTo>
                    <a:lnTo>
                      <a:pt x="78" y="918"/>
                    </a:lnTo>
                    <a:lnTo>
                      <a:pt x="74" y="918"/>
                    </a:lnTo>
                    <a:lnTo>
                      <a:pt x="74" y="913"/>
                    </a:lnTo>
                    <a:lnTo>
                      <a:pt x="78" y="909"/>
                    </a:lnTo>
                    <a:lnTo>
                      <a:pt x="78" y="905"/>
                    </a:lnTo>
                    <a:lnTo>
                      <a:pt x="78" y="900"/>
                    </a:lnTo>
                    <a:lnTo>
                      <a:pt x="74" y="900"/>
                    </a:lnTo>
                    <a:lnTo>
                      <a:pt x="70" y="900"/>
                    </a:lnTo>
                    <a:lnTo>
                      <a:pt x="70" y="896"/>
                    </a:lnTo>
                    <a:lnTo>
                      <a:pt x="65" y="896"/>
                    </a:lnTo>
                    <a:lnTo>
                      <a:pt x="65" y="892"/>
                    </a:lnTo>
                    <a:lnTo>
                      <a:pt x="65" y="887"/>
                    </a:lnTo>
                    <a:lnTo>
                      <a:pt x="70" y="887"/>
                    </a:lnTo>
                    <a:lnTo>
                      <a:pt x="74" y="883"/>
                    </a:lnTo>
                    <a:lnTo>
                      <a:pt x="78" y="879"/>
                    </a:lnTo>
                    <a:lnTo>
                      <a:pt x="83" y="861"/>
                    </a:lnTo>
                    <a:lnTo>
                      <a:pt x="83" y="844"/>
                    </a:lnTo>
                    <a:lnTo>
                      <a:pt x="78" y="839"/>
                    </a:lnTo>
                    <a:lnTo>
                      <a:pt x="74" y="835"/>
                    </a:lnTo>
                    <a:lnTo>
                      <a:pt x="74" y="831"/>
                    </a:lnTo>
                    <a:lnTo>
                      <a:pt x="70" y="831"/>
                    </a:lnTo>
                    <a:lnTo>
                      <a:pt x="70" y="826"/>
                    </a:lnTo>
                    <a:lnTo>
                      <a:pt x="61" y="826"/>
                    </a:lnTo>
                    <a:lnTo>
                      <a:pt x="57" y="826"/>
                    </a:lnTo>
                    <a:lnTo>
                      <a:pt x="52" y="826"/>
                    </a:lnTo>
                    <a:lnTo>
                      <a:pt x="52" y="822"/>
                    </a:lnTo>
                    <a:lnTo>
                      <a:pt x="57" y="818"/>
                    </a:lnTo>
                    <a:lnTo>
                      <a:pt x="57" y="813"/>
                    </a:lnTo>
                    <a:lnTo>
                      <a:pt x="57" y="809"/>
                    </a:lnTo>
                    <a:lnTo>
                      <a:pt x="52" y="805"/>
                    </a:lnTo>
                    <a:lnTo>
                      <a:pt x="48" y="805"/>
                    </a:lnTo>
                    <a:lnTo>
                      <a:pt x="44" y="800"/>
                    </a:lnTo>
                    <a:lnTo>
                      <a:pt x="44" y="796"/>
                    </a:lnTo>
                    <a:lnTo>
                      <a:pt x="35" y="796"/>
                    </a:lnTo>
                    <a:lnTo>
                      <a:pt x="31" y="796"/>
                    </a:lnTo>
                    <a:lnTo>
                      <a:pt x="22" y="787"/>
                    </a:lnTo>
                    <a:lnTo>
                      <a:pt x="13" y="783"/>
                    </a:lnTo>
                    <a:lnTo>
                      <a:pt x="4" y="783"/>
                    </a:lnTo>
                    <a:lnTo>
                      <a:pt x="4" y="779"/>
                    </a:lnTo>
                    <a:lnTo>
                      <a:pt x="0" y="766"/>
                    </a:lnTo>
                    <a:lnTo>
                      <a:pt x="9" y="761"/>
                    </a:lnTo>
                    <a:lnTo>
                      <a:pt x="13" y="766"/>
                    </a:lnTo>
                    <a:lnTo>
                      <a:pt x="17" y="766"/>
                    </a:lnTo>
                    <a:lnTo>
                      <a:pt x="26" y="761"/>
                    </a:lnTo>
                    <a:lnTo>
                      <a:pt x="26" y="766"/>
                    </a:lnTo>
                    <a:lnTo>
                      <a:pt x="26" y="770"/>
                    </a:lnTo>
                    <a:lnTo>
                      <a:pt x="35" y="774"/>
                    </a:lnTo>
                    <a:lnTo>
                      <a:pt x="48" y="770"/>
                    </a:lnTo>
                    <a:lnTo>
                      <a:pt x="57" y="766"/>
                    </a:lnTo>
                    <a:lnTo>
                      <a:pt x="52" y="753"/>
                    </a:lnTo>
                    <a:lnTo>
                      <a:pt x="48" y="748"/>
                    </a:lnTo>
                    <a:lnTo>
                      <a:pt x="44" y="744"/>
                    </a:lnTo>
                    <a:lnTo>
                      <a:pt x="48" y="739"/>
                    </a:lnTo>
                    <a:lnTo>
                      <a:pt x="48" y="735"/>
                    </a:lnTo>
                    <a:lnTo>
                      <a:pt x="57" y="731"/>
                    </a:lnTo>
                    <a:lnTo>
                      <a:pt x="52" y="726"/>
                    </a:lnTo>
                    <a:lnTo>
                      <a:pt x="52" y="722"/>
                    </a:lnTo>
                    <a:lnTo>
                      <a:pt x="52" y="718"/>
                    </a:lnTo>
                    <a:lnTo>
                      <a:pt x="57" y="709"/>
                    </a:lnTo>
                    <a:lnTo>
                      <a:pt x="57" y="705"/>
                    </a:lnTo>
                    <a:lnTo>
                      <a:pt x="52" y="705"/>
                    </a:lnTo>
                    <a:lnTo>
                      <a:pt x="57" y="692"/>
                    </a:lnTo>
                    <a:lnTo>
                      <a:pt x="57" y="683"/>
                    </a:lnTo>
                    <a:lnTo>
                      <a:pt x="61" y="683"/>
                    </a:lnTo>
                    <a:lnTo>
                      <a:pt x="61" y="679"/>
                    </a:lnTo>
                    <a:lnTo>
                      <a:pt x="65" y="679"/>
                    </a:lnTo>
                    <a:lnTo>
                      <a:pt x="65" y="674"/>
                    </a:lnTo>
                    <a:lnTo>
                      <a:pt x="65" y="670"/>
                    </a:lnTo>
                    <a:lnTo>
                      <a:pt x="65" y="666"/>
                    </a:lnTo>
                    <a:lnTo>
                      <a:pt x="57" y="661"/>
                    </a:lnTo>
                    <a:lnTo>
                      <a:pt x="44" y="644"/>
                    </a:lnTo>
                    <a:lnTo>
                      <a:pt x="39" y="644"/>
                    </a:lnTo>
                    <a:lnTo>
                      <a:pt x="26" y="639"/>
                    </a:lnTo>
                    <a:lnTo>
                      <a:pt x="22" y="644"/>
                    </a:lnTo>
                    <a:lnTo>
                      <a:pt x="22" y="648"/>
                    </a:lnTo>
                    <a:lnTo>
                      <a:pt x="13" y="644"/>
                    </a:lnTo>
                    <a:lnTo>
                      <a:pt x="4" y="639"/>
                    </a:lnTo>
                    <a:lnTo>
                      <a:pt x="4" y="635"/>
                    </a:lnTo>
                    <a:lnTo>
                      <a:pt x="4" y="631"/>
                    </a:lnTo>
                    <a:lnTo>
                      <a:pt x="9" y="622"/>
                    </a:lnTo>
                    <a:lnTo>
                      <a:pt x="4" y="618"/>
                    </a:lnTo>
                    <a:lnTo>
                      <a:pt x="4" y="613"/>
                    </a:lnTo>
                    <a:lnTo>
                      <a:pt x="9" y="613"/>
                    </a:lnTo>
                    <a:lnTo>
                      <a:pt x="9" y="609"/>
                    </a:lnTo>
                    <a:lnTo>
                      <a:pt x="13" y="609"/>
                    </a:lnTo>
                    <a:lnTo>
                      <a:pt x="17" y="609"/>
                    </a:lnTo>
                    <a:lnTo>
                      <a:pt x="17" y="605"/>
                    </a:lnTo>
                    <a:lnTo>
                      <a:pt x="17" y="600"/>
                    </a:lnTo>
                    <a:lnTo>
                      <a:pt x="13" y="596"/>
                    </a:lnTo>
                    <a:lnTo>
                      <a:pt x="13" y="583"/>
                    </a:lnTo>
                    <a:lnTo>
                      <a:pt x="13" y="579"/>
                    </a:lnTo>
                    <a:lnTo>
                      <a:pt x="17" y="579"/>
                    </a:lnTo>
                    <a:lnTo>
                      <a:pt x="17" y="574"/>
                    </a:lnTo>
                    <a:lnTo>
                      <a:pt x="17" y="570"/>
                    </a:lnTo>
                    <a:lnTo>
                      <a:pt x="22" y="566"/>
                    </a:lnTo>
                    <a:lnTo>
                      <a:pt x="31" y="566"/>
                    </a:lnTo>
                    <a:lnTo>
                      <a:pt x="35" y="566"/>
                    </a:lnTo>
                    <a:lnTo>
                      <a:pt x="44" y="561"/>
                    </a:lnTo>
                    <a:lnTo>
                      <a:pt x="44" y="553"/>
                    </a:lnTo>
                    <a:lnTo>
                      <a:pt x="44" y="548"/>
                    </a:lnTo>
                    <a:lnTo>
                      <a:pt x="44" y="544"/>
                    </a:lnTo>
                    <a:lnTo>
                      <a:pt x="44" y="539"/>
                    </a:lnTo>
                    <a:lnTo>
                      <a:pt x="61" y="526"/>
                    </a:lnTo>
                    <a:lnTo>
                      <a:pt x="61" y="522"/>
                    </a:lnTo>
                    <a:lnTo>
                      <a:pt x="74" y="526"/>
                    </a:lnTo>
                    <a:lnTo>
                      <a:pt x="78" y="526"/>
                    </a:lnTo>
                    <a:lnTo>
                      <a:pt x="83" y="531"/>
                    </a:lnTo>
                    <a:lnTo>
                      <a:pt x="87" y="531"/>
                    </a:lnTo>
                    <a:lnTo>
                      <a:pt x="91" y="526"/>
                    </a:lnTo>
                    <a:lnTo>
                      <a:pt x="96" y="526"/>
                    </a:lnTo>
                    <a:lnTo>
                      <a:pt x="100" y="522"/>
                    </a:lnTo>
                    <a:lnTo>
                      <a:pt x="104" y="522"/>
                    </a:lnTo>
                    <a:lnTo>
                      <a:pt x="113" y="518"/>
                    </a:lnTo>
                    <a:lnTo>
                      <a:pt x="117" y="518"/>
                    </a:lnTo>
                    <a:lnTo>
                      <a:pt x="117" y="522"/>
                    </a:lnTo>
                    <a:lnTo>
                      <a:pt x="122" y="522"/>
                    </a:lnTo>
                    <a:lnTo>
                      <a:pt x="126" y="522"/>
                    </a:lnTo>
                    <a:lnTo>
                      <a:pt x="126" y="518"/>
                    </a:lnTo>
                    <a:lnTo>
                      <a:pt x="122" y="518"/>
                    </a:lnTo>
                    <a:lnTo>
                      <a:pt x="122" y="513"/>
                    </a:lnTo>
                    <a:lnTo>
                      <a:pt x="126" y="509"/>
                    </a:lnTo>
                    <a:lnTo>
                      <a:pt x="131" y="509"/>
                    </a:lnTo>
                    <a:lnTo>
                      <a:pt x="135" y="513"/>
                    </a:lnTo>
                    <a:lnTo>
                      <a:pt x="139" y="518"/>
                    </a:lnTo>
                    <a:lnTo>
                      <a:pt x="148" y="522"/>
                    </a:lnTo>
                    <a:lnTo>
                      <a:pt x="152" y="518"/>
                    </a:lnTo>
                    <a:lnTo>
                      <a:pt x="157" y="518"/>
                    </a:lnTo>
                    <a:lnTo>
                      <a:pt x="170" y="513"/>
                    </a:lnTo>
                    <a:lnTo>
                      <a:pt x="174" y="513"/>
                    </a:lnTo>
                    <a:lnTo>
                      <a:pt x="178" y="513"/>
                    </a:lnTo>
                    <a:lnTo>
                      <a:pt x="178" y="518"/>
                    </a:lnTo>
                    <a:lnTo>
                      <a:pt x="174" y="522"/>
                    </a:lnTo>
                    <a:lnTo>
                      <a:pt x="174" y="535"/>
                    </a:lnTo>
                    <a:lnTo>
                      <a:pt x="174" y="539"/>
                    </a:lnTo>
                    <a:lnTo>
                      <a:pt x="174" y="544"/>
                    </a:lnTo>
                    <a:lnTo>
                      <a:pt x="187" y="548"/>
                    </a:lnTo>
                    <a:lnTo>
                      <a:pt x="191" y="544"/>
                    </a:lnTo>
                    <a:lnTo>
                      <a:pt x="196" y="544"/>
                    </a:lnTo>
                    <a:lnTo>
                      <a:pt x="200" y="544"/>
                    </a:lnTo>
                    <a:lnTo>
                      <a:pt x="209" y="548"/>
                    </a:lnTo>
                    <a:lnTo>
                      <a:pt x="213" y="548"/>
                    </a:lnTo>
                    <a:lnTo>
                      <a:pt x="213" y="553"/>
                    </a:lnTo>
                    <a:lnTo>
                      <a:pt x="222" y="553"/>
                    </a:lnTo>
                    <a:lnTo>
                      <a:pt x="226" y="548"/>
                    </a:lnTo>
                    <a:lnTo>
                      <a:pt x="231" y="544"/>
                    </a:lnTo>
                    <a:lnTo>
                      <a:pt x="235" y="539"/>
                    </a:lnTo>
                    <a:lnTo>
                      <a:pt x="239" y="539"/>
                    </a:lnTo>
                    <a:lnTo>
                      <a:pt x="244" y="531"/>
                    </a:lnTo>
                    <a:lnTo>
                      <a:pt x="244" y="526"/>
                    </a:lnTo>
                    <a:lnTo>
                      <a:pt x="257" y="513"/>
                    </a:lnTo>
                    <a:lnTo>
                      <a:pt x="265" y="509"/>
                    </a:lnTo>
                    <a:lnTo>
                      <a:pt x="270" y="509"/>
                    </a:lnTo>
                    <a:lnTo>
                      <a:pt x="274" y="509"/>
                    </a:lnTo>
                    <a:lnTo>
                      <a:pt x="278" y="513"/>
                    </a:lnTo>
                    <a:lnTo>
                      <a:pt x="283" y="518"/>
                    </a:lnTo>
                    <a:lnTo>
                      <a:pt x="291" y="518"/>
                    </a:lnTo>
                    <a:lnTo>
                      <a:pt x="296" y="518"/>
                    </a:lnTo>
                    <a:lnTo>
                      <a:pt x="296" y="522"/>
                    </a:lnTo>
                    <a:lnTo>
                      <a:pt x="300" y="522"/>
                    </a:lnTo>
                    <a:lnTo>
                      <a:pt x="304" y="526"/>
                    </a:lnTo>
                    <a:lnTo>
                      <a:pt x="313" y="526"/>
                    </a:lnTo>
                    <a:lnTo>
                      <a:pt x="322" y="526"/>
                    </a:lnTo>
                    <a:lnTo>
                      <a:pt x="326" y="526"/>
                    </a:lnTo>
                    <a:lnTo>
                      <a:pt x="335" y="531"/>
                    </a:lnTo>
                    <a:lnTo>
                      <a:pt x="339" y="531"/>
                    </a:lnTo>
                    <a:lnTo>
                      <a:pt x="344" y="531"/>
                    </a:lnTo>
                    <a:lnTo>
                      <a:pt x="348" y="531"/>
                    </a:lnTo>
                    <a:lnTo>
                      <a:pt x="352" y="531"/>
                    </a:lnTo>
                    <a:lnTo>
                      <a:pt x="352" y="526"/>
                    </a:lnTo>
                    <a:lnTo>
                      <a:pt x="357" y="526"/>
                    </a:lnTo>
                    <a:lnTo>
                      <a:pt x="357" y="522"/>
                    </a:lnTo>
                    <a:lnTo>
                      <a:pt x="361" y="522"/>
                    </a:lnTo>
                    <a:lnTo>
                      <a:pt x="365" y="518"/>
                    </a:lnTo>
                    <a:lnTo>
                      <a:pt x="365" y="513"/>
                    </a:lnTo>
                    <a:lnTo>
                      <a:pt x="370" y="509"/>
                    </a:lnTo>
                    <a:lnTo>
                      <a:pt x="378" y="509"/>
                    </a:lnTo>
                    <a:lnTo>
                      <a:pt x="391" y="505"/>
                    </a:lnTo>
                    <a:lnTo>
                      <a:pt x="396" y="505"/>
                    </a:lnTo>
                    <a:lnTo>
                      <a:pt x="409" y="500"/>
                    </a:lnTo>
                    <a:lnTo>
                      <a:pt x="418" y="500"/>
                    </a:lnTo>
                    <a:lnTo>
                      <a:pt x="422" y="500"/>
                    </a:lnTo>
                    <a:lnTo>
                      <a:pt x="439" y="496"/>
                    </a:lnTo>
                    <a:lnTo>
                      <a:pt x="448" y="496"/>
                    </a:lnTo>
                    <a:lnTo>
                      <a:pt x="461" y="496"/>
                    </a:lnTo>
                    <a:lnTo>
                      <a:pt x="465" y="496"/>
                    </a:lnTo>
                    <a:lnTo>
                      <a:pt x="470" y="496"/>
                    </a:lnTo>
                    <a:lnTo>
                      <a:pt x="470" y="492"/>
                    </a:lnTo>
                    <a:lnTo>
                      <a:pt x="474" y="487"/>
                    </a:lnTo>
                    <a:lnTo>
                      <a:pt x="478" y="487"/>
                    </a:lnTo>
                    <a:lnTo>
                      <a:pt x="483" y="487"/>
                    </a:lnTo>
                    <a:lnTo>
                      <a:pt x="487" y="487"/>
                    </a:lnTo>
                    <a:lnTo>
                      <a:pt x="491" y="492"/>
                    </a:lnTo>
                    <a:lnTo>
                      <a:pt x="496" y="492"/>
                    </a:lnTo>
                    <a:lnTo>
                      <a:pt x="500" y="492"/>
                    </a:lnTo>
                    <a:lnTo>
                      <a:pt x="504" y="487"/>
                    </a:lnTo>
                    <a:lnTo>
                      <a:pt x="504" y="483"/>
                    </a:lnTo>
                    <a:lnTo>
                      <a:pt x="500" y="479"/>
                    </a:lnTo>
                    <a:lnTo>
                      <a:pt x="504" y="479"/>
                    </a:lnTo>
                    <a:lnTo>
                      <a:pt x="509" y="474"/>
                    </a:lnTo>
                    <a:lnTo>
                      <a:pt x="509" y="470"/>
                    </a:lnTo>
                    <a:lnTo>
                      <a:pt x="504" y="466"/>
                    </a:lnTo>
                    <a:lnTo>
                      <a:pt x="509" y="444"/>
                    </a:lnTo>
                    <a:lnTo>
                      <a:pt x="509" y="439"/>
                    </a:lnTo>
                    <a:lnTo>
                      <a:pt x="518" y="431"/>
                    </a:lnTo>
                    <a:lnTo>
                      <a:pt x="522" y="426"/>
                    </a:lnTo>
                    <a:lnTo>
                      <a:pt x="522" y="431"/>
                    </a:lnTo>
                    <a:lnTo>
                      <a:pt x="526" y="431"/>
                    </a:lnTo>
                    <a:lnTo>
                      <a:pt x="539" y="426"/>
                    </a:lnTo>
                    <a:lnTo>
                      <a:pt x="539" y="422"/>
                    </a:lnTo>
                    <a:lnTo>
                      <a:pt x="535" y="422"/>
                    </a:lnTo>
                    <a:lnTo>
                      <a:pt x="531" y="418"/>
                    </a:lnTo>
                    <a:lnTo>
                      <a:pt x="531" y="413"/>
                    </a:lnTo>
                    <a:lnTo>
                      <a:pt x="548" y="409"/>
                    </a:lnTo>
                    <a:lnTo>
                      <a:pt x="552" y="409"/>
                    </a:lnTo>
                    <a:lnTo>
                      <a:pt x="552" y="413"/>
                    </a:lnTo>
                    <a:lnTo>
                      <a:pt x="557" y="413"/>
                    </a:lnTo>
                    <a:lnTo>
                      <a:pt x="561" y="413"/>
                    </a:lnTo>
                    <a:lnTo>
                      <a:pt x="561" y="409"/>
                    </a:lnTo>
                    <a:lnTo>
                      <a:pt x="561" y="400"/>
                    </a:lnTo>
                    <a:lnTo>
                      <a:pt x="565" y="383"/>
                    </a:lnTo>
                    <a:lnTo>
                      <a:pt x="561" y="374"/>
                    </a:lnTo>
                    <a:lnTo>
                      <a:pt x="561" y="366"/>
                    </a:lnTo>
                    <a:lnTo>
                      <a:pt x="561" y="357"/>
                    </a:lnTo>
                    <a:lnTo>
                      <a:pt x="561" y="353"/>
                    </a:lnTo>
                    <a:lnTo>
                      <a:pt x="561" y="348"/>
                    </a:lnTo>
                    <a:lnTo>
                      <a:pt x="561" y="344"/>
                    </a:lnTo>
                    <a:lnTo>
                      <a:pt x="561" y="331"/>
                    </a:lnTo>
                    <a:lnTo>
                      <a:pt x="557" y="322"/>
                    </a:lnTo>
                    <a:lnTo>
                      <a:pt x="561" y="318"/>
                    </a:lnTo>
                    <a:lnTo>
                      <a:pt x="561" y="313"/>
                    </a:lnTo>
                    <a:lnTo>
                      <a:pt x="565" y="305"/>
                    </a:lnTo>
                    <a:lnTo>
                      <a:pt x="565" y="296"/>
                    </a:lnTo>
                    <a:lnTo>
                      <a:pt x="570" y="283"/>
                    </a:lnTo>
                    <a:lnTo>
                      <a:pt x="578" y="279"/>
                    </a:lnTo>
                    <a:lnTo>
                      <a:pt x="583" y="274"/>
                    </a:lnTo>
                    <a:lnTo>
                      <a:pt x="578" y="270"/>
                    </a:lnTo>
                    <a:lnTo>
                      <a:pt x="570" y="266"/>
                    </a:lnTo>
                    <a:lnTo>
                      <a:pt x="565" y="261"/>
                    </a:lnTo>
                    <a:lnTo>
                      <a:pt x="561" y="261"/>
                    </a:lnTo>
                    <a:lnTo>
                      <a:pt x="557" y="261"/>
                    </a:lnTo>
                    <a:lnTo>
                      <a:pt x="552" y="261"/>
                    </a:lnTo>
                    <a:lnTo>
                      <a:pt x="548" y="253"/>
                    </a:lnTo>
                    <a:lnTo>
                      <a:pt x="548" y="248"/>
                    </a:lnTo>
                    <a:lnTo>
                      <a:pt x="561" y="244"/>
                    </a:lnTo>
                    <a:lnTo>
                      <a:pt x="565" y="244"/>
                    </a:lnTo>
                    <a:lnTo>
                      <a:pt x="570" y="244"/>
                    </a:lnTo>
                    <a:lnTo>
                      <a:pt x="574" y="248"/>
                    </a:lnTo>
                    <a:lnTo>
                      <a:pt x="583" y="248"/>
                    </a:lnTo>
                    <a:lnTo>
                      <a:pt x="591" y="244"/>
                    </a:lnTo>
                    <a:lnTo>
                      <a:pt x="605" y="244"/>
                    </a:lnTo>
                    <a:lnTo>
                      <a:pt x="613" y="248"/>
                    </a:lnTo>
                    <a:lnTo>
                      <a:pt x="618" y="248"/>
                    </a:lnTo>
                    <a:lnTo>
                      <a:pt x="631" y="248"/>
                    </a:lnTo>
                    <a:lnTo>
                      <a:pt x="635" y="248"/>
                    </a:lnTo>
                    <a:lnTo>
                      <a:pt x="644" y="244"/>
                    </a:lnTo>
                    <a:lnTo>
                      <a:pt x="648" y="248"/>
                    </a:lnTo>
                    <a:lnTo>
                      <a:pt x="652" y="248"/>
                    </a:lnTo>
                    <a:lnTo>
                      <a:pt x="657" y="248"/>
                    </a:lnTo>
                    <a:lnTo>
                      <a:pt x="657" y="244"/>
                    </a:lnTo>
                    <a:lnTo>
                      <a:pt x="661" y="244"/>
                    </a:lnTo>
                    <a:lnTo>
                      <a:pt x="665" y="244"/>
                    </a:lnTo>
                    <a:lnTo>
                      <a:pt x="670" y="248"/>
                    </a:lnTo>
                    <a:lnTo>
                      <a:pt x="670" y="253"/>
                    </a:lnTo>
                    <a:lnTo>
                      <a:pt x="670" y="257"/>
                    </a:lnTo>
                    <a:lnTo>
                      <a:pt x="674" y="266"/>
                    </a:lnTo>
                    <a:lnTo>
                      <a:pt x="678" y="266"/>
                    </a:lnTo>
                    <a:lnTo>
                      <a:pt x="683" y="266"/>
                    </a:lnTo>
                    <a:lnTo>
                      <a:pt x="687" y="266"/>
                    </a:lnTo>
                    <a:lnTo>
                      <a:pt x="687" y="261"/>
                    </a:lnTo>
                    <a:lnTo>
                      <a:pt x="691" y="261"/>
                    </a:lnTo>
                    <a:lnTo>
                      <a:pt x="696" y="261"/>
                    </a:lnTo>
                    <a:lnTo>
                      <a:pt x="700" y="266"/>
                    </a:lnTo>
                    <a:lnTo>
                      <a:pt x="705" y="274"/>
                    </a:lnTo>
                    <a:lnTo>
                      <a:pt x="709" y="274"/>
                    </a:lnTo>
                    <a:lnTo>
                      <a:pt x="709" y="279"/>
                    </a:lnTo>
                    <a:lnTo>
                      <a:pt x="709" y="274"/>
                    </a:lnTo>
                    <a:lnTo>
                      <a:pt x="713" y="274"/>
                    </a:lnTo>
                    <a:lnTo>
                      <a:pt x="718" y="270"/>
                    </a:lnTo>
                    <a:lnTo>
                      <a:pt x="718" y="266"/>
                    </a:lnTo>
                    <a:lnTo>
                      <a:pt x="718" y="261"/>
                    </a:lnTo>
                    <a:lnTo>
                      <a:pt x="722" y="261"/>
                    </a:lnTo>
                    <a:lnTo>
                      <a:pt x="722" y="257"/>
                    </a:lnTo>
                    <a:lnTo>
                      <a:pt x="722" y="253"/>
                    </a:lnTo>
                    <a:lnTo>
                      <a:pt x="722" y="248"/>
                    </a:lnTo>
                    <a:lnTo>
                      <a:pt x="718" y="248"/>
                    </a:lnTo>
                    <a:lnTo>
                      <a:pt x="713" y="248"/>
                    </a:lnTo>
                    <a:lnTo>
                      <a:pt x="709" y="244"/>
                    </a:lnTo>
                    <a:lnTo>
                      <a:pt x="705" y="244"/>
                    </a:lnTo>
                    <a:lnTo>
                      <a:pt x="705" y="239"/>
                    </a:lnTo>
                    <a:lnTo>
                      <a:pt x="705" y="235"/>
                    </a:lnTo>
                    <a:lnTo>
                      <a:pt x="713" y="226"/>
                    </a:lnTo>
                    <a:lnTo>
                      <a:pt x="718" y="222"/>
                    </a:lnTo>
                    <a:lnTo>
                      <a:pt x="718" y="218"/>
                    </a:lnTo>
                    <a:lnTo>
                      <a:pt x="722" y="218"/>
                    </a:lnTo>
                    <a:lnTo>
                      <a:pt x="722" y="213"/>
                    </a:lnTo>
                    <a:lnTo>
                      <a:pt x="726" y="213"/>
                    </a:lnTo>
                    <a:lnTo>
                      <a:pt x="726" y="209"/>
                    </a:lnTo>
                    <a:lnTo>
                      <a:pt x="726" y="205"/>
                    </a:lnTo>
                    <a:lnTo>
                      <a:pt x="731" y="196"/>
                    </a:lnTo>
                    <a:lnTo>
                      <a:pt x="731" y="192"/>
                    </a:lnTo>
                    <a:lnTo>
                      <a:pt x="735" y="192"/>
                    </a:lnTo>
                    <a:lnTo>
                      <a:pt x="739" y="187"/>
                    </a:lnTo>
                    <a:lnTo>
                      <a:pt x="739" y="183"/>
                    </a:lnTo>
                    <a:lnTo>
                      <a:pt x="744" y="179"/>
                    </a:lnTo>
                    <a:lnTo>
                      <a:pt x="752" y="166"/>
                    </a:lnTo>
                    <a:lnTo>
                      <a:pt x="757" y="157"/>
                    </a:lnTo>
                    <a:lnTo>
                      <a:pt x="757" y="153"/>
                    </a:lnTo>
                    <a:lnTo>
                      <a:pt x="761" y="148"/>
                    </a:lnTo>
                    <a:lnTo>
                      <a:pt x="765" y="144"/>
                    </a:lnTo>
                    <a:lnTo>
                      <a:pt x="770" y="139"/>
                    </a:lnTo>
                    <a:lnTo>
                      <a:pt x="774" y="135"/>
                    </a:lnTo>
                    <a:lnTo>
                      <a:pt x="774" y="131"/>
                    </a:lnTo>
                    <a:lnTo>
                      <a:pt x="778" y="131"/>
                    </a:lnTo>
                    <a:lnTo>
                      <a:pt x="778" y="122"/>
                    </a:lnTo>
                    <a:lnTo>
                      <a:pt x="783" y="113"/>
                    </a:lnTo>
                    <a:lnTo>
                      <a:pt x="783" y="109"/>
                    </a:lnTo>
                    <a:lnTo>
                      <a:pt x="787" y="109"/>
                    </a:lnTo>
                    <a:lnTo>
                      <a:pt x="792" y="109"/>
                    </a:lnTo>
                    <a:lnTo>
                      <a:pt x="792" y="113"/>
                    </a:lnTo>
                    <a:lnTo>
                      <a:pt x="796" y="113"/>
                    </a:lnTo>
                    <a:lnTo>
                      <a:pt x="796" y="118"/>
                    </a:lnTo>
                    <a:lnTo>
                      <a:pt x="800" y="118"/>
                    </a:lnTo>
                    <a:lnTo>
                      <a:pt x="805" y="122"/>
                    </a:lnTo>
                    <a:lnTo>
                      <a:pt x="805" y="126"/>
                    </a:lnTo>
                    <a:lnTo>
                      <a:pt x="809" y="131"/>
                    </a:lnTo>
                    <a:lnTo>
                      <a:pt x="813" y="131"/>
                    </a:lnTo>
                    <a:lnTo>
                      <a:pt x="818" y="135"/>
                    </a:lnTo>
                    <a:lnTo>
                      <a:pt x="822" y="135"/>
                    </a:lnTo>
                    <a:lnTo>
                      <a:pt x="822" y="139"/>
                    </a:lnTo>
                    <a:lnTo>
                      <a:pt x="826" y="139"/>
                    </a:lnTo>
                    <a:lnTo>
                      <a:pt x="826" y="144"/>
                    </a:lnTo>
                    <a:lnTo>
                      <a:pt x="831" y="144"/>
                    </a:lnTo>
                    <a:lnTo>
                      <a:pt x="839" y="144"/>
                    </a:lnTo>
                    <a:lnTo>
                      <a:pt x="844" y="144"/>
                    </a:lnTo>
                    <a:lnTo>
                      <a:pt x="848" y="144"/>
                    </a:lnTo>
                    <a:lnTo>
                      <a:pt x="852" y="144"/>
                    </a:lnTo>
                    <a:lnTo>
                      <a:pt x="870" y="153"/>
                    </a:lnTo>
                    <a:lnTo>
                      <a:pt x="874" y="153"/>
                    </a:lnTo>
                    <a:lnTo>
                      <a:pt x="878" y="157"/>
                    </a:lnTo>
                    <a:lnTo>
                      <a:pt x="878" y="161"/>
                    </a:lnTo>
                    <a:lnTo>
                      <a:pt x="874" y="161"/>
                    </a:lnTo>
                    <a:lnTo>
                      <a:pt x="874" y="166"/>
                    </a:lnTo>
                    <a:lnTo>
                      <a:pt x="878" y="166"/>
                    </a:lnTo>
                    <a:lnTo>
                      <a:pt x="887" y="166"/>
                    </a:lnTo>
                    <a:lnTo>
                      <a:pt x="892" y="161"/>
                    </a:lnTo>
                    <a:lnTo>
                      <a:pt x="896" y="161"/>
                    </a:lnTo>
                    <a:lnTo>
                      <a:pt x="900" y="161"/>
                    </a:lnTo>
                    <a:lnTo>
                      <a:pt x="900" y="157"/>
                    </a:lnTo>
                    <a:lnTo>
                      <a:pt x="905" y="157"/>
                    </a:lnTo>
                    <a:lnTo>
                      <a:pt x="909" y="157"/>
                    </a:lnTo>
                    <a:lnTo>
                      <a:pt x="913" y="157"/>
                    </a:lnTo>
                    <a:lnTo>
                      <a:pt x="922" y="157"/>
                    </a:lnTo>
                    <a:lnTo>
                      <a:pt x="926" y="153"/>
                    </a:lnTo>
                    <a:lnTo>
                      <a:pt x="935" y="148"/>
                    </a:lnTo>
                    <a:lnTo>
                      <a:pt x="935" y="144"/>
                    </a:lnTo>
                    <a:lnTo>
                      <a:pt x="939" y="135"/>
                    </a:lnTo>
                    <a:lnTo>
                      <a:pt x="939" y="131"/>
                    </a:lnTo>
                    <a:lnTo>
                      <a:pt x="935" y="126"/>
                    </a:lnTo>
                    <a:lnTo>
                      <a:pt x="935" y="122"/>
                    </a:lnTo>
                    <a:lnTo>
                      <a:pt x="935" y="118"/>
                    </a:lnTo>
                    <a:lnTo>
                      <a:pt x="939" y="113"/>
                    </a:lnTo>
                    <a:lnTo>
                      <a:pt x="939" y="100"/>
                    </a:lnTo>
                    <a:lnTo>
                      <a:pt x="939" y="92"/>
                    </a:lnTo>
                    <a:lnTo>
                      <a:pt x="939" y="87"/>
                    </a:lnTo>
                    <a:lnTo>
                      <a:pt x="939" y="83"/>
                    </a:lnTo>
                    <a:lnTo>
                      <a:pt x="944" y="79"/>
                    </a:lnTo>
                    <a:lnTo>
                      <a:pt x="948" y="74"/>
                    </a:lnTo>
                    <a:lnTo>
                      <a:pt x="948" y="70"/>
                    </a:lnTo>
                    <a:lnTo>
                      <a:pt x="948" y="66"/>
                    </a:lnTo>
                    <a:lnTo>
                      <a:pt x="961" y="53"/>
                    </a:lnTo>
                    <a:lnTo>
                      <a:pt x="961" y="48"/>
                    </a:lnTo>
                    <a:lnTo>
                      <a:pt x="965" y="48"/>
                    </a:lnTo>
                    <a:lnTo>
                      <a:pt x="970" y="48"/>
                    </a:lnTo>
                    <a:lnTo>
                      <a:pt x="978" y="48"/>
                    </a:lnTo>
                    <a:lnTo>
                      <a:pt x="983" y="48"/>
                    </a:lnTo>
                    <a:lnTo>
                      <a:pt x="983" y="53"/>
                    </a:lnTo>
                    <a:lnTo>
                      <a:pt x="987" y="53"/>
                    </a:lnTo>
                    <a:lnTo>
                      <a:pt x="992" y="48"/>
                    </a:lnTo>
                    <a:lnTo>
                      <a:pt x="996" y="48"/>
                    </a:lnTo>
                    <a:lnTo>
                      <a:pt x="1000" y="48"/>
                    </a:lnTo>
                    <a:lnTo>
                      <a:pt x="1005" y="48"/>
                    </a:lnTo>
                    <a:lnTo>
                      <a:pt x="1013" y="48"/>
                    </a:lnTo>
                    <a:lnTo>
                      <a:pt x="1013" y="44"/>
                    </a:lnTo>
                    <a:lnTo>
                      <a:pt x="1013" y="39"/>
                    </a:lnTo>
                    <a:lnTo>
                      <a:pt x="1018" y="39"/>
                    </a:lnTo>
                    <a:lnTo>
                      <a:pt x="1022" y="35"/>
                    </a:lnTo>
                    <a:lnTo>
                      <a:pt x="1026" y="35"/>
                    </a:lnTo>
                    <a:lnTo>
                      <a:pt x="1026" y="26"/>
                    </a:lnTo>
                    <a:lnTo>
                      <a:pt x="1026" y="18"/>
                    </a:lnTo>
                    <a:lnTo>
                      <a:pt x="1026" y="13"/>
                    </a:lnTo>
                    <a:lnTo>
                      <a:pt x="1031" y="9"/>
                    </a:lnTo>
                    <a:lnTo>
                      <a:pt x="1039" y="0"/>
                    </a:lnTo>
                    <a:lnTo>
                      <a:pt x="1052" y="5"/>
                    </a:lnTo>
                    <a:lnTo>
                      <a:pt x="1057" y="5"/>
                    </a:lnTo>
                    <a:lnTo>
                      <a:pt x="1061" y="9"/>
                    </a:lnTo>
                    <a:lnTo>
                      <a:pt x="1065" y="9"/>
                    </a:lnTo>
                    <a:lnTo>
                      <a:pt x="1070" y="13"/>
                    </a:lnTo>
                    <a:lnTo>
                      <a:pt x="1074" y="9"/>
                    </a:lnTo>
                    <a:lnTo>
                      <a:pt x="1083" y="9"/>
                    </a:lnTo>
                    <a:lnTo>
                      <a:pt x="1092" y="9"/>
                    </a:lnTo>
                    <a:lnTo>
                      <a:pt x="1092" y="13"/>
                    </a:lnTo>
                    <a:lnTo>
                      <a:pt x="1092" y="22"/>
                    </a:lnTo>
                    <a:lnTo>
                      <a:pt x="1092" y="26"/>
                    </a:lnTo>
                    <a:lnTo>
                      <a:pt x="1087" y="26"/>
                    </a:lnTo>
                    <a:lnTo>
                      <a:pt x="1083" y="26"/>
                    </a:lnTo>
                    <a:lnTo>
                      <a:pt x="1083" y="31"/>
                    </a:lnTo>
                    <a:lnTo>
                      <a:pt x="1087" y="39"/>
                    </a:lnTo>
                    <a:lnTo>
                      <a:pt x="1092" y="44"/>
                    </a:lnTo>
                    <a:lnTo>
                      <a:pt x="1096" y="48"/>
                    </a:lnTo>
                    <a:lnTo>
                      <a:pt x="1096" y="53"/>
                    </a:lnTo>
                    <a:lnTo>
                      <a:pt x="1092" y="57"/>
                    </a:lnTo>
                    <a:lnTo>
                      <a:pt x="1087" y="57"/>
                    </a:lnTo>
                    <a:lnTo>
                      <a:pt x="1092" y="61"/>
                    </a:lnTo>
                    <a:lnTo>
                      <a:pt x="1100" y="70"/>
                    </a:lnTo>
                    <a:lnTo>
                      <a:pt x="1105" y="70"/>
                    </a:lnTo>
                    <a:lnTo>
                      <a:pt x="1109" y="70"/>
                    </a:lnTo>
                    <a:lnTo>
                      <a:pt x="1118" y="79"/>
                    </a:lnTo>
                    <a:lnTo>
                      <a:pt x="1122" y="87"/>
                    </a:lnTo>
                    <a:lnTo>
                      <a:pt x="1118" y="87"/>
                    </a:lnTo>
                    <a:lnTo>
                      <a:pt x="1118" y="92"/>
                    </a:lnTo>
                    <a:lnTo>
                      <a:pt x="1118" y="96"/>
                    </a:lnTo>
                    <a:lnTo>
                      <a:pt x="1122" y="100"/>
                    </a:lnTo>
                    <a:lnTo>
                      <a:pt x="1131" y="109"/>
                    </a:lnTo>
                    <a:lnTo>
                      <a:pt x="1135" y="109"/>
                    </a:lnTo>
                    <a:lnTo>
                      <a:pt x="1139" y="118"/>
                    </a:lnTo>
                    <a:lnTo>
                      <a:pt x="1139" y="122"/>
                    </a:lnTo>
                    <a:lnTo>
                      <a:pt x="1144" y="122"/>
                    </a:lnTo>
                    <a:lnTo>
                      <a:pt x="1152" y="122"/>
                    </a:lnTo>
                    <a:lnTo>
                      <a:pt x="1161" y="122"/>
                    </a:lnTo>
                    <a:lnTo>
                      <a:pt x="1170" y="122"/>
                    </a:lnTo>
                    <a:lnTo>
                      <a:pt x="1174" y="122"/>
                    </a:lnTo>
                    <a:lnTo>
                      <a:pt x="1174" y="126"/>
                    </a:lnTo>
                    <a:lnTo>
                      <a:pt x="1170" y="126"/>
                    </a:lnTo>
                    <a:lnTo>
                      <a:pt x="1174" y="135"/>
                    </a:lnTo>
                    <a:lnTo>
                      <a:pt x="1179" y="144"/>
                    </a:lnTo>
                    <a:lnTo>
                      <a:pt x="1187" y="144"/>
                    </a:lnTo>
                    <a:lnTo>
                      <a:pt x="1192" y="144"/>
                    </a:lnTo>
                    <a:lnTo>
                      <a:pt x="1192" y="139"/>
                    </a:lnTo>
                    <a:lnTo>
                      <a:pt x="1196" y="139"/>
                    </a:lnTo>
                    <a:lnTo>
                      <a:pt x="1196" y="144"/>
                    </a:lnTo>
                    <a:lnTo>
                      <a:pt x="1196" y="148"/>
                    </a:lnTo>
                    <a:lnTo>
                      <a:pt x="1196" y="153"/>
                    </a:lnTo>
                    <a:lnTo>
                      <a:pt x="1200" y="153"/>
                    </a:lnTo>
                    <a:lnTo>
                      <a:pt x="1205" y="157"/>
                    </a:lnTo>
                    <a:lnTo>
                      <a:pt x="1209" y="166"/>
                    </a:lnTo>
                    <a:lnTo>
                      <a:pt x="1213" y="170"/>
                    </a:lnTo>
                    <a:lnTo>
                      <a:pt x="1213" y="174"/>
                    </a:lnTo>
                    <a:lnTo>
                      <a:pt x="1213" y="179"/>
                    </a:lnTo>
                    <a:lnTo>
                      <a:pt x="1213" y="192"/>
                    </a:lnTo>
                    <a:lnTo>
                      <a:pt x="1213" y="200"/>
                    </a:lnTo>
                    <a:lnTo>
                      <a:pt x="1218" y="205"/>
                    </a:lnTo>
                    <a:lnTo>
                      <a:pt x="1222" y="218"/>
                    </a:lnTo>
                    <a:lnTo>
                      <a:pt x="1226" y="222"/>
                    </a:lnTo>
                    <a:lnTo>
                      <a:pt x="1231" y="226"/>
                    </a:lnTo>
                    <a:lnTo>
                      <a:pt x="1235" y="235"/>
                    </a:lnTo>
                    <a:lnTo>
                      <a:pt x="1235" y="248"/>
                    </a:lnTo>
                    <a:lnTo>
                      <a:pt x="1235" y="253"/>
                    </a:lnTo>
                    <a:lnTo>
                      <a:pt x="1235" y="261"/>
                    </a:lnTo>
                    <a:lnTo>
                      <a:pt x="1235" y="266"/>
                    </a:lnTo>
                    <a:lnTo>
                      <a:pt x="1226" y="279"/>
                    </a:lnTo>
                    <a:lnTo>
                      <a:pt x="1226" y="283"/>
                    </a:lnTo>
                    <a:lnTo>
                      <a:pt x="1222" y="283"/>
                    </a:lnTo>
                    <a:lnTo>
                      <a:pt x="1226" y="292"/>
                    </a:lnTo>
                    <a:lnTo>
                      <a:pt x="1226" y="296"/>
                    </a:lnTo>
                    <a:lnTo>
                      <a:pt x="1226" y="300"/>
                    </a:lnTo>
                    <a:lnTo>
                      <a:pt x="1226" y="309"/>
                    </a:lnTo>
                    <a:lnTo>
                      <a:pt x="1222" y="313"/>
                    </a:lnTo>
                    <a:lnTo>
                      <a:pt x="1213" y="318"/>
                    </a:lnTo>
                    <a:lnTo>
                      <a:pt x="1205" y="331"/>
                    </a:lnTo>
                    <a:lnTo>
                      <a:pt x="1200" y="344"/>
                    </a:lnTo>
                    <a:lnTo>
                      <a:pt x="1200" y="348"/>
                    </a:lnTo>
                    <a:lnTo>
                      <a:pt x="1200" y="353"/>
                    </a:lnTo>
                    <a:lnTo>
                      <a:pt x="1205" y="357"/>
                    </a:lnTo>
                    <a:lnTo>
                      <a:pt x="1205" y="361"/>
                    </a:lnTo>
                    <a:lnTo>
                      <a:pt x="1209" y="374"/>
                    </a:lnTo>
                    <a:lnTo>
                      <a:pt x="1213" y="374"/>
                    </a:lnTo>
                    <a:lnTo>
                      <a:pt x="1218" y="379"/>
                    </a:lnTo>
                    <a:lnTo>
                      <a:pt x="1222" y="379"/>
                    </a:lnTo>
                    <a:lnTo>
                      <a:pt x="1222" y="383"/>
                    </a:lnTo>
                    <a:lnTo>
                      <a:pt x="1226" y="383"/>
                    </a:lnTo>
                    <a:lnTo>
                      <a:pt x="1226" y="387"/>
                    </a:lnTo>
                    <a:lnTo>
                      <a:pt x="1231" y="387"/>
                    </a:lnTo>
                    <a:lnTo>
                      <a:pt x="1235" y="387"/>
                    </a:lnTo>
                    <a:lnTo>
                      <a:pt x="1239" y="387"/>
                    </a:lnTo>
                    <a:lnTo>
                      <a:pt x="1244" y="387"/>
                    </a:lnTo>
                    <a:lnTo>
                      <a:pt x="1244" y="392"/>
                    </a:lnTo>
                    <a:lnTo>
                      <a:pt x="1244" y="396"/>
                    </a:lnTo>
                    <a:lnTo>
                      <a:pt x="1266" y="396"/>
                    </a:lnTo>
                    <a:lnTo>
                      <a:pt x="1274" y="396"/>
                    </a:lnTo>
                    <a:lnTo>
                      <a:pt x="1279" y="400"/>
                    </a:lnTo>
                    <a:lnTo>
                      <a:pt x="1292" y="405"/>
                    </a:lnTo>
                    <a:lnTo>
                      <a:pt x="1300" y="409"/>
                    </a:lnTo>
                    <a:lnTo>
                      <a:pt x="1309" y="409"/>
                    </a:lnTo>
                    <a:lnTo>
                      <a:pt x="1313" y="409"/>
                    </a:lnTo>
                    <a:lnTo>
                      <a:pt x="1318" y="409"/>
                    </a:lnTo>
                    <a:lnTo>
                      <a:pt x="1326" y="409"/>
                    </a:lnTo>
                    <a:lnTo>
                      <a:pt x="1331" y="413"/>
                    </a:lnTo>
                    <a:lnTo>
                      <a:pt x="1335" y="413"/>
                    </a:lnTo>
                    <a:lnTo>
                      <a:pt x="1339" y="413"/>
                    </a:lnTo>
                    <a:lnTo>
                      <a:pt x="1344" y="413"/>
                    </a:lnTo>
                    <a:lnTo>
                      <a:pt x="1348" y="418"/>
                    </a:lnTo>
                    <a:lnTo>
                      <a:pt x="1352" y="418"/>
                    </a:lnTo>
                    <a:lnTo>
                      <a:pt x="1361" y="422"/>
                    </a:lnTo>
                    <a:lnTo>
                      <a:pt x="1366" y="422"/>
                    </a:lnTo>
                    <a:lnTo>
                      <a:pt x="1370" y="426"/>
                    </a:lnTo>
                    <a:lnTo>
                      <a:pt x="1374" y="426"/>
                    </a:lnTo>
                    <a:lnTo>
                      <a:pt x="1374" y="431"/>
                    </a:lnTo>
                    <a:lnTo>
                      <a:pt x="1379" y="435"/>
                    </a:lnTo>
                    <a:lnTo>
                      <a:pt x="1383" y="435"/>
                    </a:lnTo>
                    <a:lnTo>
                      <a:pt x="1383" y="439"/>
                    </a:lnTo>
                    <a:lnTo>
                      <a:pt x="1387" y="439"/>
                    </a:lnTo>
                    <a:lnTo>
                      <a:pt x="1392" y="444"/>
                    </a:lnTo>
                    <a:lnTo>
                      <a:pt x="1396" y="448"/>
                    </a:lnTo>
                    <a:lnTo>
                      <a:pt x="1400" y="457"/>
                    </a:lnTo>
                    <a:lnTo>
                      <a:pt x="1405" y="457"/>
                    </a:lnTo>
                    <a:lnTo>
                      <a:pt x="1405" y="461"/>
                    </a:lnTo>
                    <a:lnTo>
                      <a:pt x="1409" y="461"/>
                    </a:lnTo>
                    <a:lnTo>
                      <a:pt x="1413" y="466"/>
                    </a:lnTo>
                    <a:lnTo>
                      <a:pt x="1418" y="470"/>
                    </a:lnTo>
                    <a:lnTo>
                      <a:pt x="1422" y="474"/>
                    </a:lnTo>
                    <a:lnTo>
                      <a:pt x="1426" y="474"/>
                    </a:lnTo>
                    <a:lnTo>
                      <a:pt x="1426" y="479"/>
                    </a:lnTo>
                    <a:lnTo>
                      <a:pt x="1426" y="483"/>
                    </a:lnTo>
                    <a:lnTo>
                      <a:pt x="1448" y="492"/>
                    </a:lnTo>
                    <a:lnTo>
                      <a:pt x="1457" y="492"/>
                    </a:lnTo>
                    <a:lnTo>
                      <a:pt x="1461" y="492"/>
                    </a:lnTo>
                    <a:lnTo>
                      <a:pt x="1470" y="492"/>
                    </a:lnTo>
                    <a:lnTo>
                      <a:pt x="1470" y="496"/>
                    </a:lnTo>
                    <a:lnTo>
                      <a:pt x="1466" y="496"/>
                    </a:lnTo>
                    <a:lnTo>
                      <a:pt x="1466" y="500"/>
                    </a:lnTo>
                    <a:lnTo>
                      <a:pt x="1466" y="505"/>
                    </a:lnTo>
                    <a:lnTo>
                      <a:pt x="1461" y="513"/>
                    </a:lnTo>
                    <a:lnTo>
                      <a:pt x="1466" y="518"/>
                    </a:lnTo>
                    <a:lnTo>
                      <a:pt x="1470" y="518"/>
                    </a:lnTo>
                    <a:lnTo>
                      <a:pt x="1474" y="518"/>
                    </a:lnTo>
                    <a:lnTo>
                      <a:pt x="1479" y="531"/>
                    </a:lnTo>
                    <a:lnTo>
                      <a:pt x="1479" y="535"/>
                    </a:lnTo>
                    <a:lnTo>
                      <a:pt x="1479" y="539"/>
                    </a:lnTo>
                    <a:lnTo>
                      <a:pt x="1479" y="544"/>
                    </a:lnTo>
                    <a:lnTo>
                      <a:pt x="1483" y="553"/>
                    </a:lnTo>
                    <a:lnTo>
                      <a:pt x="1483" y="557"/>
                    </a:lnTo>
                    <a:lnTo>
                      <a:pt x="1487" y="561"/>
                    </a:lnTo>
                    <a:lnTo>
                      <a:pt x="1487" y="566"/>
                    </a:lnTo>
                    <a:lnTo>
                      <a:pt x="1487" y="570"/>
                    </a:lnTo>
                    <a:lnTo>
                      <a:pt x="1492" y="570"/>
                    </a:lnTo>
                    <a:lnTo>
                      <a:pt x="1487" y="574"/>
                    </a:lnTo>
                    <a:lnTo>
                      <a:pt x="1487" y="579"/>
                    </a:lnTo>
                    <a:lnTo>
                      <a:pt x="1487" y="583"/>
                    </a:lnTo>
                    <a:lnTo>
                      <a:pt x="1492" y="587"/>
                    </a:lnTo>
                    <a:lnTo>
                      <a:pt x="1505" y="600"/>
                    </a:lnTo>
                    <a:lnTo>
                      <a:pt x="1518" y="618"/>
                    </a:lnTo>
                    <a:lnTo>
                      <a:pt x="1518" y="631"/>
                    </a:lnTo>
                    <a:lnTo>
                      <a:pt x="1513" y="635"/>
                    </a:lnTo>
                    <a:lnTo>
                      <a:pt x="1513" y="644"/>
                    </a:lnTo>
                    <a:lnTo>
                      <a:pt x="1505" y="653"/>
                    </a:lnTo>
                    <a:lnTo>
                      <a:pt x="1505" y="657"/>
                    </a:lnTo>
                    <a:lnTo>
                      <a:pt x="1505" y="661"/>
                    </a:lnTo>
                    <a:lnTo>
                      <a:pt x="1505" y="666"/>
                    </a:lnTo>
                    <a:lnTo>
                      <a:pt x="1509" y="666"/>
                    </a:lnTo>
                    <a:lnTo>
                      <a:pt x="1509" y="670"/>
                    </a:lnTo>
                    <a:lnTo>
                      <a:pt x="1509" y="674"/>
                    </a:lnTo>
                    <a:lnTo>
                      <a:pt x="1500" y="687"/>
                    </a:lnTo>
                    <a:lnTo>
                      <a:pt x="1496" y="687"/>
                    </a:lnTo>
                    <a:lnTo>
                      <a:pt x="1492" y="692"/>
                    </a:lnTo>
                    <a:lnTo>
                      <a:pt x="1487" y="692"/>
                    </a:lnTo>
                    <a:lnTo>
                      <a:pt x="1479" y="692"/>
                    </a:lnTo>
                    <a:lnTo>
                      <a:pt x="1466" y="696"/>
                    </a:lnTo>
                    <a:lnTo>
                      <a:pt x="1461" y="696"/>
                    </a:lnTo>
                    <a:lnTo>
                      <a:pt x="1457" y="696"/>
                    </a:lnTo>
                    <a:lnTo>
                      <a:pt x="1452" y="696"/>
                    </a:lnTo>
                    <a:lnTo>
                      <a:pt x="1448" y="696"/>
                    </a:lnTo>
                    <a:lnTo>
                      <a:pt x="1439" y="700"/>
                    </a:lnTo>
                    <a:lnTo>
                      <a:pt x="1439" y="705"/>
                    </a:lnTo>
                    <a:lnTo>
                      <a:pt x="1435" y="705"/>
                    </a:lnTo>
                    <a:lnTo>
                      <a:pt x="1431" y="705"/>
                    </a:lnTo>
                    <a:lnTo>
                      <a:pt x="1422" y="705"/>
                    </a:lnTo>
                    <a:lnTo>
                      <a:pt x="1422" y="709"/>
                    </a:lnTo>
                    <a:lnTo>
                      <a:pt x="1418" y="709"/>
                    </a:lnTo>
                    <a:lnTo>
                      <a:pt x="1400" y="718"/>
                    </a:lnTo>
                    <a:lnTo>
                      <a:pt x="1396" y="718"/>
                    </a:lnTo>
                    <a:lnTo>
                      <a:pt x="1392" y="722"/>
                    </a:lnTo>
                    <a:lnTo>
                      <a:pt x="1387" y="726"/>
                    </a:lnTo>
                    <a:lnTo>
                      <a:pt x="1383" y="731"/>
                    </a:lnTo>
                    <a:lnTo>
                      <a:pt x="1383" y="735"/>
                    </a:lnTo>
                    <a:lnTo>
                      <a:pt x="1379" y="739"/>
                    </a:lnTo>
                    <a:lnTo>
                      <a:pt x="1370" y="744"/>
                    </a:lnTo>
                    <a:lnTo>
                      <a:pt x="1366" y="744"/>
                    </a:lnTo>
                    <a:lnTo>
                      <a:pt x="1366" y="748"/>
                    </a:lnTo>
                    <a:lnTo>
                      <a:pt x="1344" y="757"/>
                    </a:lnTo>
                    <a:lnTo>
                      <a:pt x="1339" y="757"/>
                    </a:lnTo>
                    <a:lnTo>
                      <a:pt x="1335" y="757"/>
                    </a:lnTo>
                    <a:lnTo>
                      <a:pt x="1326" y="761"/>
                    </a:lnTo>
                    <a:lnTo>
                      <a:pt x="1322" y="761"/>
                    </a:lnTo>
                    <a:lnTo>
                      <a:pt x="1318" y="766"/>
                    </a:lnTo>
                    <a:lnTo>
                      <a:pt x="1318" y="770"/>
                    </a:lnTo>
                    <a:lnTo>
                      <a:pt x="1313" y="770"/>
                    </a:lnTo>
                    <a:lnTo>
                      <a:pt x="1313" y="779"/>
                    </a:lnTo>
                    <a:lnTo>
                      <a:pt x="1313" y="783"/>
                    </a:lnTo>
                    <a:lnTo>
                      <a:pt x="1309" y="792"/>
                    </a:lnTo>
                    <a:lnTo>
                      <a:pt x="1309" y="796"/>
                    </a:lnTo>
                    <a:lnTo>
                      <a:pt x="1313" y="805"/>
                    </a:lnTo>
                    <a:lnTo>
                      <a:pt x="1313" y="809"/>
                    </a:lnTo>
                    <a:lnTo>
                      <a:pt x="1313" y="826"/>
                    </a:lnTo>
                    <a:lnTo>
                      <a:pt x="1313" y="835"/>
                    </a:lnTo>
                    <a:lnTo>
                      <a:pt x="1313" y="839"/>
                    </a:lnTo>
                    <a:lnTo>
                      <a:pt x="1318" y="848"/>
                    </a:lnTo>
                    <a:lnTo>
                      <a:pt x="1318" y="861"/>
                    </a:lnTo>
                    <a:lnTo>
                      <a:pt x="1318" y="870"/>
                    </a:lnTo>
                    <a:lnTo>
                      <a:pt x="1318" y="874"/>
                    </a:lnTo>
                    <a:lnTo>
                      <a:pt x="1313" y="879"/>
                    </a:lnTo>
                    <a:lnTo>
                      <a:pt x="1313" y="883"/>
                    </a:lnTo>
                    <a:lnTo>
                      <a:pt x="1313" y="887"/>
                    </a:lnTo>
                    <a:lnTo>
                      <a:pt x="1313" y="892"/>
                    </a:lnTo>
                    <a:lnTo>
                      <a:pt x="1318" y="896"/>
                    </a:lnTo>
                    <a:lnTo>
                      <a:pt x="1318" y="900"/>
                    </a:lnTo>
                    <a:lnTo>
                      <a:pt x="1322" y="905"/>
                    </a:lnTo>
                    <a:lnTo>
                      <a:pt x="1318" y="905"/>
                    </a:lnTo>
                    <a:lnTo>
                      <a:pt x="1313" y="905"/>
                    </a:lnTo>
                    <a:lnTo>
                      <a:pt x="1309" y="905"/>
                    </a:lnTo>
                    <a:lnTo>
                      <a:pt x="1305" y="905"/>
                    </a:lnTo>
                    <a:lnTo>
                      <a:pt x="1300" y="905"/>
                    </a:lnTo>
                    <a:lnTo>
                      <a:pt x="1296" y="905"/>
                    </a:lnTo>
                    <a:lnTo>
                      <a:pt x="1292" y="900"/>
                    </a:lnTo>
                    <a:lnTo>
                      <a:pt x="1287" y="900"/>
                    </a:lnTo>
                    <a:lnTo>
                      <a:pt x="1283" y="900"/>
                    </a:lnTo>
                    <a:lnTo>
                      <a:pt x="1279" y="900"/>
                    </a:lnTo>
                    <a:lnTo>
                      <a:pt x="1279" y="905"/>
                    </a:lnTo>
                    <a:lnTo>
                      <a:pt x="1279" y="909"/>
                    </a:lnTo>
                    <a:lnTo>
                      <a:pt x="1274" y="909"/>
                    </a:lnTo>
                    <a:lnTo>
                      <a:pt x="1270" y="909"/>
                    </a:lnTo>
                    <a:lnTo>
                      <a:pt x="1266" y="909"/>
                    </a:lnTo>
                    <a:lnTo>
                      <a:pt x="1261" y="909"/>
                    </a:lnTo>
                    <a:lnTo>
                      <a:pt x="1257" y="909"/>
                    </a:lnTo>
                    <a:lnTo>
                      <a:pt x="1252" y="909"/>
                    </a:lnTo>
                    <a:lnTo>
                      <a:pt x="1248" y="909"/>
                    </a:lnTo>
                    <a:lnTo>
                      <a:pt x="1239" y="913"/>
                    </a:lnTo>
                    <a:lnTo>
                      <a:pt x="1231" y="913"/>
                    </a:lnTo>
                    <a:lnTo>
                      <a:pt x="1226" y="913"/>
                    </a:lnTo>
                    <a:lnTo>
                      <a:pt x="1222" y="913"/>
                    </a:lnTo>
                    <a:lnTo>
                      <a:pt x="1218" y="913"/>
                    </a:lnTo>
                    <a:lnTo>
                      <a:pt x="1213" y="913"/>
                    </a:lnTo>
                    <a:lnTo>
                      <a:pt x="1209" y="918"/>
                    </a:lnTo>
                    <a:lnTo>
                      <a:pt x="1205" y="918"/>
                    </a:lnTo>
                    <a:lnTo>
                      <a:pt x="1200" y="918"/>
                    </a:lnTo>
                    <a:lnTo>
                      <a:pt x="1183" y="922"/>
                    </a:lnTo>
                    <a:lnTo>
                      <a:pt x="1179" y="922"/>
                    </a:lnTo>
                    <a:lnTo>
                      <a:pt x="1170" y="926"/>
                    </a:lnTo>
                    <a:lnTo>
                      <a:pt x="1165" y="926"/>
                    </a:lnTo>
                    <a:lnTo>
                      <a:pt x="1161" y="922"/>
                    </a:lnTo>
                    <a:lnTo>
                      <a:pt x="1157" y="922"/>
                    </a:lnTo>
                    <a:lnTo>
                      <a:pt x="1152" y="926"/>
                    </a:lnTo>
                    <a:lnTo>
                      <a:pt x="1148" y="926"/>
                    </a:lnTo>
                    <a:lnTo>
                      <a:pt x="1144" y="926"/>
                    </a:lnTo>
                    <a:lnTo>
                      <a:pt x="1131" y="931"/>
                    </a:lnTo>
                    <a:lnTo>
                      <a:pt x="1126" y="931"/>
                    </a:lnTo>
                    <a:lnTo>
                      <a:pt x="1122" y="931"/>
                    </a:lnTo>
                    <a:lnTo>
                      <a:pt x="1113" y="926"/>
                    </a:lnTo>
                    <a:lnTo>
                      <a:pt x="1105" y="926"/>
                    </a:lnTo>
                    <a:lnTo>
                      <a:pt x="1100" y="926"/>
                    </a:lnTo>
                    <a:lnTo>
                      <a:pt x="1092" y="931"/>
                    </a:lnTo>
                    <a:lnTo>
                      <a:pt x="1087" y="935"/>
                    </a:lnTo>
                    <a:lnTo>
                      <a:pt x="1083" y="939"/>
                    </a:lnTo>
                    <a:lnTo>
                      <a:pt x="1074" y="939"/>
                    </a:lnTo>
                    <a:lnTo>
                      <a:pt x="1070" y="944"/>
                    </a:lnTo>
                    <a:lnTo>
                      <a:pt x="1065" y="944"/>
                    </a:lnTo>
                    <a:lnTo>
                      <a:pt x="1061" y="944"/>
                    </a:lnTo>
                    <a:lnTo>
                      <a:pt x="1061" y="948"/>
                    </a:lnTo>
                    <a:lnTo>
                      <a:pt x="1061" y="953"/>
                    </a:lnTo>
                    <a:lnTo>
                      <a:pt x="1065" y="95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2" name="Freeform 31">
                <a:extLst>
                  <a:ext uri="{FF2B5EF4-FFF2-40B4-BE49-F238E27FC236}">
                    <a16:creationId xmlns:a16="http://schemas.microsoft.com/office/drawing/2014/main" id="{A482ECB2-D6A9-0465-8CC1-C8BB07888E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8426" y="2831430"/>
                <a:ext cx="1750786" cy="1490662"/>
              </a:xfrm>
              <a:custGeom>
                <a:avLst/>
                <a:gdLst>
                  <a:gd name="T0" fmla="*/ 430 w 1009"/>
                  <a:gd name="T1" fmla="*/ 391 h 900"/>
                  <a:gd name="T2" fmla="*/ 396 w 1009"/>
                  <a:gd name="T3" fmla="*/ 352 h 900"/>
                  <a:gd name="T4" fmla="*/ 335 w 1009"/>
                  <a:gd name="T5" fmla="*/ 326 h 900"/>
                  <a:gd name="T6" fmla="*/ 287 w 1009"/>
                  <a:gd name="T7" fmla="*/ 317 h 900"/>
                  <a:gd name="T8" fmla="*/ 217 w 1009"/>
                  <a:gd name="T9" fmla="*/ 313 h 900"/>
                  <a:gd name="T10" fmla="*/ 130 w 1009"/>
                  <a:gd name="T11" fmla="*/ 317 h 900"/>
                  <a:gd name="T12" fmla="*/ 39 w 1009"/>
                  <a:gd name="T13" fmla="*/ 278 h 900"/>
                  <a:gd name="T14" fmla="*/ 9 w 1009"/>
                  <a:gd name="T15" fmla="*/ 243 h 900"/>
                  <a:gd name="T16" fmla="*/ 4 w 1009"/>
                  <a:gd name="T17" fmla="*/ 139 h 900"/>
                  <a:gd name="T18" fmla="*/ 74 w 1009"/>
                  <a:gd name="T19" fmla="*/ 100 h 900"/>
                  <a:gd name="T20" fmla="*/ 143 w 1009"/>
                  <a:gd name="T21" fmla="*/ 65 h 900"/>
                  <a:gd name="T22" fmla="*/ 196 w 1009"/>
                  <a:gd name="T23" fmla="*/ 30 h 900"/>
                  <a:gd name="T24" fmla="*/ 265 w 1009"/>
                  <a:gd name="T25" fmla="*/ 17 h 900"/>
                  <a:gd name="T26" fmla="*/ 274 w 1009"/>
                  <a:gd name="T27" fmla="*/ 78 h 900"/>
                  <a:gd name="T28" fmla="*/ 278 w 1009"/>
                  <a:gd name="T29" fmla="*/ 152 h 900"/>
                  <a:gd name="T30" fmla="*/ 313 w 1009"/>
                  <a:gd name="T31" fmla="*/ 195 h 900"/>
                  <a:gd name="T32" fmla="*/ 374 w 1009"/>
                  <a:gd name="T33" fmla="*/ 178 h 900"/>
                  <a:gd name="T34" fmla="*/ 430 w 1009"/>
                  <a:gd name="T35" fmla="*/ 178 h 900"/>
                  <a:gd name="T36" fmla="*/ 400 w 1009"/>
                  <a:gd name="T37" fmla="*/ 252 h 900"/>
                  <a:gd name="T38" fmla="*/ 430 w 1009"/>
                  <a:gd name="T39" fmla="*/ 282 h 900"/>
                  <a:gd name="T40" fmla="*/ 470 w 1009"/>
                  <a:gd name="T41" fmla="*/ 300 h 900"/>
                  <a:gd name="T42" fmla="*/ 491 w 1009"/>
                  <a:gd name="T43" fmla="*/ 343 h 900"/>
                  <a:gd name="T44" fmla="*/ 552 w 1009"/>
                  <a:gd name="T45" fmla="*/ 335 h 900"/>
                  <a:gd name="T46" fmla="*/ 631 w 1009"/>
                  <a:gd name="T47" fmla="*/ 326 h 900"/>
                  <a:gd name="T48" fmla="*/ 687 w 1009"/>
                  <a:gd name="T49" fmla="*/ 308 h 900"/>
                  <a:gd name="T50" fmla="*/ 687 w 1009"/>
                  <a:gd name="T51" fmla="*/ 356 h 900"/>
                  <a:gd name="T52" fmla="*/ 648 w 1009"/>
                  <a:gd name="T53" fmla="*/ 408 h 900"/>
                  <a:gd name="T54" fmla="*/ 678 w 1009"/>
                  <a:gd name="T55" fmla="*/ 465 h 900"/>
                  <a:gd name="T56" fmla="*/ 726 w 1009"/>
                  <a:gd name="T57" fmla="*/ 491 h 900"/>
                  <a:gd name="T58" fmla="*/ 770 w 1009"/>
                  <a:gd name="T59" fmla="*/ 539 h 900"/>
                  <a:gd name="T60" fmla="*/ 778 w 1009"/>
                  <a:gd name="T61" fmla="*/ 600 h 900"/>
                  <a:gd name="T62" fmla="*/ 813 w 1009"/>
                  <a:gd name="T63" fmla="*/ 656 h 900"/>
                  <a:gd name="T64" fmla="*/ 852 w 1009"/>
                  <a:gd name="T65" fmla="*/ 630 h 900"/>
                  <a:gd name="T66" fmla="*/ 878 w 1009"/>
                  <a:gd name="T67" fmla="*/ 587 h 900"/>
                  <a:gd name="T68" fmla="*/ 865 w 1009"/>
                  <a:gd name="T69" fmla="*/ 500 h 900"/>
                  <a:gd name="T70" fmla="*/ 909 w 1009"/>
                  <a:gd name="T71" fmla="*/ 521 h 900"/>
                  <a:gd name="T72" fmla="*/ 987 w 1009"/>
                  <a:gd name="T73" fmla="*/ 561 h 900"/>
                  <a:gd name="T74" fmla="*/ 996 w 1009"/>
                  <a:gd name="T75" fmla="*/ 626 h 900"/>
                  <a:gd name="T76" fmla="*/ 970 w 1009"/>
                  <a:gd name="T77" fmla="*/ 665 h 900"/>
                  <a:gd name="T78" fmla="*/ 935 w 1009"/>
                  <a:gd name="T79" fmla="*/ 691 h 900"/>
                  <a:gd name="T80" fmla="*/ 861 w 1009"/>
                  <a:gd name="T81" fmla="*/ 704 h 900"/>
                  <a:gd name="T82" fmla="*/ 861 w 1009"/>
                  <a:gd name="T83" fmla="*/ 735 h 900"/>
                  <a:gd name="T84" fmla="*/ 861 w 1009"/>
                  <a:gd name="T85" fmla="*/ 804 h 900"/>
                  <a:gd name="T86" fmla="*/ 813 w 1009"/>
                  <a:gd name="T87" fmla="*/ 821 h 900"/>
                  <a:gd name="T88" fmla="*/ 813 w 1009"/>
                  <a:gd name="T89" fmla="*/ 878 h 900"/>
                  <a:gd name="T90" fmla="*/ 761 w 1009"/>
                  <a:gd name="T91" fmla="*/ 900 h 900"/>
                  <a:gd name="T92" fmla="*/ 704 w 1009"/>
                  <a:gd name="T93" fmla="*/ 882 h 900"/>
                  <a:gd name="T94" fmla="*/ 691 w 1009"/>
                  <a:gd name="T95" fmla="*/ 813 h 900"/>
                  <a:gd name="T96" fmla="*/ 635 w 1009"/>
                  <a:gd name="T97" fmla="*/ 800 h 900"/>
                  <a:gd name="T98" fmla="*/ 587 w 1009"/>
                  <a:gd name="T99" fmla="*/ 765 h 900"/>
                  <a:gd name="T100" fmla="*/ 557 w 1009"/>
                  <a:gd name="T101" fmla="*/ 804 h 900"/>
                  <a:gd name="T102" fmla="*/ 522 w 1009"/>
                  <a:gd name="T103" fmla="*/ 848 h 900"/>
                  <a:gd name="T104" fmla="*/ 500 w 1009"/>
                  <a:gd name="T105" fmla="*/ 769 h 900"/>
                  <a:gd name="T106" fmla="*/ 465 w 1009"/>
                  <a:gd name="T107" fmla="*/ 735 h 900"/>
                  <a:gd name="T108" fmla="*/ 522 w 1009"/>
                  <a:gd name="T109" fmla="*/ 761 h 900"/>
                  <a:gd name="T110" fmla="*/ 535 w 1009"/>
                  <a:gd name="T111" fmla="*/ 695 h 900"/>
                  <a:gd name="T112" fmla="*/ 570 w 1009"/>
                  <a:gd name="T113" fmla="*/ 648 h 900"/>
                  <a:gd name="T114" fmla="*/ 596 w 1009"/>
                  <a:gd name="T115" fmla="*/ 648 h 900"/>
                  <a:gd name="T116" fmla="*/ 609 w 1009"/>
                  <a:gd name="T117" fmla="*/ 582 h 900"/>
                  <a:gd name="T118" fmla="*/ 591 w 1009"/>
                  <a:gd name="T119" fmla="*/ 539 h 900"/>
                  <a:gd name="T120" fmla="*/ 557 w 1009"/>
                  <a:gd name="T121" fmla="*/ 469 h 900"/>
                  <a:gd name="T122" fmla="*/ 517 w 1009"/>
                  <a:gd name="T123" fmla="*/ 452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09" h="900">
                    <a:moveTo>
                      <a:pt x="470" y="413"/>
                    </a:moveTo>
                    <a:lnTo>
                      <a:pt x="465" y="413"/>
                    </a:lnTo>
                    <a:lnTo>
                      <a:pt x="465" y="408"/>
                    </a:lnTo>
                    <a:lnTo>
                      <a:pt x="461" y="408"/>
                    </a:lnTo>
                    <a:lnTo>
                      <a:pt x="457" y="408"/>
                    </a:lnTo>
                    <a:lnTo>
                      <a:pt x="452" y="408"/>
                    </a:lnTo>
                    <a:lnTo>
                      <a:pt x="452" y="404"/>
                    </a:lnTo>
                    <a:lnTo>
                      <a:pt x="448" y="404"/>
                    </a:lnTo>
                    <a:lnTo>
                      <a:pt x="444" y="404"/>
                    </a:lnTo>
                    <a:lnTo>
                      <a:pt x="439" y="400"/>
                    </a:lnTo>
                    <a:lnTo>
                      <a:pt x="435" y="400"/>
                    </a:lnTo>
                    <a:lnTo>
                      <a:pt x="435" y="395"/>
                    </a:lnTo>
                    <a:lnTo>
                      <a:pt x="430" y="391"/>
                    </a:lnTo>
                    <a:lnTo>
                      <a:pt x="426" y="391"/>
                    </a:lnTo>
                    <a:lnTo>
                      <a:pt x="426" y="387"/>
                    </a:lnTo>
                    <a:lnTo>
                      <a:pt x="422" y="382"/>
                    </a:lnTo>
                    <a:lnTo>
                      <a:pt x="417" y="382"/>
                    </a:lnTo>
                    <a:lnTo>
                      <a:pt x="417" y="378"/>
                    </a:lnTo>
                    <a:lnTo>
                      <a:pt x="417" y="374"/>
                    </a:lnTo>
                    <a:lnTo>
                      <a:pt x="417" y="369"/>
                    </a:lnTo>
                    <a:lnTo>
                      <a:pt x="417" y="361"/>
                    </a:lnTo>
                    <a:lnTo>
                      <a:pt x="413" y="348"/>
                    </a:lnTo>
                    <a:lnTo>
                      <a:pt x="413" y="343"/>
                    </a:lnTo>
                    <a:lnTo>
                      <a:pt x="409" y="343"/>
                    </a:lnTo>
                    <a:lnTo>
                      <a:pt x="404" y="343"/>
                    </a:lnTo>
                    <a:lnTo>
                      <a:pt x="396" y="352"/>
                    </a:lnTo>
                    <a:lnTo>
                      <a:pt x="387" y="356"/>
                    </a:lnTo>
                    <a:lnTo>
                      <a:pt x="383" y="356"/>
                    </a:lnTo>
                    <a:lnTo>
                      <a:pt x="378" y="356"/>
                    </a:lnTo>
                    <a:lnTo>
                      <a:pt x="374" y="356"/>
                    </a:lnTo>
                    <a:lnTo>
                      <a:pt x="370" y="352"/>
                    </a:lnTo>
                    <a:lnTo>
                      <a:pt x="365" y="348"/>
                    </a:lnTo>
                    <a:lnTo>
                      <a:pt x="361" y="339"/>
                    </a:lnTo>
                    <a:lnTo>
                      <a:pt x="357" y="339"/>
                    </a:lnTo>
                    <a:lnTo>
                      <a:pt x="352" y="335"/>
                    </a:lnTo>
                    <a:lnTo>
                      <a:pt x="348" y="335"/>
                    </a:lnTo>
                    <a:lnTo>
                      <a:pt x="344" y="335"/>
                    </a:lnTo>
                    <a:lnTo>
                      <a:pt x="344" y="330"/>
                    </a:lnTo>
                    <a:lnTo>
                      <a:pt x="335" y="326"/>
                    </a:lnTo>
                    <a:lnTo>
                      <a:pt x="330" y="326"/>
                    </a:lnTo>
                    <a:lnTo>
                      <a:pt x="326" y="326"/>
                    </a:lnTo>
                    <a:lnTo>
                      <a:pt x="326" y="322"/>
                    </a:lnTo>
                    <a:lnTo>
                      <a:pt x="322" y="322"/>
                    </a:lnTo>
                    <a:lnTo>
                      <a:pt x="322" y="317"/>
                    </a:lnTo>
                    <a:lnTo>
                      <a:pt x="317" y="313"/>
                    </a:lnTo>
                    <a:lnTo>
                      <a:pt x="313" y="313"/>
                    </a:lnTo>
                    <a:lnTo>
                      <a:pt x="309" y="313"/>
                    </a:lnTo>
                    <a:lnTo>
                      <a:pt x="304" y="308"/>
                    </a:lnTo>
                    <a:lnTo>
                      <a:pt x="300" y="308"/>
                    </a:lnTo>
                    <a:lnTo>
                      <a:pt x="296" y="308"/>
                    </a:lnTo>
                    <a:lnTo>
                      <a:pt x="291" y="313"/>
                    </a:lnTo>
                    <a:lnTo>
                      <a:pt x="287" y="317"/>
                    </a:lnTo>
                    <a:lnTo>
                      <a:pt x="283" y="322"/>
                    </a:lnTo>
                    <a:lnTo>
                      <a:pt x="278" y="322"/>
                    </a:lnTo>
                    <a:lnTo>
                      <a:pt x="274" y="322"/>
                    </a:lnTo>
                    <a:lnTo>
                      <a:pt x="274" y="326"/>
                    </a:lnTo>
                    <a:lnTo>
                      <a:pt x="270" y="326"/>
                    </a:lnTo>
                    <a:lnTo>
                      <a:pt x="270" y="322"/>
                    </a:lnTo>
                    <a:lnTo>
                      <a:pt x="265" y="322"/>
                    </a:lnTo>
                    <a:lnTo>
                      <a:pt x="261" y="322"/>
                    </a:lnTo>
                    <a:lnTo>
                      <a:pt x="252" y="322"/>
                    </a:lnTo>
                    <a:lnTo>
                      <a:pt x="248" y="322"/>
                    </a:lnTo>
                    <a:lnTo>
                      <a:pt x="235" y="317"/>
                    </a:lnTo>
                    <a:lnTo>
                      <a:pt x="222" y="313"/>
                    </a:lnTo>
                    <a:lnTo>
                      <a:pt x="217" y="313"/>
                    </a:lnTo>
                    <a:lnTo>
                      <a:pt x="213" y="317"/>
                    </a:lnTo>
                    <a:lnTo>
                      <a:pt x="209" y="322"/>
                    </a:lnTo>
                    <a:lnTo>
                      <a:pt x="204" y="322"/>
                    </a:lnTo>
                    <a:lnTo>
                      <a:pt x="196" y="326"/>
                    </a:lnTo>
                    <a:lnTo>
                      <a:pt x="187" y="330"/>
                    </a:lnTo>
                    <a:lnTo>
                      <a:pt x="174" y="339"/>
                    </a:lnTo>
                    <a:lnTo>
                      <a:pt x="170" y="339"/>
                    </a:lnTo>
                    <a:lnTo>
                      <a:pt x="157" y="339"/>
                    </a:lnTo>
                    <a:lnTo>
                      <a:pt x="152" y="335"/>
                    </a:lnTo>
                    <a:lnTo>
                      <a:pt x="139" y="330"/>
                    </a:lnTo>
                    <a:lnTo>
                      <a:pt x="135" y="326"/>
                    </a:lnTo>
                    <a:lnTo>
                      <a:pt x="130" y="322"/>
                    </a:lnTo>
                    <a:lnTo>
                      <a:pt x="130" y="317"/>
                    </a:lnTo>
                    <a:lnTo>
                      <a:pt x="117" y="304"/>
                    </a:lnTo>
                    <a:lnTo>
                      <a:pt x="113" y="300"/>
                    </a:lnTo>
                    <a:lnTo>
                      <a:pt x="109" y="300"/>
                    </a:lnTo>
                    <a:lnTo>
                      <a:pt x="104" y="295"/>
                    </a:lnTo>
                    <a:lnTo>
                      <a:pt x="96" y="295"/>
                    </a:lnTo>
                    <a:lnTo>
                      <a:pt x="87" y="295"/>
                    </a:lnTo>
                    <a:lnTo>
                      <a:pt x="83" y="295"/>
                    </a:lnTo>
                    <a:lnTo>
                      <a:pt x="65" y="287"/>
                    </a:lnTo>
                    <a:lnTo>
                      <a:pt x="65" y="282"/>
                    </a:lnTo>
                    <a:lnTo>
                      <a:pt x="61" y="282"/>
                    </a:lnTo>
                    <a:lnTo>
                      <a:pt x="52" y="278"/>
                    </a:lnTo>
                    <a:lnTo>
                      <a:pt x="48" y="278"/>
                    </a:lnTo>
                    <a:lnTo>
                      <a:pt x="39" y="278"/>
                    </a:lnTo>
                    <a:lnTo>
                      <a:pt x="30" y="274"/>
                    </a:lnTo>
                    <a:lnTo>
                      <a:pt x="26" y="274"/>
                    </a:lnTo>
                    <a:lnTo>
                      <a:pt x="17" y="274"/>
                    </a:lnTo>
                    <a:lnTo>
                      <a:pt x="13" y="278"/>
                    </a:lnTo>
                    <a:lnTo>
                      <a:pt x="9" y="274"/>
                    </a:lnTo>
                    <a:lnTo>
                      <a:pt x="13" y="274"/>
                    </a:lnTo>
                    <a:lnTo>
                      <a:pt x="9" y="269"/>
                    </a:lnTo>
                    <a:lnTo>
                      <a:pt x="9" y="265"/>
                    </a:lnTo>
                    <a:lnTo>
                      <a:pt x="4" y="261"/>
                    </a:lnTo>
                    <a:lnTo>
                      <a:pt x="4" y="256"/>
                    </a:lnTo>
                    <a:lnTo>
                      <a:pt x="4" y="252"/>
                    </a:lnTo>
                    <a:lnTo>
                      <a:pt x="4" y="248"/>
                    </a:lnTo>
                    <a:lnTo>
                      <a:pt x="9" y="243"/>
                    </a:lnTo>
                    <a:lnTo>
                      <a:pt x="9" y="239"/>
                    </a:lnTo>
                    <a:lnTo>
                      <a:pt x="9" y="230"/>
                    </a:lnTo>
                    <a:lnTo>
                      <a:pt x="9" y="217"/>
                    </a:lnTo>
                    <a:lnTo>
                      <a:pt x="4" y="208"/>
                    </a:lnTo>
                    <a:lnTo>
                      <a:pt x="4" y="204"/>
                    </a:lnTo>
                    <a:lnTo>
                      <a:pt x="4" y="195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0" y="165"/>
                    </a:lnTo>
                    <a:lnTo>
                      <a:pt x="0" y="161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39"/>
                    </a:lnTo>
                    <a:lnTo>
                      <a:pt x="9" y="139"/>
                    </a:lnTo>
                    <a:lnTo>
                      <a:pt x="9" y="135"/>
                    </a:lnTo>
                    <a:lnTo>
                      <a:pt x="13" y="130"/>
                    </a:lnTo>
                    <a:lnTo>
                      <a:pt x="17" y="130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5" y="126"/>
                    </a:lnTo>
                    <a:lnTo>
                      <a:pt x="57" y="117"/>
                    </a:lnTo>
                    <a:lnTo>
                      <a:pt x="57" y="113"/>
                    </a:lnTo>
                    <a:lnTo>
                      <a:pt x="61" y="113"/>
                    </a:lnTo>
                    <a:lnTo>
                      <a:pt x="70" y="108"/>
                    </a:lnTo>
                    <a:lnTo>
                      <a:pt x="74" y="104"/>
                    </a:lnTo>
                    <a:lnTo>
                      <a:pt x="74" y="100"/>
                    </a:lnTo>
                    <a:lnTo>
                      <a:pt x="78" y="95"/>
                    </a:lnTo>
                    <a:lnTo>
                      <a:pt x="83" y="91"/>
                    </a:lnTo>
                    <a:lnTo>
                      <a:pt x="87" y="87"/>
                    </a:lnTo>
                    <a:lnTo>
                      <a:pt x="91" y="87"/>
                    </a:lnTo>
                    <a:lnTo>
                      <a:pt x="109" y="78"/>
                    </a:lnTo>
                    <a:lnTo>
                      <a:pt x="113" y="78"/>
                    </a:lnTo>
                    <a:lnTo>
                      <a:pt x="113" y="74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69"/>
                    </a:lnTo>
                    <a:lnTo>
                      <a:pt x="139" y="65"/>
                    </a:lnTo>
                    <a:lnTo>
                      <a:pt x="143" y="65"/>
                    </a:lnTo>
                    <a:lnTo>
                      <a:pt x="148" y="65"/>
                    </a:lnTo>
                    <a:lnTo>
                      <a:pt x="152" y="65"/>
                    </a:lnTo>
                    <a:lnTo>
                      <a:pt x="157" y="65"/>
                    </a:lnTo>
                    <a:lnTo>
                      <a:pt x="170" y="61"/>
                    </a:lnTo>
                    <a:lnTo>
                      <a:pt x="178" y="61"/>
                    </a:lnTo>
                    <a:lnTo>
                      <a:pt x="183" y="61"/>
                    </a:lnTo>
                    <a:lnTo>
                      <a:pt x="187" y="56"/>
                    </a:lnTo>
                    <a:lnTo>
                      <a:pt x="191" y="56"/>
                    </a:lnTo>
                    <a:lnTo>
                      <a:pt x="200" y="43"/>
                    </a:lnTo>
                    <a:lnTo>
                      <a:pt x="200" y="39"/>
                    </a:lnTo>
                    <a:lnTo>
                      <a:pt x="200" y="35"/>
                    </a:lnTo>
                    <a:lnTo>
                      <a:pt x="196" y="35"/>
                    </a:lnTo>
                    <a:lnTo>
                      <a:pt x="196" y="30"/>
                    </a:lnTo>
                    <a:lnTo>
                      <a:pt x="196" y="26"/>
                    </a:lnTo>
                    <a:lnTo>
                      <a:pt x="196" y="22"/>
                    </a:lnTo>
                    <a:lnTo>
                      <a:pt x="204" y="13"/>
                    </a:lnTo>
                    <a:lnTo>
                      <a:pt x="204" y="4"/>
                    </a:lnTo>
                    <a:lnTo>
                      <a:pt x="209" y="0"/>
                    </a:lnTo>
                    <a:lnTo>
                      <a:pt x="217" y="0"/>
                    </a:lnTo>
                    <a:lnTo>
                      <a:pt x="230" y="0"/>
                    </a:lnTo>
                    <a:lnTo>
                      <a:pt x="235" y="0"/>
                    </a:lnTo>
                    <a:lnTo>
                      <a:pt x="244" y="0"/>
                    </a:lnTo>
                    <a:lnTo>
                      <a:pt x="248" y="4"/>
                    </a:lnTo>
                    <a:lnTo>
                      <a:pt x="257" y="0"/>
                    </a:lnTo>
                    <a:lnTo>
                      <a:pt x="270" y="4"/>
                    </a:lnTo>
                    <a:lnTo>
                      <a:pt x="265" y="17"/>
                    </a:lnTo>
                    <a:lnTo>
                      <a:pt x="265" y="22"/>
                    </a:lnTo>
                    <a:lnTo>
                      <a:pt x="265" y="26"/>
                    </a:lnTo>
                    <a:lnTo>
                      <a:pt x="270" y="30"/>
                    </a:lnTo>
                    <a:lnTo>
                      <a:pt x="270" y="35"/>
                    </a:lnTo>
                    <a:lnTo>
                      <a:pt x="270" y="39"/>
                    </a:lnTo>
                    <a:lnTo>
                      <a:pt x="265" y="39"/>
                    </a:lnTo>
                    <a:lnTo>
                      <a:pt x="265" y="43"/>
                    </a:lnTo>
                    <a:lnTo>
                      <a:pt x="265" y="48"/>
                    </a:lnTo>
                    <a:lnTo>
                      <a:pt x="270" y="61"/>
                    </a:lnTo>
                    <a:lnTo>
                      <a:pt x="270" y="65"/>
                    </a:lnTo>
                    <a:lnTo>
                      <a:pt x="274" y="69"/>
                    </a:lnTo>
                    <a:lnTo>
                      <a:pt x="274" y="74"/>
                    </a:lnTo>
                    <a:lnTo>
                      <a:pt x="274" y="78"/>
                    </a:lnTo>
                    <a:lnTo>
                      <a:pt x="270" y="78"/>
                    </a:lnTo>
                    <a:lnTo>
                      <a:pt x="270" y="82"/>
                    </a:lnTo>
                    <a:lnTo>
                      <a:pt x="270" y="87"/>
                    </a:lnTo>
                    <a:lnTo>
                      <a:pt x="265" y="91"/>
                    </a:lnTo>
                    <a:lnTo>
                      <a:pt x="265" y="95"/>
                    </a:lnTo>
                    <a:lnTo>
                      <a:pt x="261" y="100"/>
                    </a:lnTo>
                    <a:lnTo>
                      <a:pt x="261" y="104"/>
                    </a:lnTo>
                    <a:lnTo>
                      <a:pt x="261" y="113"/>
                    </a:lnTo>
                    <a:lnTo>
                      <a:pt x="265" y="113"/>
                    </a:lnTo>
                    <a:lnTo>
                      <a:pt x="265" y="126"/>
                    </a:lnTo>
                    <a:lnTo>
                      <a:pt x="270" y="130"/>
                    </a:lnTo>
                    <a:lnTo>
                      <a:pt x="270" y="135"/>
                    </a:lnTo>
                    <a:lnTo>
                      <a:pt x="278" y="152"/>
                    </a:lnTo>
                    <a:lnTo>
                      <a:pt x="278" y="156"/>
                    </a:lnTo>
                    <a:lnTo>
                      <a:pt x="283" y="161"/>
                    </a:lnTo>
                    <a:lnTo>
                      <a:pt x="283" y="165"/>
                    </a:lnTo>
                    <a:lnTo>
                      <a:pt x="287" y="165"/>
                    </a:lnTo>
                    <a:lnTo>
                      <a:pt x="291" y="169"/>
                    </a:lnTo>
                    <a:lnTo>
                      <a:pt x="291" y="174"/>
                    </a:lnTo>
                    <a:lnTo>
                      <a:pt x="296" y="174"/>
                    </a:lnTo>
                    <a:lnTo>
                      <a:pt x="300" y="178"/>
                    </a:lnTo>
                    <a:lnTo>
                      <a:pt x="300" y="182"/>
                    </a:lnTo>
                    <a:lnTo>
                      <a:pt x="304" y="187"/>
                    </a:lnTo>
                    <a:lnTo>
                      <a:pt x="304" y="191"/>
                    </a:lnTo>
                    <a:lnTo>
                      <a:pt x="309" y="195"/>
                    </a:lnTo>
                    <a:lnTo>
                      <a:pt x="313" y="195"/>
                    </a:lnTo>
                    <a:lnTo>
                      <a:pt x="313" y="200"/>
                    </a:lnTo>
                    <a:lnTo>
                      <a:pt x="317" y="200"/>
                    </a:lnTo>
                    <a:lnTo>
                      <a:pt x="322" y="200"/>
                    </a:lnTo>
                    <a:lnTo>
                      <a:pt x="326" y="200"/>
                    </a:lnTo>
                    <a:lnTo>
                      <a:pt x="330" y="200"/>
                    </a:lnTo>
                    <a:lnTo>
                      <a:pt x="335" y="200"/>
                    </a:lnTo>
                    <a:lnTo>
                      <a:pt x="348" y="187"/>
                    </a:lnTo>
                    <a:lnTo>
                      <a:pt x="352" y="182"/>
                    </a:lnTo>
                    <a:lnTo>
                      <a:pt x="357" y="178"/>
                    </a:lnTo>
                    <a:lnTo>
                      <a:pt x="361" y="174"/>
                    </a:lnTo>
                    <a:lnTo>
                      <a:pt x="365" y="178"/>
                    </a:lnTo>
                    <a:lnTo>
                      <a:pt x="370" y="178"/>
                    </a:lnTo>
                    <a:lnTo>
                      <a:pt x="374" y="178"/>
                    </a:lnTo>
                    <a:lnTo>
                      <a:pt x="378" y="182"/>
                    </a:lnTo>
                    <a:lnTo>
                      <a:pt x="383" y="182"/>
                    </a:lnTo>
                    <a:lnTo>
                      <a:pt x="387" y="182"/>
                    </a:lnTo>
                    <a:lnTo>
                      <a:pt x="387" y="178"/>
                    </a:lnTo>
                    <a:lnTo>
                      <a:pt x="396" y="174"/>
                    </a:lnTo>
                    <a:lnTo>
                      <a:pt x="400" y="169"/>
                    </a:lnTo>
                    <a:lnTo>
                      <a:pt x="404" y="169"/>
                    </a:lnTo>
                    <a:lnTo>
                      <a:pt x="409" y="169"/>
                    </a:lnTo>
                    <a:lnTo>
                      <a:pt x="413" y="169"/>
                    </a:lnTo>
                    <a:lnTo>
                      <a:pt x="417" y="169"/>
                    </a:lnTo>
                    <a:lnTo>
                      <a:pt x="422" y="169"/>
                    </a:lnTo>
                    <a:lnTo>
                      <a:pt x="426" y="174"/>
                    </a:lnTo>
                    <a:lnTo>
                      <a:pt x="430" y="178"/>
                    </a:lnTo>
                    <a:lnTo>
                      <a:pt x="439" y="187"/>
                    </a:lnTo>
                    <a:lnTo>
                      <a:pt x="444" y="191"/>
                    </a:lnTo>
                    <a:lnTo>
                      <a:pt x="439" y="195"/>
                    </a:lnTo>
                    <a:lnTo>
                      <a:pt x="439" y="204"/>
                    </a:lnTo>
                    <a:lnTo>
                      <a:pt x="435" y="208"/>
                    </a:lnTo>
                    <a:lnTo>
                      <a:pt x="435" y="213"/>
                    </a:lnTo>
                    <a:lnTo>
                      <a:pt x="430" y="217"/>
                    </a:lnTo>
                    <a:lnTo>
                      <a:pt x="426" y="222"/>
                    </a:lnTo>
                    <a:lnTo>
                      <a:pt x="417" y="235"/>
                    </a:lnTo>
                    <a:lnTo>
                      <a:pt x="413" y="239"/>
                    </a:lnTo>
                    <a:lnTo>
                      <a:pt x="409" y="243"/>
                    </a:lnTo>
                    <a:lnTo>
                      <a:pt x="404" y="248"/>
                    </a:lnTo>
                    <a:lnTo>
                      <a:pt x="400" y="252"/>
                    </a:lnTo>
                    <a:lnTo>
                      <a:pt x="400" y="256"/>
                    </a:lnTo>
                    <a:lnTo>
                      <a:pt x="404" y="261"/>
                    </a:lnTo>
                    <a:lnTo>
                      <a:pt x="409" y="261"/>
                    </a:lnTo>
                    <a:lnTo>
                      <a:pt x="413" y="261"/>
                    </a:lnTo>
                    <a:lnTo>
                      <a:pt x="413" y="265"/>
                    </a:lnTo>
                    <a:lnTo>
                      <a:pt x="417" y="265"/>
                    </a:lnTo>
                    <a:lnTo>
                      <a:pt x="422" y="265"/>
                    </a:lnTo>
                    <a:lnTo>
                      <a:pt x="426" y="265"/>
                    </a:lnTo>
                    <a:lnTo>
                      <a:pt x="430" y="265"/>
                    </a:lnTo>
                    <a:lnTo>
                      <a:pt x="430" y="269"/>
                    </a:lnTo>
                    <a:lnTo>
                      <a:pt x="430" y="274"/>
                    </a:lnTo>
                    <a:lnTo>
                      <a:pt x="430" y="278"/>
                    </a:lnTo>
                    <a:lnTo>
                      <a:pt x="430" y="282"/>
                    </a:lnTo>
                    <a:lnTo>
                      <a:pt x="435" y="282"/>
                    </a:lnTo>
                    <a:lnTo>
                      <a:pt x="439" y="282"/>
                    </a:lnTo>
                    <a:lnTo>
                      <a:pt x="439" y="287"/>
                    </a:lnTo>
                    <a:lnTo>
                      <a:pt x="439" y="291"/>
                    </a:lnTo>
                    <a:lnTo>
                      <a:pt x="439" y="295"/>
                    </a:lnTo>
                    <a:lnTo>
                      <a:pt x="444" y="295"/>
                    </a:lnTo>
                    <a:lnTo>
                      <a:pt x="448" y="295"/>
                    </a:lnTo>
                    <a:lnTo>
                      <a:pt x="448" y="300"/>
                    </a:lnTo>
                    <a:lnTo>
                      <a:pt x="452" y="300"/>
                    </a:lnTo>
                    <a:lnTo>
                      <a:pt x="457" y="300"/>
                    </a:lnTo>
                    <a:lnTo>
                      <a:pt x="461" y="295"/>
                    </a:lnTo>
                    <a:lnTo>
                      <a:pt x="465" y="295"/>
                    </a:lnTo>
                    <a:lnTo>
                      <a:pt x="470" y="300"/>
                    </a:lnTo>
                    <a:lnTo>
                      <a:pt x="474" y="300"/>
                    </a:lnTo>
                    <a:lnTo>
                      <a:pt x="478" y="300"/>
                    </a:lnTo>
                    <a:lnTo>
                      <a:pt x="478" y="304"/>
                    </a:lnTo>
                    <a:lnTo>
                      <a:pt x="478" y="313"/>
                    </a:lnTo>
                    <a:lnTo>
                      <a:pt x="474" y="313"/>
                    </a:lnTo>
                    <a:lnTo>
                      <a:pt x="474" y="317"/>
                    </a:lnTo>
                    <a:lnTo>
                      <a:pt x="474" y="322"/>
                    </a:lnTo>
                    <a:lnTo>
                      <a:pt x="474" y="326"/>
                    </a:lnTo>
                    <a:lnTo>
                      <a:pt x="474" y="330"/>
                    </a:lnTo>
                    <a:lnTo>
                      <a:pt x="478" y="335"/>
                    </a:lnTo>
                    <a:lnTo>
                      <a:pt x="483" y="339"/>
                    </a:lnTo>
                    <a:lnTo>
                      <a:pt x="487" y="343"/>
                    </a:lnTo>
                    <a:lnTo>
                      <a:pt x="491" y="343"/>
                    </a:lnTo>
                    <a:lnTo>
                      <a:pt x="496" y="343"/>
                    </a:lnTo>
                    <a:lnTo>
                      <a:pt x="496" y="339"/>
                    </a:lnTo>
                    <a:lnTo>
                      <a:pt x="504" y="361"/>
                    </a:lnTo>
                    <a:lnTo>
                      <a:pt x="509" y="361"/>
                    </a:lnTo>
                    <a:lnTo>
                      <a:pt x="522" y="365"/>
                    </a:lnTo>
                    <a:lnTo>
                      <a:pt x="544" y="369"/>
                    </a:lnTo>
                    <a:lnTo>
                      <a:pt x="548" y="365"/>
                    </a:lnTo>
                    <a:lnTo>
                      <a:pt x="548" y="361"/>
                    </a:lnTo>
                    <a:lnTo>
                      <a:pt x="548" y="356"/>
                    </a:lnTo>
                    <a:lnTo>
                      <a:pt x="552" y="348"/>
                    </a:lnTo>
                    <a:lnTo>
                      <a:pt x="548" y="343"/>
                    </a:lnTo>
                    <a:lnTo>
                      <a:pt x="552" y="339"/>
                    </a:lnTo>
                    <a:lnTo>
                      <a:pt x="552" y="335"/>
                    </a:lnTo>
                    <a:lnTo>
                      <a:pt x="561" y="330"/>
                    </a:lnTo>
                    <a:lnTo>
                      <a:pt x="570" y="326"/>
                    </a:lnTo>
                    <a:lnTo>
                      <a:pt x="574" y="326"/>
                    </a:lnTo>
                    <a:lnTo>
                      <a:pt x="578" y="326"/>
                    </a:lnTo>
                    <a:lnTo>
                      <a:pt x="583" y="326"/>
                    </a:lnTo>
                    <a:lnTo>
                      <a:pt x="583" y="330"/>
                    </a:lnTo>
                    <a:lnTo>
                      <a:pt x="587" y="330"/>
                    </a:lnTo>
                    <a:lnTo>
                      <a:pt x="591" y="335"/>
                    </a:lnTo>
                    <a:lnTo>
                      <a:pt x="604" y="335"/>
                    </a:lnTo>
                    <a:lnTo>
                      <a:pt x="609" y="335"/>
                    </a:lnTo>
                    <a:lnTo>
                      <a:pt x="613" y="339"/>
                    </a:lnTo>
                    <a:lnTo>
                      <a:pt x="617" y="335"/>
                    </a:lnTo>
                    <a:lnTo>
                      <a:pt x="631" y="326"/>
                    </a:lnTo>
                    <a:lnTo>
                      <a:pt x="635" y="326"/>
                    </a:lnTo>
                    <a:lnTo>
                      <a:pt x="639" y="322"/>
                    </a:lnTo>
                    <a:lnTo>
                      <a:pt x="644" y="317"/>
                    </a:lnTo>
                    <a:lnTo>
                      <a:pt x="652" y="317"/>
                    </a:lnTo>
                    <a:lnTo>
                      <a:pt x="657" y="317"/>
                    </a:lnTo>
                    <a:lnTo>
                      <a:pt x="661" y="317"/>
                    </a:lnTo>
                    <a:lnTo>
                      <a:pt x="665" y="313"/>
                    </a:lnTo>
                    <a:lnTo>
                      <a:pt x="670" y="313"/>
                    </a:lnTo>
                    <a:lnTo>
                      <a:pt x="674" y="313"/>
                    </a:lnTo>
                    <a:lnTo>
                      <a:pt x="674" y="308"/>
                    </a:lnTo>
                    <a:lnTo>
                      <a:pt x="678" y="308"/>
                    </a:lnTo>
                    <a:lnTo>
                      <a:pt x="683" y="308"/>
                    </a:lnTo>
                    <a:lnTo>
                      <a:pt x="687" y="308"/>
                    </a:lnTo>
                    <a:lnTo>
                      <a:pt x="691" y="308"/>
                    </a:lnTo>
                    <a:lnTo>
                      <a:pt x="691" y="313"/>
                    </a:lnTo>
                    <a:lnTo>
                      <a:pt x="696" y="313"/>
                    </a:lnTo>
                    <a:lnTo>
                      <a:pt x="691" y="317"/>
                    </a:lnTo>
                    <a:lnTo>
                      <a:pt x="691" y="322"/>
                    </a:lnTo>
                    <a:lnTo>
                      <a:pt x="691" y="326"/>
                    </a:lnTo>
                    <a:lnTo>
                      <a:pt x="696" y="330"/>
                    </a:lnTo>
                    <a:lnTo>
                      <a:pt x="700" y="335"/>
                    </a:lnTo>
                    <a:lnTo>
                      <a:pt x="700" y="339"/>
                    </a:lnTo>
                    <a:lnTo>
                      <a:pt x="700" y="343"/>
                    </a:lnTo>
                    <a:lnTo>
                      <a:pt x="696" y="352"/>
                    </a:lnTo>
                    <a:lnTo>
                      <a:pt x="691" y="356"/>
                    </a:lnTo>
                    <a:lnTo>
                      <a:pt x="687" y="356"/>
                    </a:lnTo>
                    <a:lnTo>
                      <a:pt x="683" y="356"/>
                    </a:lnTo>
                    <a:lnTo>
                      <a:pt x="683" y="361"/>
                    </a:lnTo>
                    <a:lnTo>
                      <a:pt x="683" y="369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74" y="382"/>
                    </a:lnTo>
                    <a:lnTo>
                      <a:pt x="670" y="387"/>
                    </a:lnTo>
                    <a:lnTo>
                      <a:pt x="665" y="391"/>
                    </a:lnTo>
                    <a:lnTo>
                      <a:pt x="661" y="391"/>
                    </a:lnTo>
                    <a:lnTo>
                      <a:pt x="652" y="395"/>
                    </a:lnTo>
                    <a:lnTo>
                      <a:pt x="644" y="400"/>
                    </a:lnTo>
                    <a:lnTo>
                      <a:pt x="648" y="404"/>
                    </a:lnTo>
                    <a:lnTo>
                      <a:pt x="648" y="408"/>
                    </a:lnTo>
                    <a:lnTo>
                      <a:pt x="652" y="413"/>
                    </a:lnTo>
                    <a:lnTo>
                      <a:pt x="652" y="417"/>
                    </a:lnTo>
                    <a:lnTo>
                      <a:pt x="652" y="421"/>
                    </a:lnTo>
                    <a:lnTo>
                      <a:pt x="648" y="426"/>
                    </a:lnTo>
                    <a:lnTo>
                      <a:pt x="639" y="426"/>
                    </a:lnTo>
                    <a:lnTo>
                      <a:pt x="639" y="435"/>
                    </a:lnTo>
                    <a:lnTo>
                      <a:pt x="644" y="448"/>
                    </a:lnTo>
                    <a:lnTo>
                      <a:pt x="644" y="452"/>
                    </a:lnTo>
                    <a:lnTo>
                      <a:pt x="648" y="456"/>
                    </a:lnTo>
                    <a:lnTo>
                      <a:pt x="657" y="461"/>
                    </a:lnTo>
                    <a:lnTo>
                      <a:pt x="661" y="461"/>
                    </a:lnTo>
                    <a:lnTo>
                      <a:pt x="670" y="461"/>
                    </a:lnTo>
                    <a:lnTo>
                      <a:pt x="678" y="465"/>
                    </a:lnTo>
                    <a:lnTo>
                      <a:pt x="678" y="469"/>
                    </a:lnTo>
                    <a:lnTo>
                      <a:pt x="678" y="474"/>
                    </a:lnTo>
                    <a:lnTo>
                      <a:pt x="678" y="478"/>
                    </a:lnTo>
                    <a:lnTo>
                      <a:pt x="683" y="478"/>
                    </a:lnTo>
                    <a:lnTo>
                      <a:pt x="687" y="478"/>
                    </a:lnTo>
                    <a:lnTo>
                      <a:pt x="691" y="482"/>
                    </a:lnTo>
                    <a:lnTo>
                      <a:pt x="696" y="482"/>
                    </a:lnTo>
                    <a:lnTo>
                      <a:pt x="704" y="482"/>
                    </a:lnTo>
                    <a:lnTo>
                      <a:pt x="709" y="482"/>
                    </a:lnTo>
                    <a:lnTo>
                      <a:pt x="713" y="482"/>
                    </a:lnTo>
                    <a:lnTo>
                      <a:pt x="718" y="482"/>
                    </a:lnTo>
                    <a:lnTo>
                      <a:pt x="726" y="487"/>
                    </a:lnTo>
                    <a:lnTo>
                      <a:pt x="726" y="491"/>
                    </a:lnTo>
                    <a:lnTo>
                      <a:pt x="726" y="495"/>
                    </a:lnTo>
                    <a:lnTo>
                      <a:pt x="726" y="500"/>
                    </a:lnTo>
                    <a:lnTo>
                      <a:pt x="731" y="500"/>
                    </a:lnTo>
                    <a:lnTo>
                      <a:pt x="735" y="500"/>
                    </a:lnTo>
                    <a:lnTo>
                      <a:pt x="744" y="500"/>
                    </a:lnTo>
                    <a:lnTo>
                      <a:pt x="744" y="508"/>
                    </a:lnTo>
                    <a:lnTo>
                      <a:pt x="744" y="513"/>
                    </a:lnTo>
                    <a:lnTo>
                      <a:pt x="748" y="513"/>
                    </a:lnTo>
                    <a:lnTo>
                      <a:pt x="752" y="517"/>
                    </a:lnTo>
                    <a:lnTo>
                      <a:pt x="757" y="521"/>
                    </a:lnTo>
                    <a:lnTo>
                      <a:pt x="765" y="521"/>
                    </a:lnTo>
                    <a:lnTo>
                      <a:pt x="770" y="535"/>
                    </a:lnTo>
                    <a:lnTo>
                      <a:pt x="770" y="539"/>
                    </a:lnTo>
                    <a:lnTo>
                      <a:pt x="765" y="539"/>
                    </a:lnTo>
                    <a:lnTo>
                      <a:pt x="765" y="543"/>
                    </a:lnTo>
                    <a:lnTo>
                      <a:pt x="765" y="548"/>
                    </a:lnTo>
                    <a:lnTo>
                      <a:pt x="770" y="556"/>
                    </a:lnTo>
                    <a:lnTo>
                      <a:pt x="770" y="561"/>
                    </a:lnTo>
                    <a:lnTo>
                      <a:pt x="774" y="569"/>
                    </a:lnTo>
                    <a:lnTo>
                      <a:pt x="778" y="569"/>
                    </a:lnTo>
                    <a:lnTo>
                      <a:pt x="778" y="574"/>
                    </a:lnTo>
                    <a:lnTo>
                      <a:pt x="783" y="578"/>
                    </a:lnTo>
                    <a:lnTo>
                      <a:pt x="783" y="587"/>
                    </a:lnTo>
                    <a:lnTo>
                      <a:pt x="783" y="595"/>
                    </a:lnTo>
                    <a:lnTo>
                      <a:pt x="783" y="600"/>
                    </a:lnTo>
                    <a:lnTo>
                      <a:pt x="778" y="600"/>
                    </a:lnTo>
                    <a:lnTo>
                      <a:pt x="774" y="600"/>
                    </a:lnTo>
                    <a:lnTo>
                      <a:pt x="774" y="604"/>
                    </a:lnTo>
                    <a:lnTo>
                      <a:pt x="774" y="608"/>
                    </a:lnTo>
                    <a:lnTo>
                      <a:pt x="774" y="613"/>
                    </a:lnTo>
                    <a:lnTo>
                      <a:pt x="778" y="617"/>
                    </a:lnTo>
                    <a:lnTo>
                      <a:pt x="783" y="626"/>
                    </a:lnTo>
                    <a:lnTo>
                      <a:pt x="787" y="630"/>
                    </a:lnTo>
                    <a:lnTo>
                      <a:pt x="796" y="630"/>
                    </a:lnTo>
                    <a:lnTo>
                      <a:pt x="809" y="635"/>
                    </a:lnTo>
                    <a:lnTo>
                      <a:pt x="809" y="639"/>
                    </a:lnTo>
                    <a:lnTo>
                      <a:pt x="809" y="643"/>
                    </a:lnTo>
                    <a:lnTo>
                      <a:pt x="809" y="648"/>
                    </a:lnTo>
                    <a:lnTo>
                      <a:pt x="813" y="656"/>
                    </a:lnTo>
                    <a:lnTo>
                      <a:pt x="818" y="656"/>
                    </a:lnTo>
                    <a:lnTo>
                      <a:pt x="822" y="652"/>
                    </a:lnTo>
                    <a:lnTo>
                      <a:pt x="831" y="656"/>
                    </a:lnTo>
                    <a:lnTo>
                      <a:pt x="839" y="661"/>
                    </a:lnTo>
                    <a:lnTo>
                      <a:pt x="839" y="665"/>
                    </a:lnTo>
                    <a:lnTo>
                      <a:pt x="844" y="665"/>
                    </a:lnTo>
                    <a:lnTo>
                      <a:pt x="848" y="665"/>
                    </a:lnTo>
                    <a:lnTo>
                      <a:pt x="852" y="661"/>
                    </a:lnTo>
                    <a:lnTo>
                      <a:pt x="857" y="656"/>
                    </a:lnTo>
                    <a:lnTo>
                      <a:pt x="857" y="652"/>
                    </a:lnTo>
                    <a:lnTo>
                      <a:pt x="852" y="648"/>
                    </a:lnTo>
                    <a:lnTo>
                      <a:pt x="852" y="643"/>
                    </a:lnTo>
                    <a:lnTo>
                      <a:pt x="852" y="630"/>
                    </a:lnTo>
                    <a:lnTo>
                      <a:pt x="857" y="630"/>
                    </a:lnTo>
                    <a:lnTo>
                      <a:pt x="857" y="626"/>
                    </a:lnTo>
                    <a:lnTo>
                      <a:pt x="861" y="630"/>
                    </a:lnTo>
                    <a:lnTo>
                      <a:pt x="870" y="630"/>
                    </a:lnTo>
                    <a:lnTo>
                      <a:pt x="874" y="630"/>
                    </a:lnTo>
                    <a:lnTo>
                      <a:pt x="883" y="626"/>
                    </a:lnTo>
                    <a:lnTo>
                      <a:pt x="887" y="621"/>
                    </a:lnTo>
                    <a:lnTo>
                      <a:pt x="883" y="613"/>
                    </a:lnTo>
                    <a:lnTo>
                      <a:pt x="887" y="608"/>
                    </a:lnTo>
                    <a:lnTo>
                      <a:pt x="887" y="600"/>
                    </a:lnTo>
                    <a:lnTo>
                      <a:pt x="887" y="595"/>
                    </a:lnTo>
                    <a:lnTo>
                      <a:pt x="883" y="591"/>
                    </a:lnTo>
                    <a:lnTo>
                      <a:pt x="878" y="587"/>
                    </a:lnTo>
                    <a:lnTo>
                      <a:pt x="874" y="587"/>
                    </a:lnTo>
                    <a:lnTo>
                      <a:pt x="857" y="582"/>
                    </a:lnTo>
                    <a:lnTo>
                      <a:pt x="857" y="578"/>
                    </a:lnTo>
                    <a:lnTo>
                      <a:pt x="852" y="548"/>
                    </a:lnTo>
                    <a:lnTo>
                      <a:pt x="857" y="543"/>
                    </a:lnTo>
                    <a:lnTo>
                      <a:pt x="861" y="543"/>
                    </a:lnTo>
                    <a:lnTo>
                      <a:pt x="865" y="539"/>
                    </a:lnTo>
                    <a:lnTo>
                      <a:pt x="865" y="535"/>
                    </a:lnTo>
                    <a:lnTo>
                      <a:pt x="861" y="530"/>
                    </a:lnTo>
                    <a:lnTo>
                      <a:pt x="861" y="521"/>
                    </a:lnTo>
                    <a:lnTo>
                      <a:pt x="861" y="513"/>
                    </a:lnTo>
                    <a:lnTo>
                      <a:pt x="865" y="504"/>
                    </a:lnTo>
                    <a:lnTo>
                      <a:pt x="865" y="500"/>
                    </a:lnTo>
                    <a:lnTo>
                      <a:pt x="870" y="500"/>
                    </a:lnTo>
                    <a:lnTo>
                      <a:pt x="874" y="500"/>
                    </a:lnTo>
                    <a:lnTo>
                      <a:pt x="874" y="504"/>
                    </a:lnTo>
                    <a:lnTo>
                      <a:pt x="878" y="504"/>
                    </a:lnTo>
                    <a:lnTo>
                      <a:pt x="883" y="508"/>
                    </a:lnTo>
                    <a:lnTo>
                      <a:pt x="887" y="508"/>
                    </a:lnTo>
                    <a:lnTo>
                      <a:pt x="891" y="508"/>
                    </a:lnTo>
                    <a:lnTo>
                      <a:pt x="896" y="508"/>
                    </a:lnTo>
                    <a:lnTo>
                      <a:pt x="900" y="508"/>
                    </a:lnTo>
                    <a:lnTo>
                      <a:pt x="904" y="508"/>
                    </a:lnTo>
                    <a:lnTo>
                      <a:pt x="909" y="513"/>
                    </a:lnTo>
                    <a:lnTo>
                      <a:pt x="909" y="517"/>
                    </a:lnTo>
                    <a:lnTo>
                      <a:pt x="909" y="521"/>
                    </a:lnTo>
                    <a:lnTo>
                      <a:pt x="909" y="526"/>
                    </a:lnTo>
                    <a:lnTo>
                      <a:pt x="926" y="530"/>
                    </a:lnTo>
                    <a:lnTo>
                      <a:pt x="948" y="535"/>
                    </a:lnTo>
                    <a:lnTo>
                      <a:pt x="952" y="539"/>
                    </a:lnTo>
                    <a:lnTo>
                      <a:pt x="952" y="543"/>
                    </a:lnTo>
                    <a:lnTo>
                      <a:pt x="957" y="543"/>
                    </a:lnTo>
                    <a:lnTo>
                      <a:pt x="961" y="552"/>
                    </a:lnTo>
                    <a:lnTo>
                      <a:pt x="970" y="552"/>
                    </a:lnTo>
                    <a:lnTo>
                      <a:pt x="974" y="552"/>
                    </a:lnTo>
                    <a:lnTo>
                      <a:pt x="983" y="552"/>
                    </a:lnTo>
                    <a:lnTo>
                      <a:pt x="983" y="556"/>
                    </a:lnTo>
                    <a:lnTo>
                      <a:pt x="987" y="556"/>
                    </a:lnTo>
                    <a:lnTo>
                      <a:pt x="987" y="561"/>
                    </a:lnTo>
                    <a:lnTo>
                      <a:pt x="991" y="561"/>
                    </a:lnTo>
                    <a:lnTo>
                      <a:pt x="996" y="561"/>
                    </a:lnTo>
                    <a:lnTo>
                      <a:pt x="1005" y="565"/>
                    </a:lnTo>
                    <a:lnTo>
                      <a:pt x="1009" y="569"/>
                    </a:lnTo>
                    <a:lnTo>
                      <a:pt x="1009" y="591"/>
                    </a:lnTo>
                    <a:lnTo>
                      <a:pt x="1009" y="595"/>
                    </a:lnTo>
                    <a:lnTo>
                      <a:pt x="1009" y="600"/>
                    </a:lnTo>
                    <a:lnTo>
                      <a:pt x="1005" y="604"/>
                    </a:lnTo>
                    <a:lnTo>
                      <a:pt x="996" y="608"/>
                    </a:lnTo>
                    <a:lnTo>
                      <a:pt x="996" y="613"/>
                    </a:lnTo>
                    <a:lnTo>
                      <a:pt x="996" y="617"/>
                    </a:lnTo>
                    <a:lnTo>
                      <a:pt x="1000" y="621"/>
                    </a:lnTo>
                    <a:lnTo>
                      <a:pt x="996" y="626"/>
                    </a:lnTo>
                    <a:lnTo>
                      <a:pt x="1000" y="630"/>
                    </a:lnTo>
                    <a:lnTo>
                      <a:pt x="1000" y="635"/>
                    </a:lnTo>
                    <a:lnTo>
                      <a:pt x="1005" y="635"/>
                    </a:lnTo>
                    <a:lnTo>
                      <a:pt x="1005" y="639"/>
                    </a:lnTo>
                    <a:lnTo>
                      <a:pt x="1005" y="652"/>
                    </a:lnTo>
                    <a:lnTo>
                      <a:pt x="1000" y="661"/>
                    </a:lnTo>
                    <a:lnTo>
                      <a:pt x="1000" y="665"/>
                    </a:lnTo>
                    <a:lnTo>
                      <a:pt x="996" y="665"/>
                    </a:lnTo>
                    <a:lnTo>
                      <a:pt x="991" y="665"/>
                    </a:lnTo>
                    <a:lnTo>
                      <a:pt x="978" y="665"/>
                    </a:lnTo>
                    <a:lnTo>
                      <a:pt x="974" y="661"/>
                    </a:lnTo>
                    <a:lnTo>
                      <a:pt x="974" y="665"/>
                    </a:lnTo>
                    <a:lnTo>
                      <a:pt x="970" y="665"/>
                    </a:lnTo>
                    <a:lnTo>
                      <a:pt x="965" y="665"/>
                    </a:lnTo>
                    <a:lnTo>
                      <a:pt x="961" y="669"/>
                    </a:lnTo>
                    <a:lnTo>
                      <a:pt x="948" y="665"/>
                    </a:lnTo>
                    <a:lnTo>
                      <a:pt x="944" y="665"/>
                    </a:lnTo>
                    <a:lnTo>
                      <a:pt x="939" y="669"/>
                    </a:lnTo>
                    <a:lnTo>
                      <a:pt x="944" y="682"/>
                    </a:lnTo>
                    <a:lnTo>
                      <a:pt x="948" y="682"/>
                    </a:lnTo>
                    <a:lnTo>
                      <a:pt x="948" y="687"/>
                    </a:lnTo>
                    <a:lnTo>
                      <a:pt x="952" y="687"/>
                    </a:lnTo>
                    <a:lnTo>
                      <a:pt x="952" y="691"/>
                    </a:lnTo>
                    <a:lnTo>
                      <a:pt x="944" y="691"/>
                    </a:lnTo>
                    <a:lnTo>
                      <a:pt x="944" y="695"/>
                    </a:lnTo>
                    <a:lnTo>
                      <a:pt x="935" y="691"/>
                    </a:lnTo>
                    <a:lnTo>
                      <a:pt x="922" y="695"/>
                    </a:lnTo>
                    <a:lnTo>
                      <a:pt x="913" y="695"/>
                    </a:lnTo>
                    <a:lnTo>
                      <a:pt x="909" y="700"/>
                    </a:lnTo>
                    <a:lnTo>
                      <a:pt x="904" y="695"/>
                    </a:lnTo>
                    <a:lnTo>
                      <a:pt x="896" y="687"/>
                    </a:lnTo>
                    <a:lnTo>
                      <a:pt x="883" y="682"/>
                    </a:lnTo>
                    <a:lnTo>
                      <a:pt x="878" y="682"/>
                    </a:lnTo>
                    <a:lnTo>
                      <a:pt x="874" y="682"/>
                    </a:lnTo>
                    <a:lnTo>
                      <a:pt x="861" y="682"/>
                    </a:lnTo>
                    <a:lnTo>
                      <a:pt x="857" y="687"/>
                    </a:lnTo>
                    <a:lnTo>
                      <a:pt x="857" y="695"/>
                    </a:lnTo>
                    <a:lnTo>
                      <a:pt x="857" y="700"/>
                    </a:lnTo>
                    <a:lnTo>
                      <a:pt x="861" y="704"/>
                    </a:lnTo>
                    <a:lnTo>
                      <a:pt x="861" y="708"/>
                    </a:lnTo>
                    <a:lnTo>
                      <a:pt x="857" y="713"/>
                    </a:lnTo>
                    <a:lnTo>
                      <a:pt x="857" y="717"/>
                    </a:lnTo>
                    <a:lnTo>
                      <a:pt x="852" y="717"/>
                    </a:lnTo>
                    <a:lnTo>
                      <a:pt x="848" y="721"/>
                    </a:lnTo>
                    <a:lnTo>
                      <a:pt x="848" y="726"/>
                    </a:lnTo>
                    <a:lnTo>
                      <a:pt x="844" y="726"/>
                    </a:lnTo>
                    <a:lnTo>
                      <a:pt x="844" y="730"/>
                    </a:lnTo>
                    <a:lnTo>
                      <a:pt x="848" y="730"/>
                    </a:lnTo>
                    <a:lnTo>
                      <a:pt x="848" y="735"/>
                    </a:lnTo>
                    <a:lnTo>
                      <a:pt x="852" y="735"/>
                    </a:lnTo>
                    <a:lnTo>
                      <a:pt x="857" y="735"/>
                    </a:lnTo>
                    <a:lnTo>
                      <a:pt x="861" y="735"/>
                    </a:lnTo>
                    <a:lnTo>
                      <a:pt x="865" y="739"/>
                    </a:lnTo>
                    <a:lnTo>
                      <a:pt x="870" y="743"/>
                    </a:lnTo>
                    <a:lnTo>
                      <a:pt x="874" y="752"/>
                    </a:lnTo>
                    <a:lnTo>
                      <a:pt x="874" y="756"/>
                    </a:lnTo>
                    <a:lnTo>
                      <a:pt x="870" y="756"/>
                    </a:lnTo>
                    <a:lnTo>
                      <a:pt x="861" y="756"/>
                    </a:lnTo>
                    <a:lnTo>
                      <a:pt x="865" y="761"/>
                    </a:lnTo>
                    <a:lnTo>
                      <a:pt x="865" y="765"/>
                    </a:lnTo>
                    <a:lnTo>
                      <a:pt x="861" y="774"/>
                    </a:lnTo>
                    <a:lnTo>
                      <a:pt x="852" y="782"/>
                    </a:lnTo>
                    <a:lnTo>
                      <a:pt x="852" y="787"/>
                    </a:lnTo>
                    <a:lnTo>
                      <a:pt x="857" y="804"/>
                    </a:lnTo>
                    <a:lnTo>
                      <a:pt x="861" y="804"/>
                    </a:lnTo>
                    <a:lnTo>
                      <a:pt x="861" y="808"/>
                    </a:lnTo>
                    <a:lnTo>
                      <a:pt x="865" y="808"/>
                    </a:lnTo>
                    <a:lnTo>
                      <a:pt x="865" y="813"/>
                    </a:lnTo>
                    <a:lnTo>
                      <a:pt x="861" y="817"/>
                    </a:lnTo>
                    <a:lnTo>
                      <a:pt x="857" y="817"/>
                    </a:lnTo>
                    <a:lnTo>
                      <a:pt x="857" y="813"/>
                    </a:lnTo>
                    <a:lnTo>
                      <a:pt x="852" y="813"/>
                    </a:lnTo>
                    <a:lnTo>
                      <a:pt x="852" y="808"/>
                    </a:lnTo>
                    <a:lnTo>
                      <a:pt x="844" y="813"/>
                    </a:lnTo>
                    <a:lnTo>
                      <a:pt x="839" y="813"/>
                    </a:lnTo>
                    <a:lnTo>
                      <a:pt x="831" y="813"/>
                    </a:lnTo>
                    <a:lnTo>
                      <a:pt x="822" y="813"/>
                    </a:lnTo>
                    <a:lnTo>
                      <a:pt x="813" y="821"/>
                    </a:lnTo>
                    <a:lnTo>
                      <a:pt x="804" y="830"/>
                    </a:lnTo>
                    <a:lnTo>
                      <a:pt x="804" y="835"/>
                    </a:lnTo>
                    <a:lnTo>
                      <a:pt x="804" y="839"/>
                    </a:lnTo>
                    <a:lnTo>
                      <a:pt x="813" y="843"/>
                    </a:lnTo>
                    <a:lnTo>
                      <a:pt x="818" y="848"/>
                    </a:lnTo>
                    <a:lnTo>
                      <a:pt x="818" y="861"/>
                    </a:lnTo>
                    <a:lnTo>
                      <a:pt x="818" y="865"/>
                    </a:lnTo>
                    <a:lnTo>
                      <a:pt x="813" y="869"/>
                    </a:lnTo>
                    <a:lnTo>
                      <a:pt x="809" y="869"/>
                    </a:lnTo>
                    <a:lnTo>
                      <a:pt x="804" y="874"/>
                    </a:lnTo>
                    <a:lnTo>
                      <a:pt x="809" y="874"/>
                    </a:lnTo>
                    <a:lnTo>
                      <a:pt x="809" y="878"/>
                    </a:lnTo>
                    <a:lnTo>
                      <a:pt x="813" y="878"/>
                    </a:lnTo>
                    <a:lnTo>
                      <a:pt x="813" y="882"/>
                    </a:lnTo>
                    <a:lnTo>
                      <a:pt x="809" y="887"/>
                    </a:lnTo>
                    <a:lnTo>
                      <a:pt x="796" y="891"/>
                    </a:lnTo>
                    <a:lnTo>
                      <a:pt x="791" y="891"/>
                    </a:lnTo>
                    <a:lnTo>
                      <a:pt x="791" y="887"/>
                    </a:lnTo>
                    <a:lnTo>
                      <a:pt x="791" y="882"/>
                    </a:lnTo>
                    <a:lnTo>
                      <a:pt x="787" y="869"/>
                    </a:lnTo>
                    <a:lnTo>
                      <a:pt x="783" y="874"/>
                    </a:lnTo>
                    <a:lnTo>
                      <a:pt x="778" y="878"/>
                    </a:lnTo>
                    <a:lnTo>
                      <a:pt x="778" y="882"/>
                    </a:lnTo>
                    <a:lnTo>
                      <a:pt x="783" y="887"/>
                    </a:lnTo>
                    <a:lnTo>
                      <a:pt x="774" y="891"/>
                    </a:lnTo>
                    <a:lnTo>
                      <a:pt x="761" y="900"/>
                    </a:lnTo>
                    <a:lnTo>
                      <a:pt x="757" y="900"/>
                    </a:lnTo>
                    <a:lnTo>
                      <a:pt x="757" y="895"/>
                    </a:lnTo>
                    <a:lnTo>
                      <a:pt x="752" y="895"/>
                    </a:lnTo>
                    <a:lnTo>
                      <a:pt x="748" y="895"/>
                    </a:lnTo>
                    <a:lnTo>
                      <a:pt x="739" y="895"/>
                    </a:lnTo>
                    <a:lnTo>
                      <a:pt x="731" y="895"/>
                    </a:lnTo>
                    <a:lnTo>
                      <a:pt x="726" y="895"/>
                    </a:lnTo>
                    <a:lnTo>
                      <a:pt x="722" y="891"/>
                    </a:lnTo>
                    <a:lnTo>
                      <a:pt x="718" y="891"/>
                    </a:lnTo>
                    <a:lnTo>
                      <a:pt x="713" y="891"/>
                    </a:lnTo>
                    <a:lnTo>
                      <a:pt x="713" y="887"/>
                    </a:lnTo>
                    <a:lnTo>
                      <a:pt x="709" y="882"/>
                    </a:lnTo>
                    <a:lnTo>
                      <a:pt x="704" y="882"/>
                    </a:lnTo>
                    <a:lnTo>
                      <a:pt x="700" y="878"/>
                    </a:lnTo>
                    <a:lnTo>
                      <a:pt x="700" y="874"/>
                    </a:lnTo>
                    <a:lnTo>
                      <a:pt x="700" y="869"/>
                    </a:lnTo>
                    <a:lnTo>
                      <a:pt x="704" y="869"/>
                    </a:lnTo>
                    <a:lnTo>
                      <a:pt x="709" y="865"/>
                    </a:lnTo>
                    <a:lnTo>
                      <a:pt x="709" y="861"/>
                    </a:lnTo>
                    <a:lnTo>
                      <a:pt x="704" y="856"/>
                    </a:lnTo>
                    <a:lnTo>
                      <a:pt x="700" y="852"/>
                    </a:lnTo>
                    <a:lnTo>
                      <a:pt x="700" y="848"/>
                    </a:lnTo>
                    <a:lnTo>
                      <a:pt x="700" y="843"/>
                    </a:lnTo>
                    <a:lnTo>
                      <a:pt x="700" y="839"/>
                    </a:lnTo>
                    <a:lnTo>
                      <a:pt x="696" y="835"/>
                    </a:lnTo>
                    <a:lnTo>
                      <a:pt x="691" y="813"/>
                    </a:lnTo>
                    <a:lnTo>
                      <a:pt x="691" y="808"/>
                    </a:lnTo>
                    <a:lnTo>
                      <a:pt x="687" y="808"/>
                    </a:lnTo>
                    <a:lnTo>
                      <a:pt x="683" y="808"/>
                    </a:lnTo>
                    <a:lnTo>
                      <a:pt x="674" y="804"/>
                    </a:lnTo>
                    <a:lnTo>
                      <a:pt x="670" y="804"/>
                    </a:lnTo>
                    <a:lnTo>
                      <a:pt x="665" y="808"/>
                    </a:lnTo>
                    <a:lnTo>
                      <a:pt x="661" y="804"/>
                    </a:lnTo>
                    <a:lnTo>
                      <a:pt x="648" y="804"/>
                    </a:lnTo>
                    <a:lnTo>
                      <a:pt x="648" y="800"/>
                    </a:lnTo>
                    <a:lnTo>
                      <a:pt x="648" y="795"/>
                    </a:lnTo>
                    <a:lnTo>
                      <a:pt x="644" y="795"/>
                    </a:lnTo>
                    <a:lnTo>
                      <a:pt x="639" y="795"/>
                    </a:lnTo>
                    <a:lnTo>
                      <a:pt x="635" y="800"/>
                    </a:lnTo>
                    <a:lnTo>
                      <a:pt x="631" y="800"/>
                    </a:lnTo>
                    <a:lnTo>
                      <a:pt x="622" y="800"/>
                    </a:lnTo>
                    <a:lnTo>
                      <a:pt x="617" y="791"/>
                    </a:lnTo>
                    <a:lnTo>
                      <a:pt x="613" y="791"/>
                    </a:lnTo>
                    <a:lnTo>
                      <a:pt x="617" y="787"/>
                    </a:lnTo>
                    <a:lnTo>
                      <a:pt x="617" y="774"/>
                    </a:lnTo>
                    <a:lnTo>
                      <a:pt x="617" y="769"/>
                    </a:lnTo>
                    <a:lnTo>
                      <a:pt x="617" y="765"/>
                    </a:lnTo>
                    <a:lnTo>
                      <a:pt x="613" y="761"/>
                    </a:lnTo>
                    <a:lnTo>
                      <a:pt x="604" y="756"/>
                    </a:lnTo>
                    <a:lnTo>
                      <a:pt x="600" y="756"/>
                    </a:lnTo>
                    <a:lnTo>
                      <a:pt x="596" y="756"/>
                    </a:lnTo>
                    <a:lnTo>
                      <a:pt x="587" y="765"/>
                    </a:lnTo>
                    <a:lnTo>
                      <a:pt x="583" y="765"/>
                    </a:lnTo>
                    <a:lnTo>
                      <a:pt x="578" y="769"/>
                    </a:lnTo>
                    <a:lnTo>
                      <a:pt x="574" y="769"/>
                    </a:lnTo>
                    <a:lnTo>
                      <a:pt x="570" y="769"/>
                    </a:lnTo>
                    <a:lnTo>
                      <a:pt x="565" y="769"/>
                    </a:lnTo>
                    <a:lnTo>
                      <a:pt x="561" y="769"/>
                    </a:lnTo>
                    <a:lnTo>
                      <a:pt x="557" y="774"/>
                    </a:lnTo>
                    <a:lnTo>
                      <a:pt x="552" y="778"/>
                    </a:lnTo>
                    <a:lnTo>
                      <a:pt x="548" y="782"/>
                    </a:lnTo>
                    <a:lnTo>
                      <a:pt x="552" y="791"/>
                    </a:lnTo>
                    <a:lnTo>
                      <a:pt x="557" y="795"/>
                    </a:lnTo>
                    <a:lnTo>
                      <a:pt x="557" y="800"/>
                    </a:lnTo>
                    <a:lnTo>
                      <a:pt x="557" y="804"/>
                    </a:lnTo>
                    <a:lnTo>
                      <a:pt x="561" y="808"/>
                    </a:lnTo>
                    <a:lnTo>
                      <a:pt x="565" y="813"/>
                    </a:lnTo>
                    <a:lnTo>
                      <a:pt x="570" y="817"/>
                    </a:lnTo>
                    <a:lnTo>
                      <a:pt x="565" y="821"/>
                    </a:lnTo>
                    <a:lnTo>
                      <a:pt x="561" y="826"/>
                    </a:lnTo>
                    <a:lnTo>
                      <a:pt x="557" y="826"/>
                    </a:lnTo>
                    <a:lnTo>
                      <a:pt x="552" y="830"/>
                    </a:lnTo>
                    <a:lnTo>
                      <a:pt x="548" y="835"/>
                    </a:lnTo>
                    <a:lnTo>
                      <a:pt x="544" y="839"/>
                    </a:lnTo>
                    <a:lnTo>
                      <a:pt x="535" y="843"/>
                    </a:lnTo>
                    <a:lnTo>
                      <a:pt x="531" y="843"/>
                    </a:lnTo>
                    <a:lnTo>
                      <a:pt x="526" y="848"/>
                    </a:lnTo>
                    <a:lnTo>
                      <a:pt x="522" y="848"/>
                    </a:lnTo>
                    <a:lnTo>
                      <a:pt x="522" y="852"/>
                    </a:lnTo>
                    <a:lnTo>
                      <a:pt x="522" y="843"/>
                    </a:lnTo>
                    <a:lnTo>
                      <a:pt x="526" y="835"/>
                    </a:lnTo>
                    <a:lnTo>
                      <a:pt x="526" y="826"/>
                    </a:lnTo>
                    <a:lnTo>
                      <a:pt x="526" y="821"/>
                    </a:lnTo>
                    <a:lnTo>
                      <a:pt x="526" y="813"/>
                    </a:lnTo>
                    <a:lnTo>
                      <a:pt x="522" y="808"/>
                    </a:lnTo>
                    <a:lnTo>
                      <a:pt x="522" y="795"/>
                    </a:lnTo>
                    <a:lnTo>
                      <a:pt x="522" y="787"/>
                    </a:lnTo>
                    <a:lnTo>
                      <a:pt x="517" y="782"/>
                    </a:lnTo>
                    <a:lnTo>
                      <a:pt x="513" y="778"/>
                    </a:lnTo>
                    <a:lnTo>
                      <a:pt x="500" y="774"/>
                    </a:lnTo>
                    <a:lnTo>
                      <a:pt x="500" y="769"/>
                    </a:lnTo>
                    <a:lnTo>
                      <a:pt x="496" y="769"/>
                    </a:lnTo>
                    <a:lnTo>
                      <a:pt x="487" y="769"/>
                    </a:lnTo>
                    <a:lnTo>
                      <a:pt x="483" y="769"/>
                    </a:lnTo>
                    <a:lnTo>
                      <a:pt x="478" y="769"/>
                    </a:lnTo>
                    <a:lnTo>
                      <a:pt x="474" y="769"/>
                    </a:lnTo>
                    <a:lnTo>
                      <a:pt x="470" y="769"/>
                    </a:lnTo>
                    <a:lnTo>
                      <a:pt x="465" y="765"/>
                    </a:lnTo>
                    <a:lnTo>
                      <a:pt x="461" y="761"/>
                    </a:lnTo>
                    <a:lnTo>
                      <a:pt x="461" y="756"/>
                    </a:lnTo>
                    <a:lnTo>
                      <a:pt x="461" y="752"/>
                    </a:lnTo>
                    <a:lnTo>
                      <a:pt x="465" y="748"/>
                    </a:lnTo>
                    <a:lnTo>
                      <a:pt x="465" y="739"/>
                    </a:lnTo>
                    <a:lnTo>
                      <a:pt x="465" y="735"/>
                    </a:lnTo>
                    <a:lnTo>
                      <a:pt x="470" y="735"/>
                    </a:lnTo>
                    <a:lnTo>
                      <a:pt x="474" y="730"/>
                    </a:lnTo>
                    <a:lnTo>
                      <a:pt x="478" y="735"/>
                    </a:lnTo>
                    <a:lnTo>
                      <a:pt x="478" y="739"/>
                    </a:lnTo>
                    <a:lnTo>
                      <a:pt x="478" y="743"/>
                    </a:lnTo>
                    <a:lnTo>
                      <a:pt x="483" y="748"/>
                    </a:lnTo>
                    <a:lnTo>
                      <a:pt x="487" y="748"/>
                    </a:lnTo>
                    <a:lnTo>
                      <a:pt x="491" y="752"/>
                    </a:lnTo>
                    <a:lnTo>
                      <a:pt x="504" y="756"/>
                    </a:lnTo>
                    <a:lnTo>
                      <a:pt x="509" y="756"/>
                    </a:lnTo>
                    <a:lnTo>
                      <a:pt x="517" y="756"/>
                    </a:lnTo>
                    <a:lnTo>
                      <a:pt x="517" y="761"/>
                    </a:lnTo>
                    <a:lnTo>
                      <a:pt x="522" y="761"/>
                    </a:lnTo>
                    <a:lnTo>
                      <a:pt x="522" y="756"/>
                    </a:lnTo>
                    <a:lnTo>
                      <a:pt x="526" y="748"/>
                    </a:lnTo>
                    <a:lnTo>
                      <a:pt x="531" y="748"/>
                    </a:lnTo>
                    <a:lnTo>
                      <a:pt x="531" y="739"/>
                    </a:lnTo>
                    <a:lnTo>
                      <a:pt x="535" y="739"/>
                    </a:lnTo>
                    <a:lnTo>
                      <a:pt x="535" y="735"/>
                    </a:lnTo>
                    <a:lnTo>
                      <a:pt x="531" y="730"/>
                    </a:lnTo>
                    <a:lnTo>
                      <a:pt x="531" y="726"/>
                    </a:lnTo>
                    <a:lnTo>
                      <a:pt x="531" y="713"/>
                    </a:lnTo>
                    <a:lnTo>
                      <a:pt x="531" y="708"/>
                    </a:lnTo>
                    <a:lnTo>
                      <a:pt x="531" y="704"/>
                    </a:lnTo>
                    <a:lnTo>
                      <a:pt x="531" y="700"/>
                    </a:lnTo>
                    <a:lnTo>
                      <a:pt x="535" y="695"/>
                    </a:lnTo>
                    <a:lnTo>
                      <a:pt x="539" y="695"/>
                    </a:lnTo>
                    <a:lnTo>
                      <a:pt x="548" y="695"/>
                    </a:lnTo>
                    <a:lnTo>
                      <a:pt x="548" y="691"/>
                    </a:lnTo>
                    <a:lnTo>
                      <a:pt x="552" y="691"/>
                    </a:lnTo>
                    <a:lnTo>
                      <a:pt x="565" y="682"/>
                    </a:lnTo>
                    <a:lnTo>
                      <a:pt x="565" y="678"/>
                    </a:lnTo>
                    <a:lnTo>
                      <a:pt x="565" y="674"/>
                    </a:lnTo>
                    <a:lnTo>
                      <a:pt x="561" y="669"/>
                    </a:lnTo>
                    <a:lnTo>
                      <a:pt x="561" y="665"/>
                    </a:lnTo>
                    <a:lnTo>
                      <a:pt x="557" y="661"/>
                    </a:lnTo>
                    <a:lnTo>
                      <a:pt x="561" y="652"/>
                    </a:lnTo>
                    <a:lnTo>
                      <a:pt x="565" y="648"/>
                    </a:lnTo>
                    <a:lnTo>
                      <a:pt x="570" y="648"/>
                    </a:lnTo>
                    <a:lnTo>
                      <a:pt x="574" y="652"/>
                    </a:lnTo>
                    <a:lnTo>
                      <a:pt x="574" y="648"/>
                    </a:lnTo>
                    <a:lnTo>
                      <a:pt x="578" y="648"/>
                    </a:lnTo>
                    <a:lnTo>
                      <a:pt x="578" y="643"/>
                    </a:lnTo>
                    <a:lnTo>
                      <a:pt x="578" y="639"/>
                    </a:lnTo>
                    <a:lnTo>
                      <a:pt x="574" y="635"/>
                    </a:lnTo>
                    <a:lnTo>
                      <a:pt x="578" y="635"/>
                    </a:lnTo>
                    <a:lnTo>
                      <a:pt x="578" y="630"/>
                    </a:lnTo>
                    <a:lnTo>
                      <a:pt x="583" y="635"/>
                    </a:lnTo>
                    <a:lnTo>
                      <a:pt x="587" y="639"/>
                    </a:lnTo>
                    <a:lnTo>
                      <a:pt x="587" y="643"/>
                    </a:lnTo>
                    <a:lnTo>
                      <a:pt x="591" y="648"/>
                    </a:lnTo>
                    <a:lnTo>
                      <a:pt x="596" y="648"/>
                    </a:lnTo>
                    <a:lnTo>
                      <a:pt x="596" y="643"/>
                    </a:lnTo>
                    <a:lnTo>
                      <a:pt x="596" y="639"/>
                    </a:lnTo>
                    <a:lnTo>
                      <a:pt x="596" y="635"/>
                    </a:lnTo>
                    <a:lnTo>
                      <a:pt x="600" y="621"/>
                    </a:lnTo>
                    <a:lnTo>
                      <a:pt x="604" y="621"/>
                    </a:lnTo>
                    <a:lnTo>
                      <a:pt x="609" y="621"/>
                    </a:lnTo>
                    <a:lnTo>
                      <a:pt x="609" y="617"/>
                    </a:lnTo>
                    <a:lnTo>
                      <a:pt x="609" y="604"/>
                    </a:lnTo>
                    <a:lnTo>
                      <a:pt x="604" y="600"/>
                    </a:lnTo>
                    <a:lnTo>
                      <a:pt x="609" y="595"/>
                    </a:lnTo>
                    <a:lnTo>
                      <a:pt x="609" y="591"/>
                    </a:lnTo>
                    <a:lnTo>
                      <a:pt x="613" y="587"/>
                    </a:lnTo>
                    <a:lnTo>
                      <a:pt x="609" y="582"/>
                    </a:lnTo>
                    <a:lnTo>
                      <a:pt x="604" y="578"/>
                    </a:lnTo>
                    <a:lnTo>
                      <a:pt x="600" y="578"/>
                    </a:lnTo>
                    <a:lnTo>
                      <a:pt x="600" y="574"/>
                    </a:lnTo>
                    <a:lnTo>
                      <a:pt x="604" y="574"/>
                    </a:lnTo>
                    <a:lnTo>
                      <a:pt x="604" y="569"/>
                    </a:lnTo>
                    <a:lnTo>
                      <a:pt x="604" y="565"/>
                    </a:lnTo>
                    <a:lnTo>
                      <a:pt x="604" y="561"/>
                    </a:lnTo>
                    <a:lnTo>
                      <a:pt x="596" y="556"/>
                    </a:lnTo>
                    <a:lnTo>
                      <a:pt x="591" y="556"/>
                    </a:lnTo>
                    <a:lnTo>
                      <a:pt x="591" y="552"/>
                    </a:lnTo>
                    <a:lnTo>
                      <a:pt x="591" y="548"/>
                    </a:lnTo>
                    <a:lnTo>
                      <a:pt x="591" y="543"/>
                    </a:lnTo>
                    <a:lnTo>
                      <a:pt x="591" y="539"/>
                    </a:lnTo>
                    <a:lnTo>
                      <a:pt x="591" y="535"/>
                    </a:lnTo>
                    <a:lnTo>
                      <a:pt x="583" y="526"/>
                    </a:lnTo>
                    <a:lnTo>
                      <a:pt x="578" y="521"/>
                    </a:lnTo>
                    <a:lnTo>
                      <a:pt x="574" y="521"/>
                    </a:lnTo>
                    <a:lnTo>
                      <a:pt x="578" y="517"/>
                    </a:lnTo>
                    <a:lnTo>
                      <a:pt x="578" y="513"/>
                    </a:lnTo>
                    <a:lnTo>
                      <a:pt x="578" y="508"/>
                    </a:lnTo>
                    <a:lnTo>
                      <a:pt x="578" y="504"/>
                    </a:lnTo>
                    <a:lnTo>
                      <a:pt x="574" y="495"/>
                    </a:lnTo>
                    <a:lnTo>
                      <a:pt x="570" y="487"/>
                    </a:lnTo>
                    <a:lnTo>
                      <a:pt x="570" y="482"/>
                    </a:lnTo>
                    <a:lnTo>
                      <a:pt x="561" y="474"/>
                    </a:lnTo>
                    <a:lnTo>
                      <a:pt x="557" y="469"/>
                    </a:lnTo>
                    <a:lnTo>
                      <a:pt x="552" y="469"/>
                    </a:lnTo>
                    <a:lnTo>
                      <a:pt x="552" y="465"/>
                    </a:lnTo>
                    <a:lnTo>
                      <a:pt x="552" y="461"/>
                    </a:lnTo>
                    <a:lnTo>
                      <a:pt x="552" y="456"/>
                    </a:lnTo>
                    <a:lnTo>
                      <a:pt x="548" y="452"/>
                    </a:lnTo>
                    <a:lnTo>
                      <a:pt x="544" y="448"/>
                    </a:lnTo>
                    <a:lnTo>
                      <a:pt x="539" y="448"/>
                    </a:lnTo>
                    <a:lnTo>
                      <a:pt x="535" y="443"/>
                    </a:lnTo>
                    <a:lnTo>
                      <a:pt x="531" y="443"/>
                    </a:lnTo>
                    <a:lnTo>
                      <a:pt x="526" y="443"/>
                    </a:lnTo>
                    <a:lnTo>
                      <a:pt x="522" y="443"/>
                    </a:lnTo>
                    <a:lnTo>
                      <a:pt x="517" y="448"/>
                    </a:lnTo>
                    <a:lnTo>
                      <a:pt x="517" y="452"/>
                    </a:lnTo>
                    <a:lnTo>
                      <a:pt x="513" y="452"/>
                    </a:lnTo>
                    <a:lnTo>
                      <a:pt x="513" y="456"/>
                    </a:lnTo>
                    <a:lnTo>
                      <a:pt x="509" y="456"/>
                    </a:lnTo>
                    <a:lnTo>
                      <a:pt x="496" y="443"/>
                    </a:lnTo>
                    <a:lnTo>
                      <a:pt x="491" y="439"/>
                    </a:lnTo>
                    <a:lnTo>
                      <a:pt x="487" y="435"/>
                    </a:lnTo>
                    <a:lnTo>
                      <a:pt x="483" y="430"/>
                    </a:lnTo>
                    <a:lnTo>
                      <a:pt x="483" y="426"/>
                    </a:lnTo>
                    <a:lnTo>
                      <a:pt x="478" y="421"/>
                    </a:lnTo>
                    <a:lnTo>
                      <a:pt x="470" y="41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3" name="Freeform 32">
                <a:extLst>
                  <a:ext uri="{FF2B5EF4-FFF2-40B4-BE49-F238E27FC236}">
                    <a16:creationId xmlns:a16="http://schemas.microsoft.com/office/drawing/2014/main" id="{F4AD98FD-8AF6-2B28-3EE0-F2FE24BF44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29128" y="3274345"/>
                <a:ext cx="1675190" cy="1133475"/>
              </a:xfrm>
              <a:custGeom>
                <a:avLst/>
                <a:gdLst>
                  <a:gd name="T0" fmla="*/ 530 w 965"/>
                  <a:gd name="T1" fmla="*/ 618 h 683"/>
                  <a:gd name="T2" fmla="*/ 509 w 965"/>
                  <a:gd name="T3" fmla="*/ 657 h 683"/>
                  <a:gd name="T4" fmla="*/ 456 w 965"/>
                  <a:gd name="T5" fmla="*/ 674 h 683"/>
                  <a:gd name="T6" fmla="*/ 417 w 965"/>
                  <a:gd name="T7" fmla="*/ 666 h 683"/>
                  <a:gd name="T8" fmla="*/ 400 w 965"/>
                  <a:gd name="T9" fmla="*/ 635 h 683"/>
                  <a:gd name="T10" fmla="*/ 374 w 965"/>
                  <a:gd name="T11" fmla="*/ 613 h 683"/>
                  <a:gd name="T12" fmla="*/ 343 w 965"/>
                  <a:gd name="T13" fmla="*/ 587 h 683"/>
                  <a:gd name="T14" fmla="*/ 304 w 965"/>
                  <a:gd name="T15" fmla="*/ 579 h 683"/>
                  <a:gd name="T16" fmla="*/ 213 w 965"/>
                  <a:gd name="T17" fmla="*/ 557 h 683"/>
                  <a:gd name="T18" fmla="*/ 165 w 965"/>
                  <a:gd name="T19" fmla="*/ 544 h 683"/>
                  <a:gd name="T20" fmla="*/ 104 w 965"/>
                  <a:gd name="T21" fmla="*/ 513 h 683"/>
                  <a:gd name="T22" fmla="*/ 48 w 965"/>
                  <a:gd name="T23" fmla="*/ 496 h 683"/>
                  <a:gd name="T24" fmla="*/ 21 w 965"/>
                  <a:gd name="T25" fmla="*/ 422 h 683"/>
                  <a:gd name="T26" fmla="*/ 4 w 965"/>
                  <a:gd name="T27" fmla="*/ 366 h 683"/>
                  <a:gd name="T28" fmla="*/ 21 w 965"/>
                  <a:gd name="T29" fmla="*/ 352 h 683"/>
                  <a:gd name="T30" fmla="*/ 39 w 965"/>
                  <a:gd name="T31" fmla="*/ 287 h 683"/>
                  <a:gd name="T32" fmla="*/ 30 w 965"/>
                  <a:gd name="T33" fmla="*/ 252 h 683"/>
                  <a:gd name="T34" fmla="*/ 52 w 965"/>
                  <a:gd name="T35" fmla="*/ 222 h 683"/>
                  <a:gd name="T36" fmla="*/ 100 w 965"/>
                  <a:gd name="T37" fmla="*/ 235 h 683"/>
                  <a:gd name="T38" fmla="*/ 143 w 965"/>
                  <a:gd name="T39" fmla="*/ 222 h 683"/>
                  <a:gd name="T40" fmla="*/ 117 w 965"/>
                  <a:gd name="T41" fmla="*/ 192 h 683"/>
                  <a:gd name="T42" fmla="*/ 152 w 965"/>
                  <a:gd name="T43" fmla="*/ 161 h 683"/>
                  <a:gd name="T44" fmla="*/ 143 w 965"/>
                  <a:gd name="T45" fmla="*/ 122 h 683"/>
                  <a:gd name="T46" fmla="*/ 108 w 965"/>
                  <a:gd name="T47" fmla="*/ 74 h 683"/>
                  <a:gd name="T48" fmla="*/ 117 w 965"/>
                  <a:gd name="T49" fmla="*/ 39 h 683"/>
                  <a:gd name="T50" fmla="*/ 187 w 965"/>
                  <a:gd name="T51" fmla="*/ 26 h 683"/>
                  <a:gd name="T52" fmla="*/ 248 w 965"/>
                  <a:gd name="T53" fmla="*/ 18 h 683"/>
                  <a:gd name="T54" fmla="*/ 300 w 965"/>
                  <a:gd name="T55" fmla="*/ 9 h 683"/>
                  <a:gd name="T56" fmla="*/ 335 w 965"/>
                  <a:gd name="T57" fmla="*/ 0 h 683"/>
                  <a:gd name="T58" fmla="*/ 382 w 965"/>
                  <a:gd name="T59" fmla="*/ 5 h 683"/>
                  <a:gd name="T60" fmla="*/ 456 w 965"/>
                  <a:gd name="T61" fmla="*/ 26 h 683"/>
                  <a:gd name="T62" fmla="*/ 522 w 965"/>
                  <a:gd name="T63" fmla="*/ 70 h 683"/>
                  <a:gd name="T64" fmla="*/ 600 w 965"/>
                  <a:gd name="T65" fmla="*/ 53 h 683"/>
                  <a:gd name="T66" fmla="*/ 639 w 965"/>
                  <a:gd name="T67" fmla="*/ 48 h 683"/>
                  <a:gd name="T68" fmla="*/ 678 w 965"/>
                  <a:gd name="T69" fmla="*/ 53 h 683"/>
                  <a:gd name="T70" fmla="*/ 717 w 965"/>
                  <a:gd name="T71" fmla="*/ 79 h 683"/>
                  <a:gd name="T72" fmla="*/ 765 w 965"/>
                  <a:gd name="T73" fmla="*/ 79 h 683"/>
                  <a:gd name="T74" fmla="*/ 787 w 965"/>
                  <a:gd name="T75" fmla="*/ 126 h 683"/>
                  <a:gd name="T76" fmla="*/ 817 w 965"/>
                  <a:gd name="T77" fmla="*/ 144 h 683"/>
                  <a:gd name="T78" fmla="*/ 865 w 965"/>
                  <a:gd name="T79" fmla="*/ 183 h 683"/>
                  <a:gd name="T80" fmla="*/ 904 w 965"/>
                  <a:gd name="T81" fmla="*/ 187 h 683"/>
                  <a:gd name="T82" fmla="*/ 930 w 965"/>
                  <a:gd name="T83" fmla="*/ 239 h 683"/>
                  <a:gd name="T84" fmla="*/ 943 w 965"/>
                  <a:gd name="T85" fmla="*/ 283 h 683"/>
                  <a:gd name="T86" fmla="*/ 961 w 965"/>
                  <a:gd name="T87" fmla="*/ 313 h 683"/>
                  <a:gd name="T88" fmla="*/ 948 w 965"/>
                  <a:gd name="T89" fmla="*/ 366 h 683"/>
                  <a:gd name="T90" fmla="*/ 926 w 965"/>
                  <a:gd name="T91" fmla="*/ 366 h 683"/>
                  <a:gd name="T92" fmla="*/ 913 w 965"/>
                  <a:gd name="T93" fmla="*/ 396 h 683"/>
                  <a:gd name="T94" fmla="*/ 883 w 965"/>
                  <a:gd name="T95" fmla="*/ 431 h 683"/>
                  <a:gd name="T96" fmla="*/ 878 w 965"/>
                  <a:gd name="T97" fmla="*/ 479 h 683"/>
                  <a:gd name="T98" fmla="*/ 830 w 965"/>
                  <a:gd name="T99" fmla="*/ 474 h 683"/>
                  <a:gd name="T100" fmla="*/ 813 w 965"/>
                  <a:gd name="T101" fmla="*/ 492 h 683"/>
                  <a:gd name="T102" fmla="*/ 865 w 965"/>
                  <a:gd name="T103" fmla="*/ 509 h 683"/>
                  <a:gd name="T104" fmla="*/ 874 w 965"/>
                  <a:gd name="T105" fmla="*/ 583 h 683"/>
                  <a:gd name="T106" fmla="*/ 835 w 965"/>
                  <a:gd name="T107" fmla="*/ 570 h 683"/>
                  <a:gd name="T108" fmla="*/ 826 w 965"/>
                  <a:gd name="T109" fmla="*/ 609 h 683"/>
                  <a:gd name="T110" fmla="*/ 774 w 965"/>
                  <a:gd name="T111" fmla="*/ 618 h 683"/>
                  <a:gd name="T112" fmla="*/ 748 w 965"/>
                  <a:gd name="T113" fmla="*/ 605 h 683"/>
                  <a:gd name="T114" fmla="*/ 709 w 965"/>
                  <a:gd name="T115" fmla="*/ 609 h 683"/>
                  <a:gd name="T116" fmla="*/ 656 w 965"/>
                  <a:gd name="T117" fmla="*/ 561 h 683"/>
                  <a:gd name="T118" fmla="*/ 630 w 965"/>
                  <a:gd name="T119" fmla="*/ 505 h 683"/>
                  <a:gd name="T120" fmla="*/ 591 w 965"/>
                  <a:gd name="T121" fmla="*/ 496 h 683"/>
                  <a:gd name="T122" fmla="*/ 587 w 965"/>
                  <a:gd name="T123" fmla="*/ 539 h 683"/>
                  <a:gd name="T124" fmla="*/ 556 w 965"/>
                  <a:gd name="T125" fmla="*/ 574 h 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5" h="683">
                    <a:moveTo>
                      <a:pt x="548" y="592"/>
                    </a:moveTo>
                    <a:lnTo>
                      <a:pt x="543" y="592"/>
                    </a:lnTo>
                    <a:lnTo>
                      <a:pt x="539" y="596"/>
                    </a:lnTo>
                    <a:lnTo>
                      <a:pt x="530" y="596"/>
                    </a:lnTo>
                    <a:lnTo>
                      <a:pt x="526" y="600"/>
                    </a:lnTo>
                    <a:lnTo>
                      <a:pt x="522" y="605"/>
                    </a:lnTo>
                    <a:lnTo>
                      <a:pt x="526" y="605"/>
                    </a:lnTo>
                    <a:lnTo>
                      <a:pt x="530" y="609"/>
                    </a:lnTo>
                    <a:lnTo>
                      <a:pt x="530" y="613"/>
                    </a:lnTo>
                    <a:lnTo>
                      <a:pt x="530" y="618"/>
                    </a:lnTo>
                    <a:lnTo>
                      <a:pt x="526" y="622"/>
                    </a:lnTo>
                    <a:lnTo>
                      <a:pt x="526" y="626"/>
                    </a:lnTo>
                    <a:lnTo>
                      <a:pt x="522" y="631"/>
                    </a:lnTo>
                    <a:lnTo>
                      <a:pt x="522" y="635"/>
                    </a:lnTo>
                    <a:lnTo>
                      <a:pt x="522" y="639"/>
                    </a:lnTo>
                    <a:lnTo>
                      <a:pt x="522" y="644"/>
                    </a:lnTo>
                    <a:lnTo>
                      <a:pt x="517" y="648"/>
                    </a:lnTo>
                    <a:lnTo>
                      <a:pt x="513" y="652"/>
                    </a:lnTo>
                    <a:lnTo>
                      <a:pt x="509" y="652"/>
                    </a:lnTo>
                    <a:lnTo>
                      <a:pt x="509" y="657"/>
                    </a:lnTo>
                    <a:lnTo>
                      <a:pt x="504" y="657"/>
                    </a:lnTo>
                    <a:lnTo>
                      <a:pt x="500" y="661"/>
                    </a:lnTo>
                    <a:lnTo>
                      <a:pt x="495" y="670"/>
                    </a:lnTo>
                    <a:lnTo>
                      <a:pt x="491" y="683"/>
                    </a:lnTo>
                    <a:lnTo>
                      <a:pt x="482" y="683"/>
                    </a:lnTo>
                    <a:lnTo>
                      <a:pt x="478" y="683"/>
                    </a:lnTo>
                    <a:lnTo>
                      <a:pt x="478" y="679"/>
                    </a:lnTo>
                    <a:lnTo>
                      <a:pt x="474" y="679"/>
                    </a:lnTo>
                    <a:lnTo>
                      <a:pt x="461" y="674"/>
                    </a:lnTo>
                    <a:lnTo>
                      <a:pt x="456" y="674"/>
                    </a:lnTo>
                    <a:lnTo>
                      <a:pt x="456" y="670"/>
                    </a:lnTo>
                    <a:lnTo>
                      <a:pt x="452" y="670"/>
                    </a:lnTo>
                    <a:lnTo>
                      <a:pt x="452" y="674"/>
                    </a:lnTo>
                    <a:lnTo>
                      <a:pt x="448" y="679"/>
                    </a:lnTo>
                    <a:lnTo>
                      <a:pt x="443" y="679"/>
                    </a:lnTo>
                    <a:lnTo>
                      <a:pt x="439" y="679"/>
                    </a:lnTo>
                    <a:lnTo>
                      <a:pt x="435" y="674"/>
                    </a:lnTo>
                    <a:lnTo>
                      <a:pt x="430" y="670"/>
                    </a:lnTo>
                    <a:lnTo>
                      <a:pt x="426" y="666"/>
                    </a:lnTo>
                    <a:lnTo>
                      <a:pt x="417" y="666"/>
                    </a:lnTo>
                    <a:lnTo>
                      <a:pt x="413" y="661"/>
                    </a:lnTo>
                    <a:lnTo>
                      <a:pt x="404" y="661"/>
                    </a:lnTo>
                    <a:lnTo>
                      <a:pt x="400" y="661"/>
                    </a:lnTo>
                    <a:lnTo>
                      <a:pt x="400" y="657"/>
                    </a:lnTo>
                    <a:lnTo>
                      <a:pt x="400" y="652"/>
                    </a:lnTo>
                    <a:lnTo>
                      <a:pt x="404" y="652"/>
                    </a:lnTo>
                    <a:lnTo>
                      <a:pt x="404" y="648"/>
                    </a:lnTo>
                    <a:lnTo>
                      <a:pt x="404" y="644"/>
                    </a:lnTo>
                    <a:lnTo>
                      <a:pt x="404" y="639"/>
                    </a:lnTo>
                    <a:lnTo>
                      <a:pt x="400" y="635"/>
                    </a:lnTo>
                    <a:lnTo>
                      <a:pt x="400" y="631"/>
                    </a:lnTo>
                    <a:lnTo>
                      <a:pt x="395" y="631"/>
                    </a:lnTo>
                    <a:lnTo>
                      <a:pt x="391" y="631"/>
                    </a:lnTo>
                    <a:lnTo>
                      <a:pt x="387" y="631"/>
                    </a:lnTo>
                    <a:lnTo>
                      <a:pt x="387" y="626"/>
                    </a:lnTo>
                    <a:lnTo>
                      <a:pt x="382" y="626"/>
                    </a:lnTo>
                    <a:lnTo>
                      <a:pt x="382" y="622"/>
                    </a:lnTo>
                    <a:lnTo>
                      <a:pt x="378" y="618"/>
                    </a:lnTo>
                    <a:lnTo>
                      <a:pt x="374" y="618"/>
                    </a:lnTo>
                    <a:lnTo>
                      <a:pt x="374" y="613"/>
                    </a:lnTo>
                    <a:lnTo>
                      <a:pt x="369" y="613"/>
                    </a:lnTo>
                    <a:lnTo>
                      <a:pt x="365" y="613"/>
                    </a:lnTo>
                    <a:lnTo>
                      <a:pt x="365" y="609"/>
                    </a:lnTo>
                    <a:lnTo>
                      <a:pt x="365" y="605"/>
                    </a:lnTo>
                    <a:lnTo>
                      <a:pt x="365" y="600"/>
                    </a:lnTo>
                    <a:lnTo>
                      <a:pt x="361" y="600"/>
                    </a:lnTo>
                    <a:lnTo>
                      <a:pt x="361" y="596"/>
                    </a:lnTo>
                    <a:lnTo>
                      <a:pt x="356" y="596"/>
                    </a:lnTo>
                    <a:lnTo>
                      <a:pt x="348" y="592"/>
                    </a:lnTo>
                    <a:lnTo>
                      <a:pt x="343" y="587"/>
                    </a:lnTo>
                    <a:lnTo>
                      <a:pt x="335" y="587"/>
                    </a:lnTo>
                    <a:lnTo>
                      <a:pt x="330" y="587"/>
                    </a:lnTo>
                    <a:lnTo>
                      <a:pt x="326" y="587"/>
                    </a:lnTo>
                    <a:lnTo>
                      <a:pt x="322" y="587"/>
                    </a:lnTo>
                    <a:lnTo>
                      <a:pt x="317" y="587"/>
                    </a:lnTo>
                    <a:lnTo>
                      <a:pt x="313" y="587"/>
                    </a:lnTo>
                    <a:lnTo>
                      <a:pt x="309" y="587"/>
                    </a:lnTo>
                    <a:lnTo>
                      <a:pt x="309" y="583"/>
                    </a:lnTo>
                    <a:lnTo>
                      <a:pt x="304" y="583"/>
                    </a:lnTo>
                    <a:lnTo>
                      <a:pt x="304" y="579"/>
                    </a:lnTo>
                    <a:lnTo>
                      <a:pt x="300" y="579"/>
                    </a:lnTo>
                    <a:lnTo>
                      <a:pt x="265" y="579"/>
                    </a:lnTo>
                    <a:lnTo>
                      <a:pt x="256" y="579"/>
                    </a:lnTo>
                    <a:lnTo>
                      <a:pt x="252" y="579"/>
                    </a:lnTo>
                    <a:lnTo>
                      <a:pt x="248" y="574"/>
                    </a:lnTo>
                    <a:lnTo>
                      <a:pt x="248" y="570"/>
                    </a:lnTo>
                    <a:lnTo>
                      <a:pt x="243" y="570"/>
                    </a:lnTo>
                    <a:lnTo>
                      <a:pt x="226" y="566"/>
                    </a:lnTo>
                    <a:lnTo>
                      <a:pt x="217" y="561"/>
                    </a:lnTo>
                    <a:lnTo>
                      <a:pt x="213" y="557"/>
                    </a:lnTo>
                    <a:lnTo>
                      <a:pt x="208" y="557"/>
                    </a:lnTo>
                    <a:lnTo>
                      <a:pt x="204" y="557"/>
                    </a:lnTo>
                    <a:lnTo>
                      <a:pt x="200" y="557"/>
                    </a:lnTo>
                    <a:lnTo>
                      <a:pt x="195" y="561"/>
                    </a:lnTo>
                    <a:lnTo>
                      <a:pt x="191" y="561"/>
                    </a:lnTo>
                    <a:lnTo>
                      <a:pt x="187" y="561"/>
                    </a:lnTo>
                    <a:lnTo>
                      <a:pt x="174" y="552"/>
                    </a:lnTo>
                    <a:lnTo>
                      <a:pt x="169" y="552"/>
                    </a:lnTo>
                    <a:lnTo>
                      <a:pt x="169" y="548"/>
                    </a:lnTo>
                    <a:lnTo>
                      <a:pt x="165" y="544"/>
                    </a:lnTo>
                    <a:lnTo>
                      <a:pt x="165" y="539"/>
                    </a:lnTo>
                    <a:lnTo>
                      <a:pt x="161" y="539"/>
                    </a:lnTo>
                    <a:lnTo>
                      <a:pt x="156" y="535"/>
                    </a:lnTo>
                    <a:lnTo>
                      <a:pt x="135" y="522"/>
                    </a:lnTo>
                    <a:lnTo>
                      <a:pt x="130" y="522"/>
                    </a:lnTo>
                    <a:lnTo>
                      <a:pt x="126" y="522"/>
                    </a:lnTo>
                    <a:lnTo>
                      <a:pt x="122" y="522"/>
                    </a:lnTo>
                    <a:lnTo>
                      <a:pt x="117" y="522"/>
                    </a:lnTo>
                    <a:lnTo>
                      <a:pt x="117" y="518"/>
                    </a:lnTo>
                    <a:lnTo>
                      <a:pt x="104" y="513"/>
                    </a:lnTo>
                    <a:lnTo>
                      <a:pt x="87" y="505"/>
                    </a:lnTo>
                    <a:lnTo>
                      <a:pt x="82" y="505"/>
                    </a:lnTo>
                    <a:lnTo>
                      <a:pt x="78" y="500"/>
                    </a:lnTo>
                    <a:lnTo>
                      <a:pt x="74" y="500"/>
                    </a:lnTo>
                    <a:lnTo>
                      <a:pt x="69" y="500"/>
                    </a:lnTo>
                    <a:lnTo>
                      <a:pt x="65" y="500"/>
                    </a:lnTo>
                    <a:lnTo>
                      <a:pt x="56" y="500"/>
                    </a:lnTo>
                    <a:lnTo>
                      <a:pt x="52" y="500"/>
                    </a:lnTo>
                    <a:lnTo>
                      <a:pt x="48" y="500"/>
                    </a:lnTo>
                    <a:lnTo>
                      <a:pt x="48" y="496"/>
                    </a:lnTo>
                    <a:lnTo>
                      <a:pt x="48" y="492"/>
                    </a:lnTo>
                    <a:lnTo>
                      <a:pt x="43" y="470"/>
                    </a:lnTo>
                    <a:lnTo>
                      <a:pt x="39" y="466"/>
                    </a:lnTo>
                    <a:lnTo>
                      <a:pt x="39" y="461"/>
                    </a:lnTo>
                    <a:lnTo>
                      <a:pt x="35" y="457"/>
                    </a:lnTo>
                    <a:lnTo>
                      <a:pt x="30" y="457"/>
                    </a:lnTo>
                    <a:lnTo>
                      <a:pt x="30" y="452"/>
                    </a:lnTo>
                    <a:lnTo>
                      <a:pt x="26" y="448"/>
                    </a:lnTo>
                    <a:lnTo>
                      <a:pt x="21" y="426"/>
                    </a:lnTo>
                    <a:lnTo>
                      <a:pt x="21" y="422"/>
                    </a:lnTo>
                    <a:lnTo>
                      <a:pt x="21" y="418"/>
                    </a:lnTo>
                    <a:lnTo>
                      <a:pt x="13" y="413"/>
                    </a:lnTo>
                    <a:lnTo>
                      <a:pt x="4" y="396"/>
                    </a:lnTo>
                    <a:lnTo>
                      <a:pt x="4" y="392"/>
                    </a:lnTo>
                    <a:lnTo>
                      <a:pt x="4" y="387"/>
                    </a:lnTo>
                    <a:lnTo>
                      <a:pt x="4" y="383"/>
                    </a:lnTo>
                    <a:lnTo>
                      <a:pt x="4" y="379"/>
                    </a:lnTo>
                    <a:lnTo>
                      <a:pt x="4" y="374"/>
                    </a:lnTo>
                    <a:lnTo>
                      <a:pt x="4" y="370"/>
                    </a:lnTo>
                    <a:lnTo>
                      <a:pt x="4" y="366"/>
                    </a:lnTo>
                    <a:lnTo>
                      <a:pt x="0" y="361"/>
                    </a:lnTo>
                    <a:lnTo>
                      <a:pt x="0" y="357"/>
                    </a:lnTo>
                    <a:lnTo>
                      <a:pt x="0" y="352"/>
                    </a:lnTo>
                    <a:lnTo>
                      <a:pt x="4" y="352"/>
                    </a:lnTo>
                    <a:lnTo>
                      <a:pt x="4" y="348"/>
                    </a:lnTo>
                    <a:lnTo>
                      <a:pt x="8" y="348"/>
                    </a:lnTo>
                    <a:lnTo>
                      <a:pt x="13" y="348"/>
                    </a:lnTo>
                    <a:lnTo>
                      <a:pt x="17" y="348"/>
                    </a:lnTo>
                    <a:lnTo>
                      <a:pt x="17" y="352"/>
                    </a:lnTo>
                    <a:lnTo>
                      <a:pt x="21" y="352"/>
                    </a:lnTo>
                    <a:lnTo>
                      <a:pt x="26" y="352"/>
                    </a:lnTo>
                    <a:lnTo>
                      <a:pt x="30" y="348"/>
                    </a:lnTo>
                    <a:lnTo>
                      <a:pt x="30" y="335"/>
                    </a:lnTo>
                    <a:lnTo>
                      <a:pt x="26" y="331"/>
                    </a:lnTo>
                    <a:lnTo>
                      <a:pt x="21" y="326"/>
                    </a:lnTo>
                    <a:lnTo>
                      <a:pt x="26" y="322"/>
                    </a:lnTo>
                    <a:lnTo>
                      <a:pt x="26" y="318"/>
                    </a:lnTo>
                    <a:lnTo>
                      <a:pt x="30" y="313"/>
                    </a:lnTo>
                    <a:lnTo>
                      <a:pt x="35" y="305"/>
                    </a:lnTo>
                    <a:lnTo>
                      <a:pt x="39" y="287"/>
                    </a:lnTo>
                    <a:lnTo>
                      <a:pt x="43" y="283"/>
                    </a:lnTo>
                    <a:lnTo>
                      <a:pt x="48" y="279"/>
                    </a:lnTo>
                    <a:lnTo>
                      <a:pt x="48" y="274"/>
                    </a:lnTo>
                    <a:lnTo>
                      <a:pt x="52" y="261"/>
                    </a:lnTo>
                    <a:lnTo>
                      <a:pt x="52" y="257"/>
                    </a:lnTo>
                    <a:lnTo>
                      <a:pt x="48" y="257"/>
                    </a:lnTo>
                    <a:lnTo>
                      <a:pt x="48" y="252"/>
                    </a:lnTo>
                    <a:lnTo>
                      <a:pt x="43" y="252"/>
                    </a:lnTo>
                    <a:lnTo>
                      <a:pt x="35" y="252"/>
                    </a:lnTo>
                    <a:lnTo>
                      <a:pt x="30" y="252"/>
                    </a:lnTo>
                    <a:lnTo>
                      <a:pt x="30" y="248"/>
                    </a:lnTo>
                    <a:lnTo>
                      <a:pt x="26" y="244"/>
                    </a:lnTo>
                    <a:lnTo>
                      <a:pt x="30" y="239"/>
                    </a:lnTo>
                    <a:lnTo>
                      <a:pt x="35" y="239"/>
                    </a:lnTo>
                    <a:lnTo>
                      <a:pt x="39" y="239"/>
                    </a:lnTo>
                    <a:lnTo>
                      <a:pt x="43" y="239"/>
                    </a:lnTo>
                    <a:lnTo>
                      <a:pt x="48" y="235"/>
                    </a:lnTo>
                    <a:lnTo>
                      <a:pt x="52" y="231"/>
                    </a:lnTo>
                    <a:lnTo>
                      <a:pt x="52" y="226"/>
                    </a:lnTo>
                    <a:lnTo>
                      <a:pt x="52" y="222"/>
                    </a:lnTo>
                    <a:lnTo>
                      <a:pt x="52" y="218"/>
                    </a:lnTo>
                    <a:lnTo>
                      <a:pt x="56" y="218"/>
                    </a:lnTo>
                    <a:lnTo>
                      <a:pt x="61" y="218"/>
                    </a:lnTo>
                    <a:lnTo>
                      <a:pt x="65" y="222"/>
                    </a:lnTo>
                    <a:lnTo>
                      <a:pt x="65" y="226"/>
                    </a:lnTo>
                    <a:lnTo>
                      <a:pt x="69" y="226"/>
                    </a:lnTo>
                    <a:lnTo>
                      <a:pt x="82" y="235"/>
                    </a:lnTo>
                    <a:lnTo>
                      <a:pt x="87" y="235"/>
                    </a:lnTo>
                    <a:lnTo>
                      <a:pt x="95" y="235"/>
                    </a:lnTo>
                    <a:lnTo>
                      <a:pt x="100" y="235"/>
                    </a:lnTo>
                    <a:lnTo>
                      <a:pt x="104" y="235"/>
                    </a:lnTo>
                    <a:lnTo>
                      <a:pt x="108" y="231"/>
                    </a:lnTo>
                    <a:lnTo>
                      <a:pt x="113" y="231"/>
                    </a:lnTo>
                    <a:lnTo>
                      <a:pt x="117" y="226"/>
                    </a:lnTo>
                    <a:lnTo>
                      <a:pt x="122" y="226"/>
                    </a:lnTo>
                    <a:lnTo>
                      <a:pt x="126" y="226"/>
                    </a:lnTo>
                    <a:lnTo>
                      <a:pt x="130" y="226"/>
                    </a:lnTo>
                    <a:lnTo>
                      <a:pt x="135" y="226"/>
                    </a:lnTo>
                    <a:lnTo>
                      <a:pt x="139" y="222"/>
                    </a:lnTo>
                    <a:lnTo>
                      <a:pt x="143" y="222"/>
                    </a:lnTo>
                    <a:lnTo>
                      <a:pt x="143" y="218"/>
                    </a:lnTo>
                    <a:lnTo>
                      <a:pt x="139" y="218"/>
                    </a:lnTo>
                    <a:lnTo>
                      <a:pt x="135" y="213"/>
                    </a:lnTo>
                    <a:lnTo>
                      <a:pt x="130" y="213"/>
                    </a:lnTo>
                    <a:lnTo>
                      <a:pt x="126" y="213"/>
                    </a:lnTo>
                    <a:lnTo>
                      <a:pt x="122" y="213"/>
                    </a:lnTo>
                    <a:lnTo>
                      <a:pt x="117" y="213"/>
                    </a:lnTo>
                    <a:lnTo>
                      <a:pt x="117" y="209"/>
                    </a:lnTo>
                    <a:lnTo>
                      <a:pt x="117" y="196"/>
                    </a:lnTo>
                    <a:lnTo>
                      <a:pt x="117" y="192"/>
                    </a:lnTo>
                    <a:lnTo>
                      <a:pt x="117" y="187"/>
                    </a:lnTo>
                    <a:lnTo>
                      <a:pt x="117" y="183"/>
                    </a:lnTo>
                    <a:lnTo>
                      <a:pt x="126" y="179"/>
                    </a:lnTo>
                    <a:lnTo>
                      <a:pt x="130" y="179"/>
                    </a:lnTo>
                    <a:lnTo>
                      <a:pt x="135" y="174"/>
                    </a:lnTo>
                    <a:lnTo>
                      <a:pt x="143" y="174"/>
                    </a:lnTo>
                    <a:lnTo>
                      <a:pt x="148" y="174"/>
                    </a:lnTo>
                    <a:lnTo>
                      <a:pt x="148" y="170"/>
                    </a:lnTo>
                    <a:lnTo>
                      <a:pt x="152" y="166"/>
                    </a:lnTo>
                    <a:lnTo>
                      <a:pt x="152" y="161"/>
                    </a:lnTo>
                    <a:lnTo>
                      <a:pt x="152" y="157"/>
                    </a:lnTo>
                    <a:lnTo>
                      <a:pt x="152" y="152"/>
                    </a:lnTo>
                    <a:lnTo>
                      <a:pt x="156" y="148"/>
                    </a:lnTo>
                    <a:lnTo>
                      <a:pt x="161" y="144"/>
                    </a:lnTo>
                    <a:lnTo>
                      <a:pt x="165" y="144"/>
                    </a:lnTo>
                    <a:lnTo>
                      <a:pt x="165" y="139"/>
                    </a:lnTo>
                    <a:lnTo>
                      <a:pt x="161" y="139"/>
                    </a:lnTo>
                    <a:lnTo>
                      <a:pt x="156" y="135"/>
                    </a:lnTo>
                    <a:lnTo>
                      <a:pt x="152" y="131"/>
                    </a:lnTo>
                    <a:lnTo>
                      <a:pt x="143" y="122"/>
                    </a:lnTo>
                    <a:lnTo>
                      <a:pt x="130" y="113"/>
                    </a:lnTo>
                    <a:lnTo>
                      <a:pt x="126" y="109"/>
                    </a:lnTo>
                    <a:lnTo>
                      <a:pt x="117" y="100"/>
                    </a:lnTo>
                    <a:lnTo>
                      <a:pt x="113" y="100"/>
                    </a:lnTo>
                    <a:lnTo>
                      <a:pt x="113" y="96"/>
                    </a:lnTo>
                    <a:lnTo>
                      <a:pt x="108" y="92"/>
                    </a:lnTo>
                    <a:lnTo>
                      <a:pt x="108" y="87"/>
                    </a:lnTo>
                    <a:lnTo>
                      <a:pt x="108" y="83"/>
                    </a:lnTo>
                    <a:lnTo>
                      <a:pt x="108" y="79"/>
                    </a:lnTo>
                    <a:lnTo>
                      <a:pt x="108" y="74"/>
                    </a:lnTo>
                    <a:lnTo>
                      <a:pt x="108" y="70"/>
                    </a:lnTo>
                    <a:lnTo>
                      <a:pt x="108" y="66"/>
                    </a:lnTo>
                    <a:lnTo>
                      <a:pt x="108" y="61"/>
                    </a:lnTo>
                    <a:lnTo>
                      <a:pt x="108" y="57"/>
                    </a:lnTo>
                    <a:lnTo>
                      <a:pt x="104" y="53"/>
                    </a:lnTo>
                    <a:lnTo>
                      <a:pt x="104" y="48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3" y="44"/>
                    </a:lnTo>
                    <a:lnTo>
                      <a:pt x="117" y="39"/>
                    </a:lnTo>
                    <a:lnTo>
                      <a:pt x="126" y="39"/>
                    </a:lnTo>
                    <a:lnTo>
                      <a:pt x="130" y="35"/>
                    </a:lnTo>
                    <a:lnTo>
                      <a:pt x="135" y="31"/>
                    </a:lnTo>
                    <a:lnTo>
                      <a:pt x="143" y="26"/>
                    </a:lnTo>
                    <a:lnTo>
                      <a:pt x="148" y="26"/>
                    </a:lnTo>
                    <a:lnTo>
                      <a:pt x="156" y="26"/>
                    </a:lnTo>
                    <a:lnTo>
                      <a:pt x="165" y="31"/>
                    </a:lnTo>
                    <a:lnTo>
                      <a:pt x="169" y="31"/>
                    </a:lnTo>
                    <a:lnTo>
                      <a:pt x="174" y="31"/>
                    </a:lnTo>
                    <a:lnTo>
                      <a:pt x="187" y="26"/>
                    </a:lnTo>
                    <a:lnTo>
                      <a:pt x="191" y="26"/>
                    </a:lnTo>
                    <a:lnTo>
                      <a:pt x="195" y="26"/>
                    </a:lnTo>
                    <a:lnTo>
                      <a:pt x="200" y="22"/>
                    </a:lnTo>
                    <a:lnTo>
                      <a:pt x="204" y="22"/>
                    </a:lnTo>
                    <a:lnTo>
                      <a:pt x="208" y="26"/>
                    </a:lnTo>
                    <a:lnTo>
                      <a:pt x="213" y="26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43" y="18"/>
                    </a:lnTo>
                    <a:lnTo>
                      <a:pt x="248" y="18"/>
                    </a:lnTo>
                    <a:lnTo>
                      <a:pt x="252" y="18"/>
                    </a:lnTo>
                    <a:lnTo>
                      <a:pt x="256" y="13"/>
                    </a:lnTo>
                    <a:lnTo>
                      <a:pt x="261" y="13"/>
                    </a:lnTo>
                    <a:lnTo>
                      <a:pt x="265" y="13"/>
                    </a:lnTo>
                    <a:lnTo>
                      <a:pt x="269" y="13"/>
                    </a:lnTo>
                    <a:lnTo>
                      <a:pt x="274" y="13"/>
                    </a:lnTo>
                    <a:lnTo>
                      <a:pt x="282" y="13"/>
                    </a:lnTo>
                    <a:lnTo>
                      <a:pt x="291" y="9"/>
                    </a:lnTo>
                    <a:lnTo>
                      <a:pt x="295" y="9"/>
                    </a:lnTo>
                    <a:lnTo>
                      <a:pt x="300" y="9"/>
                    </a:lnTo>
                    <a:lnTo>
                      <a:pt x="304" y="9"/>
                    </a:lnTo>
                    <a:lnTo>
                      <a:pt x="309" y="9"/>
                    </a:lnTo>
                    <a:lnTo>
                      <a:pt x="313" y="9"/>
                    </a:lnTo>
                    <a:lnTo>
                      <a:pt x="317" y="9"/>
                    </a:lnTo>
                    <a:lnTo>
                      <a:pt x="322" y="9"/>
                    </a:lnTo>
                    <a:lnTo>
                      <a:pt x="322" y="5"/>
                    </a:lnTo>
                    <a:lnTo>
                      <a:pt x="322" y="0"/>
                    </a:lnTo>
                    <a:lnTo>
                      <a:pt x="326" y="0"/>
                    </a:lnTo>
                    <a:lnTo>
                      <a:pt x="330" y="0"/>
                    </a:lnTo>
                    <a:lnTo>
                      <a:pt x="335" y="0"/>
                    </a:lnTo>
                    <a:lnTo>
                      <a:pt x="339" y="5"/>
                    </a:lnTo>
                    <a:lnTo>
                      <a:pt x="343" y="5"/>
                    </a:lnTo>
                    <a:lnTo>
                      <a:pt x="348" y="5"/>
                    </a:lnTo>
                    <a:lnTo>
                      <a:pt x="352" y="5"/>
                    </a:lnTo>
                    <a:lnTo>
                      <a:pt x="356" y="5"/>
                    </a:lnTo>
                    <a:lnTo>
                      <a:pt x="361" y="5"/>
                    </a:lnTo>
                    <a:lnTo>
                      <a:pt x="365" y="9"/>
                    </a:lnTo>
                    <a:lnTo>
                      <a:pt x="369" y="5"/>
                    </a:lnTo>
                    <a:lnTo>
                      <a:pt x="378" y="5"/>
                    </a:lnTo>
                    <a:lnTo>
                      <a:pt x="382" y="5"/>
                    </a:lnTo>
                    <a:lnTo>
                      <a:pt x="391" y="9"/>
                    </a:lnTo>
                    <a:lnTo>
                      <a:pt x="400" y="9"/>
                    </a:lnTo>
                    <a:lnTo>
                      <a:pt x="404" y="9"/>
                    </a:lnTo>
                    <a:lnTo>
                      <a:pt x="413" y="13"/>
                    </a:lnTo>
                    <a:lnTo>
                      <a:pt x="417" y="13"/>
                    </a:lnTo>
                    <a:lnTo>
                      <a:pt x="417" y="18"/>
                    </a:lnTo>
                    <a:lnTo>
                      <a:pt x="435" y="26"/>
                    </a:lnTo>
                    <a:lnTo>
                      <a:pt x="439" y="26"/>
                    </a:lnTo>
                    <a:lnTo>
                      <a:pt x="448" y="26"/>
                    </a:lnTo>
                    <a:lnTo>
                      <a:pt x="456" y="26"/>
                    </a:lnTo>
                    <a:lnTo>
                      <a:pt x="461" y="31"/>
                    </a:lnTo>
                    <a:lnTo>
                      <a:pt x="465" y="31"/>
                    </a:lnTo>
                    <a:lnTo>
                      <a:pt x="469" y="35"/>
                    </a:lnTo>
                    <a:lnTo>
                      <a:pt x="482" y="48"/>
                    </a:lnTo>
                    <a:lnTo>
                      <a:pt x="482" y="53"/>
                    </a:lnTo>
                    <a:lnTo>
                      <a:pt x="487" y="57"/>
                    </a:lnTo>
                    <a:lnTo>
                      <a:pt x="491" y="61"/>
                    </a:lnTo>
                    <a:lnTo>
                      <a:pt x="504" y="66"/>
                    </a:lnTo>
                    <a:lnTo>
                      <a:pt x="509" y="70"/>
                    </a:lnTo>
                    <a:lnTo>
                      <a:pt x="522" y="70"/>
                    </a:lnTo>
                    <a:lnTo>
                      <a:pt x="526" y="70"/>
                    </a:lnTo>
                    <a:lnTo>
                      <a:pt x="539" y="61"/>
                    </a:lnTo>
                    <a:lnTo>
                      <a:pt x="548" y="57"/>
                    </a:lnTo>
                    <a:lnTo>
                      <a:pt x="556" y="53"/>
                    </a:lnTo>
                    <a:lnTo>
                      <a:pt x="561" y="53"/>
                    </a:lnTo>
                    <a:lnTo>
                      <a:pt x="565" y="48"/>
                    </a:lnTo>
                    <a:lnTo>
                      <a:pt x="569" y="44"/>
                    </a:lnTo>
                    <a:lnTo>
                      <a:pt x="574" y="44"/>
                    </a:lnTo>
                    <a:lnTo>
                      <a:pt x="587" y="48"/>
                    </a:lnTo>
                    <a:lnTo>
                      <a:pt x="600" y="53"/>
                    </a:lnTo>
                    <a:lnTo>
                      <a:pt x="604" y="53"/>
                    </a:lnTo>
                    <a:lnTo>
                      <a:pt x="613" y="53"/>
                    </a:lnTo>
                    <a:lnTo>
                      <a:pt x="617" y="53"/>
                    </a:lnTo>
                    <a:lnTo>
                      <a:pt x="622" y="53"/>
                    </a:lnTo>
                    <a:lnTo>
                      <a:pt x="622" y="57"/>
                    </a:lnTo>
                    <a:lnTo>
                      <a:pt x="626" y="57"/>
                    </a:lnTo>
                    <a:lnTo>
                      <a:pt x="626" y="53"/>
                    </a:lnTo>
                    <a:lnTo>
                      <a:pt x="630" y="53"/>
                    </a:lnTo>
                    <a:lnTo>
                      <a:pt x="635" y="53"/>
                    </a:lnTo>
                    <a:lnTo>
                      <a:pt x="639" y="48"/>
                    </a:lnTo>
                    <a:lnTo>
                      <a:pt x="643" y="44"/>
                    </a:lnTo>
                    <a:lnTo>
                      <a:pt x="648" y="39"/>
                    </a:lnTo>
                    <a:lnTo>
                      <a:pt x="652" y="39"/>
                    </a:lnTo>
                    <a:lnTo>
                      <a:pt x="656" y="39"/>
                    </a:lnTo>
                    <a:lnTo>
                      <a:pt x="661" y="44"/>
                    </a:lnTo>
                    <a:lnTo>
                      <a:pt x="665" y="44"/>
                    </a:lnTo>
                    <a:lnTo>
                      <a:pt x="669" y="44"/>
                    </a:lnTo>
                    <a:lnTo>
                      <a:pt x="674" y="48"/>
                    </a:lnTo>
                    <a:lnTo>
                      <a:pt x="674" y="53"/>
                    </a:lnTo>
                    <a:lnTo>
                      <a:pt x="678" y="53"/>
                    </a:lnTo>
                    <a:lnTo>
                      <a:pt x="678" y="57"/>
                    </a:lnTo>
                    <a:lnTo>
                      <a:pt x="682" y="57"/>
                    </a:lnTo>
                    <a:lnTo>
                      <a:pt x="687" y="57"/>
                    </a:lnTo>
                    <a:lnTo>
                      <a:pt x="696" y="61"/>
                    </a:lnTo>
                    <a:lnTo>
                      <a:pt x="696" y="66"/>
                    </a:lnTo>
                    <a:lnTo>
                      <a:pt x="700" y="66"/>
                    </a:lnTo>
                    <a:lnTo>
                      <a:pt x="704" y="66"/>
                    </a:lnTo>
                    <a:lnTo>
                      <a:pt x="709" y="70"/>
                    </a:lnTo>
                    <a:lnTo>
                      <a:pt x="713" y="70"/>
                    </a:lnTo>
                    <a:lnTo>
                      <a:pt x="717" y="79"/>
                    </a:lnTo>
                    <a:lnTo>
                      <a:pt x="722" y="83"/>
                    </a:lnTo>
                    <a:lnTo>
                      <a:pt x="726" y="87"/>
                    </a:lnTo>
                    <a:lnTo>
                      <a:pt x="730" y="87"/>
                    </a:lnTo>
                    <a:lnTo>
                      <a:pt x="735" y="87"/>
                    </a:lnTo>
                    <a:lnTo>
                      <a:pt x="739" y="87"/>
                    </a:lnTo>
                    <a:lnTo>
                      <a:pt x="748" y="83"/>
                    </a:lnTo>
                    <a:lnTo>
                      <a:pt x="756" y="74"/>
                    </a:lnTo>
                    <a:lnTo>
                      <a:pt x="761" y="74"/>
                    </a:lnTo>
                    <a:lnTo>
                      <a:pt x="765" y="74"/>
                    </a:lnTo>
                    <a:lnTo>
                      <a:pt x="765" y="79"/>
                    </a:lnTo>
                    <a:lnTo>
                      <a:pt x="769" y="92"/>
                    </a:lnTo>
                    <a:lnTo>
                      <a:pt x="769" y="100"/>
                    </a:lnTo>
                    <a:lnTo>
                      <a:pt x="769" y="105"/>
                    </a:lnTo>
                    <a:lnTo>
                      <a:pt x="769" y="109"/>
                    </a:lnTo>
                    <a:lnTo>
                      <a:pt x="769" y="113"/>
                    </a:lnTo>
                    <a:lnTo>
                      <a:pt x="774" y="113"/>
                    </a:lnTo>
                    <a:lnTo>
                      <a:pt x="778" y="118"/>
                    </a:lnTo>
                    <a:lnTo>
                      <a:pt x="778" y="122"/>
                    </a:lnTo>
                    <a:lnTo>
                      <a:pt x="782" y="122"/>
                    </a:lnTo>
                    <a:lnTo>
                      <a:pt x="787" y="126"/>
                    </a:lnTo>
                    <a:lnTo>
                      <a:pt x="787" y="131"/>
                    </a:lnTo>
                    <a:lnTo>
                      <a:pt x="791" y="131"/>
                    </a:lnTo>
                    <a:lnTo>
                      <a:pt x="796" y="135"/>
                    </a:lnTo>
                    <a:lnTo>
                      <a:pt x="800" y="135"/>
                    </a:lnTo>
                    <a:lnTo>
                      <a:pt x="804" y="135"/>
                    </a:lnTo>
                    <a:lnTo>
                      <a:pt x="804" y="139"/>
                    </a:lnTo>
                    <a:lnTo>
                      <a:pt x="809" y="139"/>
                    </a:lnTo>
                    <a:lnTo>
                      <a:pt x="813" y="139"/>
                    </a:lnTo>
                    <a:lnTo>
                      <a:pt x="817" y="139"/>
                    </a:lnTo>
                    <a:lnTo>
                      <a:pt x="817" y="144"/>
                    </a:lnTo>
                    <a:lnTo>
                      <a:pt x="822" y="144"/>
                    </a:lnTo>
                    <a:lnTo>
                      <a:pt x="830" y="152"/>
                    </a:lnTo>
                    <a:lnTo>
                      <a:pt x="835" y="157"/>
                    </a:lnTo>
                    <a:lnTo>
                      <a:pt x="835" y="161"/>
                    </a:lnTo>
                    <a:lnTo>
                      <a:pt x="839" y="166"/>
                    </a:lnTo>
                    <a:lnTo>
                      <a:pt x="843" y="170"/>
                    </a:lnTo>
                    <a:lnTo>
                      <a:pt x="848" y="174"/>
                    </a:lnTo>
                    <a:lnTo>
                      <a:pt x="861" y="187"/>
                    </a:lnTo>
                    <a:lnTo>
                      <a:pt x="865" y="187"/>
                    </a:lnTo>
                    <a:lnTo>
                      <a:pt x="865" y="183"/>
                    </a:lnTo>
                    <a:lnTo>
                      <a:pt x="869" y="183"/>
                    </a:lnTo>
                    <a:lnTo>
                      <a:pt x="869" y="179"/>
                    </a:lnTo>
                    <a:lnTo>
                      <a:pt x="874" y="174"/>
                    </a:lnTo>
                    <a:lnTo>
                      <a:pt x="878" y="174"/>
                    </a:lnTo>
                    <a:lnTo>
                      <a:pt x="883" y="174"/>
                    </a:lnTo>
                    <a:lnTo>
                      <a:pt x="887" y="174"/>
                    </a:lnTo>
                    <a:lnTo>
                      <a:pt x="891" y="179"/>
                    </a:lnTo>
                    <a:lnTo>
                      <a:pt x="896" y="179"/>
                    </a:lnTo>
                    <a:lnTo>
                      <a:pt x="900" y="183"/>
                    </a:lnTo>
                    <a:lnTo>
                      <a:pt x="904" y="187"/>
                    </a:lnTo>
                    <a:lnTo>
                      <a:pt x="904" y="192"/>
                    </a:lnTo>
                    <a:lnTo>
                      <a:pt x="904" y="196"/>
                    </a:lnTo>
                    <a:lnTo>
                      <a:pt x="904" y="200"/>
                    </a:lnTo>
                    <a:lnTo>
                      <a:pt x="909" y="200"/>
                    </a:lnTo>
                    <a:lnTo>
                      <a:pt x="913" y="205"/>
                    </a:lnTo>
                    <a:lnTo>
                      <a:pt x="922" y="213"/>
                    </a:lnTo>
                    <a:lnTo>
                      <a:pt x="922" y="218"/>
                    </a:lnTo>
                    <a:lnTo>
                      <a:pt x="926" y="226"/>
                    </a:lnTo>
                    <a:lnTo>
                      <a:pt x="930" y="235"/>
                    </a:lnTo>
                    <a:lnTo>
                      <a:pt x="930" y="239"/>
                    </a:lnTo>
                    <a:lnTo>
                      <a:pt x="930" y="244"/>
                    </a:lnTo>
                    <a:lnTo>
                      <a:pt x="930" y="248"/>
                    </a:lnTo>
                    <a:lnTo>
                      <a:pt x="926" y="252"/>
                    </a:lnTo>
                    <a:lnTo>
                      <a:pt x="930" y="252"/>
                    </a:lnTo>
                    <a:lnTo>
                      <a:pt x="935" y="257"/>
                    </a:lnTo>
                    <a:lnTo>
                      <a:pt x="943" y="266"/>
                    </a:lnTo>
                    <a:lnTo>
                      <a:pt x="943" y="270"/>
                    </a:lnTo>
                    <a:lnTo>
                      <a:pt x="943" y="274"/>
                    </a:lnTo>
                    <a:lnTo>
                      <a:pt x="943" y="279"/>
                    </a:lnTo>
                    <a:lnTo>
                      <a:pt x="943" y="283"/>
                    </a:lnTo>
                    <a:lnTo>
                      <a:pt x="943" y="287"/>
                    </a:lnTo>
                    <a:lnTo>
                      <a:pt x="948" y="287"/>
                    </a:lnTo>
                    <a:lnTo>
                      <a:pt x="956" y="292"/>
                    </a:lnTo>
                    <a:lnTo>
                      <a:pt x="956" y="296"/>
                    </a:lnTo>
                    <a:lnTo>
                      <a:pt x="956" y="300"/>
                    </a:lnTo>
                    <a:lnTo>
                      <a:pt x="956" y="305"/>
                    </a:lnTo>
                    <a:lnTo>
                      <a:pt x="952" y="305"/>
                    </a:lnTo>
                    <a:lnTo>
                      <a:pt x="952" y="309"/>
                    </a:lnTo>
                    <a:lnTo>
                      <a:pt x="956" y="309"/>
                    </a:lnTo>
                    <a:lnTo>
                      <a:pt x="961" y="313"/>
                    </a:lnTo>
                    <a:lnTo>
                      <a:pt x="965" y="318"/>
                    </a:lnTo>
                    <a:lnTo>
                      <a:pt x="961" y="322"/>
                    </a:lnTo>
                    <a:lnTo>
                      <a:pt x="961" y="326"/>
                    </a:lnTo>
                    <a:lnTo>
                      <a:pt x="956" y="331"/>
                    </a:lnTo>
                    <a:lnTo>
                      <a:pt x="961" y="335"/>
                    </a:lnTo>
                    <a:lnTo>
                      <a:pt x="961" y="348"/>
                    </a:lnTo>
                    <a:lnTo>
                      <a:pt x="961" y="352"/>
                    </a:lnTo>
                    <a:lnTo>
                      <a:pt x="956" y="352"/>
                    </a:lnTo>
                    <a:lnTo>
                      <a:pt x="952" y="352"/>
                    </a:lnTo>
                    <a:lnTo>
                      <a:pt x="948" y="366"/>
                    </a:lnTo>
                    <a:lnTo>
                      <a:pt x="948" y="370"/>
                    </a:lnTo>
                    <a:lnTo>
                      <a:pt x="948" y="374"/>
                    </a:lnTo>
                    <a:lnTo>
                      <a:pt x="948" y="379"/>
                    </a:lnTo>
                    <a:lnTo>
                      <a:pt x="943" y="379"/>
                    </a:lnTo>
                    <a:lnTo>
                      <a:pt x="939" y="374"/>
                    </a:lnTo>
                    <a:lnTo>
                      <a:pt x="939" y="370"/>
                    </a:lnTo>
                    <a:lnTo>
                      <a:pt x="935" y="366"/>
                    </a:lnTo>
                    <a:lnTo>
                      <a:pt x="930" y="361"/>
                    </a:lnTo>
                    <a:lnTo>
                      <a:pt x="930" y="366"/>
                    </a:lnTo>
                    <a:lnTo>
                      <a:pt x="926" y="366"/>
                    </a:lnTo>
                    <a:lnTo>
                      <a:pt x="930" y="370"/>
                    </a:lnTo>
                    <a:lnTo>
                      <a:pt x="930" y="374"/>
                    </a:lnTo>
                    <a:lnTo>
                      <a:pt x="930" y="379"/>
                    </a:lnTo>
                    <a:lnTo>
                      <a:pt x="926" y="379"/>
                    </a:lnTo>
                    <a:lnTo>
                      <a:pt x="926" y="383"/>
                    </a:lnTo>
                    <a:lnTo>
                      <a:pt x="922" y="379"/>
                    </a:lnTo>
                    <a:lnTo>
                      <a:pt x="917" y="379"/>
                    </a:lnTo>
                    <a:lnTo>
                      <a:pt x="913" y="383"/>
                    </a:lnTo>
                    <a:lnTo>
                      <a:pt x="909" y="392"/>
                    </a:lnTo>
                    <a:lnTo>
                      <a:pt x="913" y="396"/>
                    </a:lnTo>
                    <a:lnTo>
                      <a:pt x="913" y="400"/>
                    </a:lnTo>
                    <a:lnTo>
                      <a:pt x="917" y="405"/>
                    </a:lnTo>
                    <a:lnTo>
                      <a:pt x="917" y="409"/>
                    </a:lnTo>
                    <a:lnTo>
                      <a:pt x="917" y="413"/>
                    </a:lnTo>
                    <a:lnTo>
                      <a:pt x="904" y="422"/>
                    </a:lnTo>
                    <a:lnTo>
                      <a:pt x="900" y="422"/>
                    </a:lnTo>
                    <a:lnTo>
                      <a:pt x="900" y="426"/>
                    </a:lnTo>
                    <a:lnTo>
                      <a:pt x="891" y="426"/>
                    </a:lnTo>
                    <a:lnTo>
                      <a:pt x="887" y="426"/>
                    </a:lnTo>
                    <a:lnTo>
                      <a:pt x="883" y="431"/>
                    </a:lnTo>
                    <a:lnTo>
                      <a:pt x="883" y="435"/>
                    </a:lnTo>
                    <a:lnTo>
                      <a:pt x="883" y="439"/>
                    </a:lnTo>
                    <a:lnTo>
                      <a:pt x="883" y="444"/>
                    </a:lnTo>
                    <a:lnTo>
                      <a:pt x="883" y="457"/>
                    </a:lnTo>
                    <a:lnTo>
                      <a:pt x="883" y="461"/>
                    </a:lnTo>
                    <a:lnTo>
                      <a:pt x="887" y="466"/>
                    </a:lnTo>
                    <a:lnTo>
                      <a:pt x="887" y="470"/>
                    </a:lnTo>
                    <a:lnTo>
                      <a:pt x="883" y="470"/>
                    </a:lnTo>
                    <a:lnTo>
                      <a:pt x="883" y="479"/>
                    </a:lnTo>
                    <a:lnTo>
                      <a:pt x="878" y="479"/>
                    </a:lnTo>
                    <a:lnTo>
                      <a:pt x="874" y="487"/>
                    </a:lnTo>
                    <a:lnTo>
                      <a:pt x="874" y="492"/>
                    </a:lnTo>
                    <a:lnTo>
                      <a:pt x="869" y="492"/>
                    </a:lnTo>
                    <a:lnTo>
                      <a:pt x="869" y="487"/>
                    </a:lnTo>
                    <a:lnTo>
                      <a:pt x="861" y="487"/>
                    </a:lnTo>
                    <a:lnTo>
                      <a:pt x="856" y="487"/>
                    </a:lnTo>
                    <a:lnTo>
                      <a:pt x="843" y="483"/>
                    </a:lnTo>
                    <a:lnTo>
                      <a:pt x="839" y="479"/>
                    </a:lnTo>
                    <a:lnTo>
                      <a:pt x="835" y="479"/>
                    </a:lnTo>
                    <a:lnTo>
                      <a:pt x="830" y="474"/>
                    </a:lnTo>
                    <a:lnTo>
                      <a:pt x="830" y="470"/>
                    </a:lnTo>
                    <a:lnTo>
                      <a:pt x="830" y="466"/>
                    </a:lnTo>
                    <a:lnTo>
                      <a:pt x="826" y="461"/>
                    </a:lnTo>
                    <a:lnTo>
                      <a:pt x="822" y="466"/>
                    </a:lnTo>
                    <a:lnTo>
                      <a:pt x="817" y="466"/>
                    </a:lnTo>
                    <a:lnTo>
                      <a:pt x="817" y="470"/>
                    </a:lnTo>
                    <a:lnTo>
                      <a:pt x="817" y="479"/>
                    </a:lnTo>
                    <a:lnTo>
                      <a:pt x="813" y="483"/>
                    </a:lnTo>
                    <a:lnTo>
                      <a:pt x="813" y="487"/>
                    </a:lnTo>
                    <a:lnTo>
                      <a:pt x="813" y="492"/>
                    </a:lnTo>
                    <a:lnTo>
                      <a:pt x="817" y="496"/>
                    </a:lnTo>
                    <a:lnTo>
                      <a:pt x="822" y="500"/>
                    </a:lnTo>
                    <a:lnTo>
                      <a:pt x="826" y="500"/>
                    </a:lnTo>
                    <a:lnTo>
                      <a:pt x="830" y="500"/>
                    </a:lnTo>
                    <a:lnTo>
                      <a:pt x="835" y="500"/>
                    </a:lnTo>
                    <a:lnTo>
                      <a:pt x="839" y="500"/>
                    </a:lnTo>
                    <a:lnTo>
                      <a:pt x="848" y="500"/>
                    </a:lnTo>
                    <a:lnTo>
                      <a:pt x="852" y="500"/>
                    </a:lnTo>
                    <a:lnTo>
                      <a:pt x="852" y="505"/>
                    </a:lnTo>
                    <a:lnTo>
                      <a:pt x="865" y="509"/>
                    </a:lnTo>
                    <a:lnTo>
                      <a:pt x="869" y="513"/>
                    </a:lnTo>
                    <a:lnTo>
                      <a:pt x="874" y="518"/>
                    </a:lnTo>
                    <a:lnTo>
                      <a:pt x="874" y="526"/>
                    </a:lnTo>
                    <a:lnTo>
                      <a:pt x="874" y="539"/>
                    </a:lnTo>
                    <a:lnTo>
                      <a:pt x="878" y="544"/>
                    </a:lnTo>
                    <a:lnTo>
                      <a:pt x="878" y="552"/>
                    </a:lnTo>
                    <a:lnTo>
                      <a:pt x="878" y="557"/>
                    </a:lnTo>
                    <a:lnTo>
                      <a:pt x="878" y="566"/>
                    </a:lnTo>
                    <a:lnTo>
                      <a:pt x="874" y="574"/>
                    </a:lnTo>
                    <a:lnTo>
                      <a:pt x="874" y="583"/>
                    </a:lnTo>
                    <a:lnTo>
                      <a:pt x="869" y="583"/>
                    </a:lnTo>
                    <a:lnTo>
                      <a:pt x="865" y="587"/>
                    </a:lnTo>
                    <a:lnTo>
                      <a:pt x="861" y="587"/>
                    </a:lnTo>
                    <a:lnTo>
                      <a:pt x="856" y="583"/>
                    </a:lnTo>
                    <a:lnTo>
                      <a:pt x="856" y="579"/>
                    </a:lnTo>
                    <a:lnTo>
                      <a:pt x="852" y="570"/>
                    </a:lnTo>
                    <a:lnTo>
                      <a:pt x="848" y="566"/>
                    </a:lnTo>
                    <a:lnTo>
                      <a:pt x="839" y="561"/>
                    </a:lnTo>
                    <a:lnTo>
                      <a:pt x="835" y="566"/>
                    </a:lnTo>
                    <a:lnTo>
                      <a:pt x="835" y="570"/>
                    </a:lnTo>
                    <a:lnTo>
                      <a:pt x="830" y="570"/>
                    </a:lnTo>
                    <a:lnTo>
                      <a:pt x="830" y="574"/>
                    </a:lnTo>
                    <a:lnTo>
                      <a:pt x="826" y="574"/>
                    </a:lnTo>
                    <a:lnTo>
                      <a:pt x="826" y="579"/>
                    </a:lnTo>
                    <a:lnTo>
                      <a:pt x="822" y="587"/>
                    </a:lnTo>
                    <a:lnTo>
                      <a:pt x="822" y="592"/>
                    </a:lnTo>
                    <a:lnTo>
                      <a:pt x="822" y="596"/>
                    </a:lnTo>
                    <a:lnTo>
                      <a:pt x="826" y="600"/>
                    </a:lnTo>
                    <a:lnTo>
                      <a:pt x="826" y="605"/>
                    </a:lnTo>
                    <a:lnTo>
                      <a:pt x="826" y="609"/>
                    </a:lnTo>
                    <a:lnTo>
                      <a:pt x="826" y="613"/>
                    </a:lnTo>
                    <a:lnTo>
                      <a:pt x="822" y="618"/>
                    </a:lnTo>
                    <a:lnTo>
                      <a:pt x="804" y="622"/>
                    </a:lnTo>
                    <a:lnTo>
                      <a:pt x="800" y="618"/>
                    </a:lnTo>
                    <a:lnTo>
                      <a:pt x="787" y="613"/>
                    </a:lnTo>
                    <a:lnTo>
                      <a:pt x="787" y="622"/>
                    </a:lnTo>
                    <a:lnTo>
                      <a:pt x="782" y="626"/>
                    </a:lnTo>
                    <a:lnTo>
                      <a:pt x="778" y="626"/>
                    </a:lnTo>
                    <a:lnTo>
                      <a:pt x="778" y="622"/>
                    </a:lnTo>
                    <a:lnTo>
                      <a:pt x="774" y="618"/>
                    </a:lnTo>
                    <a:lnTo>
                      <a:pt x="769" y="609"/>
                    </a:lnTo>
                    <a:lnTo>
                      <a:pt x="756" y="609"/>
                    </a:lnTo>
                    <a:lnTo>
                      <a:pt x="756" y="613"/>
                    </a:lnTo>
                    <a:lnTo>
                      <a:pt x="752" y="613"/>
                    </a:lnTo>
                    <a:lnTo>
                      <a:pt x="752" y="618"/>
                    </a:lnTo>
                    <a:lnTo>
                      <a:pt x="748" y="618"/>
                    </a:lnTo>
                    <a:lnTo>
                      <a:pt x="743" y="613"/>
                    </a:lnTo>
                    <a:lnTo>
                      <a:pt x="748" y="613"/>
                    </a:lnTo>
                    <a:lnTo>
                      <a:pt x="748" y="609"/>
                    </a:lnTo>
                    <a:lnTo>
                      <a:pt x="748" y="605"/>
                    </a:lnTo>
                    <a:lnTo>
                      <a:pt x="748" y="600"/>
                    </a:lnTo>
                    <a:lnTo>
                      <a:pt x="743" y="592"/>
                    </a:lnTo>
                    <a:lnTo>
                      <a:pt x="739" y="592"/>
                    </a:lnTo>
                    <a:lnTo>
                      <a:pt x="730" y="596"/>
                    </a:lnTo>
                    <a:lnTo>
                      <a:pt x="726" y="600"/>
                    </a:lnTo>
                    <a:lnTo>
                      <a:pt x="726" y="605"/>
                    </a:lnTo>
                    <a:lnTo>
                      <a:pt x="726" y="609"/>
                    </a:lnTo>
                    <a:lnTo>
                      <a:pt x="726" y="613"/>
                    </a:lnTo>
                    <a:lnTo>
                      <a:pt x="722" y="613"/>
                    </a:lnTo>
                    <a:lnTo>
                      <a:pt x="709" y="609"/>
                    </a:lnTo>
                    <a:lnTo>
                      <a:pt x="700" y="609"/>
                    </a:lnTo>
                    <a:lnTo>
                      <a:pt x="687" y="592"/>
                    </a:lnTo>
                    <a:lnTo>
                      <a:pt x="682" y="587"/>
                    </a:lnTo>
                    <a:lnTo>
                      <a:pt x="682" y="583"/>
                    </a:lnTo>
                    <a:lnTo>
                      <a:pt x="678" y="579"/>
                    </a:lnTo>
                    <a:lnTo>
                      <a:pt x="674" y="574"/>
                    </a:lnTo>
                    <a:lnTo>
                      <a:pt x="669" y="574"/>
                    </a:lnTo>
                    <a:lnTo>
                      <a:pt x="661" y="570"/>
                    </a:lnTo>
                    <a:lnTo>
                      <a:pt x="656" y="566"/>
                    </a:lnTo>
                    <a:lnTo>
                      <a:pt x="656" y="561"/>
                    </a:lnTo>
                    <a:lnTo>
                      <a:pt x="652" y="557"/>
                    </a:lnTo>
                    <a:lnTo>
                      <a:pt x="652" y="548"/>
                    </a:lnTo>
                    <a:lnTo>
                      <a:pt x="652" y="539"/>
                    </a:lnTo>
                    <a:lnTo>
                      <a:pt x="648" y="535"/>
                    </a:lnTo>
                    <a:lnTo>
                      <a:pt x="643" y="526"/>
                    </a:lnTo>
                    <a:lnTo>
                      <a:pt x="643" y="522"/>
                    </a:lnTo>
                    <a:lnTo>
                      <a:pt x="643" y="518"/>
                    </a:lnTo>
                    <a:lnTo>
                      <a:pt x="639" y="513"/>
                    </a:lnTo>
                    <a:lnTo>
                      <a:pt x="635" y="509"/>
                    </a:lnTo>
                    <a:lnTo>
                      <a:pt x="630" y="505"/>
                    </a:lnTo>
                    <a:lnTo>
                      <a:pt x="626" y="505"/>
                    </a:lnTo>
                    <a:lnTo>
                      <a:pt x="622" y="505"/>
                    </a:lnTo>
                    <a:lnTo>
                      <a:pt x="617" y="505"/>
                    </a:lnTo>
                    <a:lnTo>
                      <a:pt x="617" y="500"/>
                    </a:lnTo>
                    <a:lnTo>
                      <a:pt x="617" y="496"/>
                    </a:lnTo>
                    <a:lnTo>
                      <a:pt x="613" y="496"/>
                    </a:lnTo>
                    <a:lnTo>
                      <a:pt x="604" y="492"/>
                    </a:lnTo>
                    <a:lnTo>
                      <a:pt x="600" y="492"/>
                    </a:lnTo>
                    <a:lnTo>
                      <a:pt x="596" y="496"/>
                    </a:lnTo>
                    <a:lnTo>
                      <a:pt x="591" y="496"/>
                    </a:lnTo>
                    <a:lnTo>
                      <a:pt x="591" y="500"/>
                    </a:lnTo>
                    <a:lnTo>
                      <a:pt x="587" y="500"/>
                    </a:lnTo>
                    <a:lnTo>
                      <a:pt x="582" y="500"/>
                    </a:lnTo>
                    <a:lnTo>
                      <a:pt x="578" y="505"/>
                    </a:lnTo>
                    <a:lnTo>
                      <a:pt x="578" y="509"/>
                    </a:lnTo>
                    <a:lnTo>
                      <a:pt x="587" y="518"/>
                    </a:lnTo>
                    <a:lnTo>
                      <a:pt x="587" y="522"/>
                    </a:lnTo>
                    <a:lnTo>
                      <a:pt x="587" y="526"/>
                    </a:lnTo>
                    <a:lnTo>
                      <a:pt x="587" y="535"/>
                    </a:lnTo>
                    <a:lnTo>
                      <a:pt x="587" y="539"/>
                    </a:lnTo>
                    <a:lnTo>
                      <a:pt x="578" y="544"/>
                    </a:lnTo>
                    <a:lnTo>
                      <a:pt x="574" y="548"/>
                    </a:lnTo>
                    <a:lnTo>
                      <a:pt x="574" y="552"/>
                    </a:lnTo>
                    <a:lnTo>
                      <a:pt x="574" y="557"/>
                    </a:lnTo>
                    <a:lnTo>
                      <a:pt x="569" y="557"/>
                    </a:lnTo>
                    <a:lnTo>
                      <a:pt x="569" y="561"/>
                    </a:lnTo>
                    <a:lnTo>
                      <a:pt x="561" y="557"/>
                    </a:lnTo>
                    <a:lnTo>
                      <a:pt x="561" y="561"/>
                    </a:lnTo>
                    <a:lnTo>
                      <a:pt x="556" y="570"/>
                    </a:lnTo>
                    <a:lnTo>
                      <a:pt x="556" y="574"/>
                    </a:lnTo>
                    <a:lnTo>
                      <a:pt x="561" y="583"/>
                    </a:lnTo>
                    <a:lnTo>
                      <a:pt x="561" y="587"/>
                    </a:lnTo>
                    <a:lnTo>
                      <a:pt x="556" y="587"/>
                    </a:lnTo>
                    <a:lnTo>
                      <a:pt x="548" y="59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ulim" pitchFamily="34" charset="-127"/>
                    <a:cs typeface="Arial" panose="020B0604020202020204" pitchFamily="34" charset="0"/>
                  </a:rPr>
                  <a:t>  </a:t>
                </a: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4" name="Freeform 33">
                <a:extLst>
                  <a:ext uri="{FF2B5EF4-FFF2-40B4-BE49-F238E27FC236}">
                    <a16:creationId xmlns:a16="http://schemas.microsoft.com/office/drawing/2014/main" id="{77BDB80D-D319-1318-D2B0-78745C5CA0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4330" y="3490242"/>
                <a:ext cx="2567214" cy="1435100"/>
              </a:xfrm>
              <a:custGeom>
                <a:avLst/>
                <a:gdLst>
                  <a:gd name="T0" fmla="*/ 769 w 1478"/>
                  <a:gd name="T1" fmla="*/ 769 h 865"/>
                  <a:gd name="T2" fmla="*/ 700 w 1478"/>
                  <a:gd name="T3" fmla="*/ 813 h 865"/>
                  <a:gd name="T4" fmla="*/ 661 w 1478"/>
                  <a:gd name="T5" fmla="*/ 830 h 865"/>
                  <a:gd name="T6" fmla="*/ 634 w 1478"/>
                  <a:gd name="T7" fmla="*/ 778 h 865"/>
                  <a:gd name="T8" fmla="*/ 582 w 1478"/>
                  <a:gd name="T9" fmla="*/ 778 h 865"/>
                  <a:gd name="T10" fmla="*/ 517 w 1478"/>
                  <a:gd name="T11" fmla="*/ 743 h 865"/>
                  <a:gd name="T12" fmla="*/ 469 w 1478"/>
                  <a:gd name="T13" fmla="*/ 743 h 865"/>
                  <a:gd name="T14" fmla="*/ 408 w 1478"/>
                  <a:gd name="T15" fmla="*/ 704 h 865"/>
                  <a:gd name="T16" fmla="*/ 373 w 1478"/>
                  <a:gd name="T17" fmla="*/ 661 h 865"/>
                  <a:gd name="T18" fmla="*/ 343 w 1478"/>
                  <a:gd name="T19" fmla="*/ 595 h 865"/>
                  <a:gd name="T20" fmla="*/ 269 w 1478"/>
                  <a:gd name="T21" fmla="*/ 543 h 865"/>
                  <a:gd name="T22" fmla="*/ 191 w 1478"/>
                  <a:gd name="T23" fmla="*/ 456 h 865"/>
                  <a:gd name="T24" fmla="*/ 143 w 1478"/>
                  <a:gd name="T25" fmla="*/ 474 h 865"/>
                  <a:gd name="T26" fmla="*/ 100 w 1478"/>
                  <a:gd name="T27" fmla="*/ 417 h 865"/>
                  <a:gd name="T28" fmla="*/ 39 w 1478"/>
                  <a:gd name="T29" fmla="*/ 348 h 865"/>
                  <a:gd name="T30" fmla="*/ 8 w 1478"/>
                  <a:gd name="T31" fmla="*/ 287 h 865"/>
                  <a:gd name="T32" fmla="*/ 8 w 1478"/>
                  <a:gd name="T33" fmla="*/ 204 h 865"/>
                  <a:gd name="T34" fmla="*/ 43 w 1478"/>
                  <a:gd name="T35" fmla="*/ 235 h 865"/>
                  <a:gd name="T36" fmla="*/ 91 w 1478"/>
                  <a:gd name="T37" fmla="*/ 182 h 865"/>
                  <a:gd name="T38" fmla="*/ 69 w 1478"/>
                  <a:gd name="T39" fmla="*/ 113 h 865"/>
                  <a:gd name="T40" fmla="*/ 95 w 1478"/>
                  <a:gd name="T41" fmla="*/ 69 h 865"/>
                  <a:gd name="T42" fmla="*/ 152 w 1478"/>
                  <a:gd name="T43" fmla="*/ 78 h 865"/>
                  <a:gd name="T44" fmla="*/ 191 w 1478"/>
                  <a:gd name="T45" fmla="*/ 21 h 865"/>
                  <a:gd name="T46" fmla="*/ 265 w 1478"/>
                  <a:gd name="T47" fmla="*/ 30 h 865"/>
                  <a:gd name="T48" fmla="*/ 304 w 1478"/>
                  <a:gd name="T49" fmla="*/ 56 h 865"/>
                  <a:gd name="T50" fmla="*/ 365 w 1478"/>
                  <a:gd name="T51" fmla="*/ 35 h 865"/>
                  <a:gd name="T52" fmla="*/ 430 w 1478"/>
                  <a:gd name="T53" fmla="*/ 52 h 865"/>
                  <a:gd name="T54" fmla="*/ 491 w 1478"/>
                  <a:gd name="T55" fmla="*/ 74 h 865"/>
                  <a:gd name="T56" fmla="*/ 595 w 1478"/>
                  <a:gd name="T57" fmla="*/ 69 h 865"/>
                  <a:gd name="T58" fmla="*/ 674 w 1478"/>
                  <a:gd name="T59" fmla="*/ 48 h 865"/>
                  <a:gd name="T60" fmla="*/ 743 w 1478"/>
                  <a:gd name="T61" fmla="*/ 43 h 865"/>
                  <a:gd name="T62" fmla="*/ 817 w 1478"/>
                  <a:gd name="T63" fmla="*/ 78 h 865"/>
                  <a:gd name="T64" fmla="*/ 865 w 1478"/>
                  <a:gd name="T65" fmla="*/ 108 h 865"/>
                  <a:gd name="T66" fmla="*/ 869 w 1478"/>
                  <a:gd name="T67" fmla="*/ 152 h 865"/>
                  <a:gd name="T68" fmla="*/ 839 w 1478"/>
                  <a:gd name="T69" fmla="*/ 217 h 865"/>
                  <a:gd name="T70" fmla="*/ 830 w 1478"/>
                  <a:gd name="T71" fmla="*/ 265 h 865"/>
                  <a:gd name="T72" fmla="*/ 874 w 1478"/>
                  <a:gd name="T73" fmla="*/ 369 h 865"/>
                  <a:gd name="T74" fmla="*/ 956 w 1478"/>
                  <a:gd name="T75" fmla="*/ 391 h 865"/>
                  <a:gd name="T76" fmla="*/ 1034 w 1478"/>
                  <a:gd name="T77" fmla="*/ 426 h 865"/>
                  <a:gd name="T78" fmla="*/ 1135 w 1478"/>
                  <a:gd name="T79" fmla="*/ 456 h 865"/>
                  <a:gd name="T80" fmla="*/ 1191 w 1478"/>
                  <a:gd name="T81" fmla="*/ 478 h 865"/>
                  <a:gd name="T82" fmla="*/ 1230 w 1478"/>
                  <a:gd name="T83" fmla="*/ 508 h 865"/>
                  <a:gd name="T84" fmla="*/ 1269 w 1478"/>
                  <a:gd name="T85" fmla="*/ 548 h 865"/>
                  <a:gd name="T86" fmla="*/ 1330 w 1478"/>
                  <a:gd name="T87" fmla="*/ 526 h 865"/>
                  <a:gd name="T88" fmla="*/ 1352 w 1478"/>
                  <a:gd name="T89" fmla="*/ 474 h 865"/>
                  <a:gd name="T90" fmla="*/ 1417 w 1478"/>
                  <a:gd name="T91" fmla="*/ 491 h 865"/>
                  <a:gd name="T92" fmla="*/ 1474 w 1478"/>
                  <a:gd name="T93" fmla="*/ 591 h 865"/>
                  <a:gd name="T94" fmla="*/ 1469 w 1478"/>
                  <a:gd name="T95" fmla="*/ 639 h 865"/>
                  <a:gd name="T96" fmla="*/ 1469 w 1478"/>
                  <a:gd name="T97" fmla="*/ 739 h 865"/>
                  <a:gd name="T98" fmla="*/ 1465 w 1478"/>
                  <a:gd name="T99" fmla="*/ 795 h 865"/>
                  <a:gd name="T100" fmla="*/ 1439 w 1478"/>
                  <a:gd name="T101" fmla="*/ 813 h 865"/>
                  <a:gd name="T102" fmla="*/ 1413 w 1478"/>
                  <a:gd name="T103" fmla="*/ 856 h 865"/>
                  <a:gd name="T104" fmla="*/ 1365 w 1478"/>
                  <a:gd name="T105" fmla="*/ 839 h 865"/>
                  <a:gd name="T106" fmla="*/ 1313 w 1478"/>
                  <a:gd name="T107" fmla="*/ 839 h 865"/>
                  <a:gd name="T108" fmla="*/ 1278 w 1478"/>
                  <a:gd name="T109" fmla="*/ 791 h 865"/>
                  <a:gd name="T110" fmla="*/ 1269 w 1478"/>
                  <a:gd name="T111" fmla="*/ 756 h 865"/>
                  <a:gd name="T112" fmla="*/ 1204 w 1478"/>
                  <a:gd name="T113" fmla="*/ 761 h 865"/>
                  <a:gd name="T114" fmla="*/ 1117 w 1478"/>
                  <a:gd name="T115" fmla="*/ 743 h 865"/>
                  <a:gd name="T116" fmla="*/ 1052 w 1478"/>
                  <a:gd name="T117" fmla="*/ 787 h 865"/>
                  <a:gd name="T118" fmla="*/ 991 w 1478"/>
                  <a:gd name="T119" fmla="*/ 813 h 865"/>
                  <a:gd name="T120" fmla="*/ 939 w 1478"/>
                  <a:gd name="T121" fmla="*/ 839 h 865"/>
                  <a:gd name="T122" fmla="*/ 882 w 1478"/>
                  <a:gd name="T123" fmla="*/ 821 h 865"/>
                  <a:gd name="T124" fmla="*/ 834 w 1478"/>
                  <a:gd name="T125" fmla="*/ 808 h 8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78" h="865">
                    <a:moveTo>
                      <a:pt x="808" y="800"/>
                    </a:moveTo>
                    <a:lnTo>
                      <a:pt x="804" y="800"/>
                    </a:lnTo>
                    <a:lnTo>
                      <a:pt x="800" y="800"/>
                    </a:lnTo>
                    <a:lnTo>
                      <a:pt x="795" y="795"/>
                    </a:lnTo>
                    <a:lnTo>
                      <a:pt x="791" y="795"/>
                    </a:lnTo>
                    <a:lnTo>
                      <a:pt x="795" y="791"/>
                    </a:lnTo>
                    <a:lnTo>
                      <a:pt x="800" y="787"/>
                    </a:lnTo>
                    <a:lnTo>
                      <a:pt x="800" y="782"/>
                    </a:lnTo>
                    <a:lnTo>
                      <a:pt x="795" y="782"/>
                    </a:lnTo>
                    <a:lnTo>
                      <a:pt x="791" y="782"/>
                    </a:lnTo>
                    <a:lnTo>
                      <a:pt x="791" y="778"/>
                    </a:lnTo>
                    <a:lnTo>
                      <a:pt x="787" y="778"/>
                    </a:lnTo>
                    <a:lnTo>
                      <a:pt x="782" y="774"/>
                    </a:lnTo>
                    <a:lnTo>
                      <a:pt x="769" y="769"/>
                    </a:lnTo>
                    <a:lnTo>
                      <a:pt x="756" y="774"/>
                    </a:lnTo>
                    <a:lnTo>
                      <a:pt x="752" y="778"/>
                    </a:lnTo>
                    <a:lnTo>
                      <a:pt x="747" y="782"/>
                    </a:lnTo>
                    <a:lnTo>
                      <a:pt x="743" y="778"/>
                    </a:lnTo>
                    <a:lnTo>
                      <a:pt x="739" y="782"/>
                    </a:lnTo>
                    <a:lnTo>
                      <a:pt x="734" y="782"/>
                    </a:lnTo>
                    <a:lnTo>
                      <a:pt x="726" y="787"/>
                    </a:lnTo>
                    <a:lnTo>
                      <a:pt x="721" y="791"/>
                    </a:lnTo>
                    <a:lnTo>
                      <a:pt x="717" y="795"/>
                    </a:lnTo>
                    <a:lnTo>
                      <a:pt x="717" y="800"/>
                    </a:lnTo>
                    <a:lnTo>
                      <a:pt x="713" y="800"/>
                    </a:lnTo>
                    <a:lnTo>
                      <a:pt x="704" y="804"/>
                    </a:lnTo>
                    <a:lnTo>
                      <a:pt x="700" y="808"/>
                    </a:lnTo>
                    <a:lnTo>
                      <a:pt x="700" y="813"/>
                    </a:lnTo>
                    <a:lnTo>
                      <a:pt x="695" y="813"/>
                    </a:lnTo>
                    <a:lnTo>
                      <a:pt x="695" y="817"/>
                    </a:lnTo>
                    <a:lnTo>
                      <a:pt x="691" y="821"/>
                    </a:lnTo>
                    <a:lnTo>
                      <a:pt x="691" y="826"/>
                    </a:lnTo>
                    <a:lnTo>
                      <a:pt x="687" y="826"/>
                    </a:lnTo>
                    <a:lnTo>
                      <a:pt x="682" y="826"/>
                    </a:lnTo>
                    <a:lnTo>
                      <a:pt x="678" y="830"/>
                    </a:lnTo>
                    <a:lnTo>
                      <a:pt x="674" y="835"/>
                    </a:lnTo>
                    <a:lnTo>
                      <a:pt x="674" y="839"/>
                    </a:lnTo>
                    <a:lnTo>
                      <a:pt x="669" y="839"/>
                    </a:lnTo>
                    <a:lnTo>
                      <a:pt x="669" y="843"/>
                    </a:lnTo>
                    <a:lnTo>
                      <a:pt x="665" y="835"/>
                    </a:lnTo>
                    <a:lnTo>
                      <a:pt x="661" y="835"/>
                    </a:lnTo>
                    <a:lnTo>
                      <a:pt x="661" y="830"/>
                    </a:lnTo>
                    <a:lnTo>
                      <a:pt x="661" y="821"/>
                    </a:lnTo>
                    <a:lnTo>
                      <a:pt x="665" y="817"/>
                    </a:lnTo>
                    <a:lnTo>
                      <a:pt x="669" y="813"/>
                    </a:lnTo>
                    <a:lnTo>
                      <a:pt x="674" y="808"/>
                    </a:lnTo>
                    <a:lnTo>
                      <a:pt x="678" y="795"/>
                    </a:lnTo>
                    <a:lnTo>
                      <a:pt x="678" y="791"/>
                    </a:lnTo>
                    <a:lnTo>
                      <a:pt x="674" y="782"/>
                    </a:lnTo>
                    <a:lnTo>
                      <a:pt x="669" y="778"/>
                    </a:lnTo>
                    <a:lnTo>
                      <a:pt x="669" y="774"/>
                    </a:lnTo>
                    <a:lnTo>
                      <a:pt x="661" y="769"/>
                    </a:lnTo>
                    <a:lnTo>
                      <a:pt x="656" y="774"/>
                    </a:lnTo>
                    <a:lnTo>
                      <a:pt x="652" y="774"/>
                    </a:lnTo>
                    <a:lnTo>
                      <a:pt x="639" y="778"/>
                    </a:lnTo>
                    <a:lnTo>
                      <a:pt x="634" y="778"/>
                    </a:lnTo>
                    <a:lnTo>
                      <a:pt x="621" y="778"/>
                    </a:lnTo>
                    <a:lnTo>
                      <a:pt x="617" y="778"/>
                    </a:lnTo>
                    <a:lnTo>
                      <a:pt x="617" y="782"/>
                    </a:lnTo>
                    <a:lnTo>
                      <a:pt x="621" y="782"/>
                    </a:lnTo>
                    <a:lnTo>
                      <a:pt x="617" y="782"/>
                    </a:lnTo>
                    <a:lnTo>
                      <a:pt x="613" y="778"/>
                    </a:lnTo>
                    <a:lnTo>
                      <a:pt x="613" y="782"/>
                    </a:lnTo>
                    <a:lnTo>
                      <a:pt x="608" y="778"/>
                    </a:lnTo>
                    <a:lnTo>
                      <a:pt x="600" y="774"/>
                    </a:lnTo>
                    <a:lnTo>
                      <a:pt x="595" y="778"/>
                    </a:lnTo>
                    <a:lnTo>
                      <a:pt x="595" y="782"/>
                    </a:lnTo>
                    <a:lnTo>
                      <a:pt x="591" y="782"/>
                    </a:lnTo>
                    <a:lnTo>
                      <a:pt x="587" y="782"/>
                    </a:lnTo>
                    <a:lnTo>
                      <a:pt x="582" y="778"/>
                    </a:lnTo>
                    <a:lnTo>
                      <a:pt x="578" y="782"/>
                    </a:lnTo>
                    <a:lnTo>
                      <a:pt x="578" y="778"/>
                    </a:lnTo>
                    <a:lnTo>
                      <a:pt x="574" y="778"/>
                    </a:lnTo>
                    <a:lnTo>
                      <a:pt x="565" y="774"/>
                    </a:lnTo>
                    <a:lnTo>
                      <a:pt x="556" y="774"/>
                    </a:lnTo>
                    <a:lnTo>
                      <a:pt x="547" y="774"/>
                    </a:lnTo>
                    <a:lnTo>
                      <a:pt x="543" y="769"/>
                    </a:lnTo>
                    <a:lnTo>
                      <a:pt x="539" y="765"/>
                    </a:lnTo>
                    <a:lnTo>
                      <a:pt x="539" y="761"/>
                    </a:lnTo>
                    <a:lnTo>
                      <a:pt x="534" y="756"/>
                    </a:lnTo>
                    <a:lnTo>
                      <a:pt x="530" y="756"/>
                    </a:lnTo>
                    <a:lnTo>
                      <a:pt x="526" y="756"/>
                    </a:lnTo>
                    <a:lnTo>
                      <a:pt x="517" y="748"/>
                    </a:lnTo>
                    <a:lnTo>
                      <a:pt x="517" y="743"/>
                    </a:lnTo>
                    <a:lnTo>
                      <a:pt x="513" y="739"/>
                    </a:lnTo>
                    <a:lnTo>
                      <a:pt x="504" y="739"/>
                    </a:lnTo>
                    <a:lnTo>
                      <a:pt x="500" y="743"/>
                    </a:lnTo>
                    <a:lnTo>
                      <a:pt x="500" y="752"/>
                    </a:lnTo>
                    <a:lnTo>
                      <a:pt x="495" y="752"/>
                    </a:lnTo>
                    <a:lnTo>
                      <a:pt x="491" y="752"/>
                    </a:lnTo>
                    <a:lnTo>
                      <a:pt x="482" y="748"/>
                    </a:lnTo>
                    <a:lnTo>
                      <a:pt x="474" y="739"/>
                    </a:lnTo>
                    <a:lnTo>
                      <a:pt x="474" y="735"/>
                    </a:lnTo>
                    <a:lnTo>
                      <a:pt x="478" y="730"/>
                    </a:lnTo>
                    <a:lnTo>
                      <a:pt x="478" y="726"/>
                    </a:lnTo>
                    <a:lnTo>
                      <a:pt x="469" y="730"/>
                    </a:lnTo>
                    <a:lnTo>
                      <a:pt x="465" y="739"/>
                    </a:lnTo>
                    <a:lnTo>
                      <a:pt x="469" y="743"/>
                    </a:lnTo>
                    <a:lnTo>
                      <a:pt x="469" y="748"/>
                    </a:lnTo>
                    <a:lnTo>
                      <a:pt x="465" y="748"/>
                    </a:lnTo>
                    <a:lnTo>
                      <a:pt x="460" y="748"/>
                    </a:lnTo>
                    <a:lnTo>
                      <a:pt x="456" y="748"/>
                    </a:lnTo>
                    <a:lnTo>
                      <a:pt x="456" y="743"/>
                    </a:lnTo>
                    <a:lnTo>
                      <a:pt x="456" y="735"/>
                    </a:lnTo>
                    <a:lnTo>
                      <a:pt x="452" y="721"/>
                    </a:lnTo>
                    <a:lnTo>
                      <a:pt x="447" y="717"/>
                    </a:lnTo>
                    <a:lnTo>
                      <a:pt x="443" y="713"/>
                    </a:lnTo>
                    <a:lnTo>
                      <a:pt x="443" y="708"/>
                    </a:lnTo>
                    <a:lnTo>
                      <a:pt x="430" y="708"/>
                    </a:lnTo>
                    <a:lnTo>
                      <a:pt x="421" y="704"/>
                    </a:lnTo>
                    <a:lnTo>
                      <a:pt x="417" y="704"/>
                    </a:lnTo>
                    <a:lnTo>
                      <a:pt x="408" y="704"/>
                    </a:lnTo>
                    <a:lnTo>
                      <a:pt x="404" y="700"/>
                    </a:lnTo>
                    <a:lnTo>
                      <a:pt x="400" y="695"/>
                    </a:lnTo>
                    <a:lnTo>
                      <a:pt x="395" y="695"/>
                    </a:lnTo>
                    <a:lnTo>
                      <a:pt x="400" y="687"/>
                    </a:lnTo>
                    <a:lnTo>
                      <a:pt x="404" y="682"/>
                    </a:lnTo>
                    <a:lnTo>
                      <a:pt x="408" y="678"/>
                    </a:lnTo>
                    <a:lnTo>
                      <a:pt x="408" y="674"/>
                    </a:lnTo>
                    <a:lnTo>
                      <a:pt x="404" y="669"/>
                    </a:lnTo>
                    <a:lnTo>
                      <a:pt x="400" y="665"/>
                    </a:lnTo>
                    <a:lnTo>
                      <a:pt x="395" y="669"/>
                    </a:lnTo>
                    <a:lnTo>
                      <a:pt x="391" y="674"/>
                    </a:lnTo>
                    <a:lnTo>
                      <a:pt x="382" y="669"/>
                    </a:lnTo>
                    <a:lnTo>
                      <a:pt x="373" y="665"/>
                    </a:lnTo>
                    <a:lnTo>
                      <a:pt x="373" y="661"/>
                    </a:lnTo>
                    <a:lnTo>
                      <a:pt x="369" y="652"/>
                    </a:lnTo>
                    <a:lnTo>
                      <a:pt x="365" y="652"/>
                    </a:lnTo>
                    <a:lnTo>
                      <a:pt x="360" y="648"/>
                    </a:lnTo>
                    <a:lnTo>
                      <a:pt x="356" y="648"/>
                    </a:lnTo>
                    <a:lnTo>
                      <a:pt x="356" y="639"/>
                    </a:lnTo>
                    <a:lnTo>
                      <a:pt x="352" y="635"/>
                    </a:lnTo>
                    <a:lnTo>
                      <a:pt x="347" y="635"/>
                    </a:lnTo>
                    <a:lnTo>
                      <a:pt x="343" y="630"/>
                    </a:lnTo>
                    <a:lnTo>
                      <a:pt x="343" y="621"/>
                    </a:lnTo>
                    <a:lnTo>
                      <a:pt x="347" y="617"/>
                    </a:lnTo>
                    <a:lnTo>
                      <a:pt x="343" y="608"/>
                    </a:lnTo>
                    <a:lnTo>
                      <a:pt x="343" y="604"/>
                    </a:lnTo>
                    <a:lnTo>
                      <a:pt x="347" y="604"/>
                    </a:lnTo>
                    <a:lnTo>
                      <a:pt x="343" y="595"/>
                    </a:lnTo>
                    <a:lnTo>
                      <a:pt x="330" y="591"/>
                    </a:lnTo>
                    <a:lnTo>
                      <a:pt x="326" y="591"/>
                    </a:lnTo>
                    <a:lnTo>
                      <a:pt x="313" y="591"/>
                    </a:lnTo>
                    <a:lnTo>
                      <a:pt x="308" y="595"/>
                    </a:lnTo>
                    <a:lnTo>
                      <a:pt x="304" y="595"/>
                    </a:lnTo>
                    <a:lnTo>
                      <a:pt x="300" y="591"/>
                    </a:lnTo>
                    <a:lnTo>
                      <a:pt x="291" y="574"/>
                    </a:lnTo>
                    <a:lnTo>
                      <a:pt x="291" y="569"/>
                    </a:lnTo>
                    <a:lnTo>
                      <a:pt x="291" y="565"/>
                    </a:lnTo>
                    <a:lnTo>
                      <a:pt x="287" y="552"/>
                    </a:lnTo>
                    <a:lnTo>
                      <a:pt x="282" y="548"/>
                    </a:lnTo>
                    <a:lnTo>
                      <a:pt x="278" y="548"/>
                    </a:lnTo>
                    <a:lnTo>
                      <a:pt x="269" y="548"/>
                    </a:lnTo>
                    <a:lnTo>
                      <a:pt x="269" y="543"/>
                    </a:lnTo>
                    <a:lnTo>
                      <a:pt x="269" y="539"/>
                    </a:lnTo>
                    <a:lnTo>
                      <a:pt x="260" y="539"/>
                    </a:lnTo>
                    <a:lnTo>
                      <a:pt x="252" y="530"/>
                    </a:lnTo>
                    <a:lnTo>
                      <a:pt x="247" y="521"/>
                    </a:lnTo>
                    <a:lnTo>
                      <a:pt x="243" y="513"/>
                    </a:lnTo>
                    <a:lnTo>
                      <a:pt x="234" y="500"/>
                    </a:lnTo>
                    <a:lnTo>
                      <a:pt x="221" y="491"/>
                    </a:lnTo>
                    <a:lnTo>
                      <a:pt x="217" y="491"/>
                    </a:lnTo>
                    <a:lnTo>
                      <a:pt x="217" y="487"/>
                    </a:lnTo>
                    <a:lnTo>
                      <a:pt x="217" y="469"/>
                    </a:lnTo>
                    <a:lnTo>
                      <a:pt x="208" y="461"/>
                    </a:lnTo>
                    <a:lnTo>
                      <a:pt x="200" y="461"/>
                    </a:lnTo>
                    <a:lnTo>
                      <a:pt x="195" y="461"/>
                    </a:lnTo>
                    <a:lnTo>
                      <a:pt x="191" y="456"/>
                    </a:lnTo>
                    <a:lnTo>
                      <a:pt x="187" y="452"/>
                    </a:lnTo>
                    <a:lnTo>
                      <a:pt x="178" y="452"/>
                    </a:lnTo>
                    <a:lnTo>
                      <a:pt x="178" y="456"/>
                    </a:lnTo>
                    <a:lnTo>
                      <a:pt x="173" y="456"/>
                    </a:lnTo>
                    <a:lnTo>
                      <a:pt x="169" y="452"/>
                    </a:lnTo>
                    <a:lnTo>
                      <a:pt x="169" y="448"/>
                    </a:lnTo>
                    <a:lnTo>
                      <a:pt x="169" y="452"/>
                    </a:lnTo>
                    <a:lnTo>
                      <a:pt x="165" y="456"/>
                    </a:lnTo>
                    <a:lnTo>
                      <a:pt x="165" y="461"/>
                    </a:lnTo>
                    <a:lnTo>
                      <a:pt x="160" y="465"/>
                    </a:lnTo>
                    <a:lnTo>
                      <a:pt x="152" y="474"/>
                    </a:lnTo>
                    <a:lnTo>
                      <a:pt x="147" y="474"/>
                    </a:lnTo>
                    <a:lnTo>
                      <a:pt x="147" y="478"/>
                    </a:lnTo>
                    <a:lnTo>
                      <a:pt x="143" y="474"/>
                    </a:lnTo>
                    <a:lnTo>
                      <a:pt x="139" y="474"/>
                    </a:lnTo>
                    <a:lnTo>
                      <a:pt x="139" y="469"/>
                    </a:lnTo>
                    <a:lnTo>
                      <a:pt x="139" y="465"/>
                    </a:lnTo>
                    <a:lnTo>
                      <a:pt x="134" y="461"/>
                    </a:lnTo>
                    <a:lnTo>
                      <a:pt x="134" y="456"/>
                    </a:lnTo>
                    <a:lnTo>
                      <a:pt x="134" y="452"/>
                    </a:lnTo>
                    <a:lnTo>
                      <a:pt x="130" y="448"/>
                    </a:lnTo>
                    <a:lnTo>
                      <a:pt x="121" y="443"/>
                    </a:lnTo>
                    <a:lnTo>
                      <a:pt x="121" y="439"/>
                    </a:lnTo>
                    <a:lnTo>
                      <a:pt x="121" y="435"/>
                    </a:lnTo>
                    <a:lnTo>
                      <a:pt x="113" y="426"/>
                    </a:lnTo>
                    <a:lnTo>
                      <a:pt x="108" y="426"/>
                    </a:lnTo>
                    <a:lnTo>
                      <a:pt x="104" y="421"/>
                    </a:lnTo>
                    <a:lnTo>
                      <a:pt x="100" y="417"/>
                    </a:lnTo>
                    <a:lnTo>
                      <a:pt x="91" y="413"/>
                    </a:lnTo>
                    <a:lnTo>
                      <a:pt x="91" y="408"/>
                    </a:lnTo>
                    <a:lnTo>
                      <a:pt x="86" y="408"/>
                    </a:lnTo>
                    <a:lnTo>
                      <a:pt x="91" y="395"/>
                    </a:lnTo>
                    <a:lnTo>
                      <a:pt x="91" y="391"/>
                    </a:lnTo>
                    <a:lnTo>
                      <a:pt x="73" y="378"/>
                    </a:lnTo>
                    <a:lnTo>
                      <a:pt x="69" y="374"/>
                    </a:lnTo>
                    <a:lnTo>
                      <a:pt x="69" y="369"/>
                    </a:lnTo>
                    <a:lnTo>
                      <a:pt x="60" y="365"/>
                    </a:lnTo>
                    <a:lnTo>
                      <a:pt x="56" y="365"/>
                    </a:lnTo>
                    <a:lnTo>
                      <a:pt x="52" y="365"/>
                    </a:lnTo>
                    <a:lnTo>
                      <a:pt x="47" y="361"/>
                    </a:lnTo>
                    <a:lnTo>
                      <a:pt x="39" y="352"/>
                    </a:lnTo>
                    <a:lnTo>
                      <a:pt x="39" y="348"/>
                    </a:lnTo>
                    <a:lnTo>
                      <a:pt x="34" y="343"/>
                    </a:lnTo>
                    <a:lnTo>
                      <a:pt x="34" y="330"/>
                    </a:lnTo>
                    <a:lnTo>
                      <a:pt x="34" y="326"/>
                    </a:lnTo>
                    <a:lnTo>
                      <a:pt x="30" y="317"/>
                    </a:lnTo>
                    <a:lnTo>
                      <a:pt x="26" y="313"/>
                    </a:lnTo>
                    <a:lnTo>
                      <a:pt x="21" y="313"/>
                    </a:lnTo>
                    <a:lnTo>
                      <a:pt x="8" y="317"/>
                    </a:lnTo>
                    <a:lnTo>
                      <a:pt x="4" y="317"/>
                    </a:lnTo>
                    <a:lnTo>
                      <a:pt x="0" y="317"/>
                    </a:lnTo>
                    <a:lnTo>
                      <a:pt x="0" y="300"/>
                    </a:lnTo>
                    <a:lnTo>
                      <a:pt x="4" y="295"/>
                    </a:lnTo>
                    <a:lnTo>
                      <a:pt x="8" y="295"/>
                    </a:lnTo>
                    <a:lnTo>
                      <a:pt x="13" y="291"/>
                    </a:lnTo>
                    <a:lnTo>
                      <a:pt x="8" y="287"/>
                    </a:lnTo>
                    <a:lnTo>
                      <a:pt x="8" y="278"/>
                    </a:lnTo>
                    <a:lnTo>
                      <a:pt x="8" y="274"/>
                    </a:lnTo>
                    <a:lnTo>
                      <a:pt x="13" y="265"/>
                    </a:lnTo>
                    <a:lnTo>
                      <a:pt x="17" y="265"/>
                    </a:lnTo>
                    <a:lnTo>
                      <a:pt x="17" y="261"/>
                    </a:lnTo>
                    <a:lnTo>
                      <a:pt x="17" y="256"/>
                    </a:lnTo>
                    <a:lnTo>
                      <a:pt x="13" y="252"/>
                    </a:lnTo>
                    <a:lnTo>
                      <a:pt x="8" y="243"/>
                    </a:lnTo>
                    <a:lnTo>
                      <a:pt x="8" y="239"/>
                    </a:lnTo>
                    <a:lnTo>
                      <a:pt x="8" y="235"/>
                    </a:lnTo>
                    <a:lnTo>
                      <a:pt x="4" y="230"/>
                    </a:lnTo>
                    <a:lnTo>
                      <a:pt x="8" y="217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13" y="204"/>
                    </a:lnTo>
                    <a:lnTo>
                      <a:pt x="17" y="204"/>
                    </a:lnTo>
                    <a:lnTo>
                      <a:pt x="21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4"/>
                    </a:lnTo>
                    <a:lnTo>
                      <a:pt x="34" y="204"/>
                    </a:lnTo>
                    <a:lnTo>
                      <a:pt x="34" y="208"/>
                    </a:lnTo>
                    <a:lnTo>
                      <a:pt x="34" y="213"/>
                    </a:lnTo>
                    <a:lnTo>
                      <a:pt x="30" y="217"/>
                    </a:lnTo>
                    <a:lnTo>
                      <a:pt x="30" y="221"/>
                    </a:lnTo>
                    <a:lnTo>
                      <a:pt x="34" y="221"/>
                    </a:lnTo>
                    <a:lnTo>
                      <a:pt x="39" y="230"/>
                    </a:lnTo>
                    <a:lnTo>
                      <a:pt x="43" y="235"/>
                    </a:lnTo>
                    <a:lnTo>
                      <a:pt x="52" y="235"/>
                    </a:lnTo>
                    <a:lnTo>
                      <a:pt x="56" y="226"/>
                    </a:lnTo>
                    <a:lnTo>
                      <a:pt x="60" y="226"/>
                    </a:lnTo>
                    <a:lnTo>
                      <a:pt x="65" y="226"/>
                    </a:lnTo>
                    <a:lnTo>
                      <a:pt x="69" y="230"/>
                    </a:lnTo>
                    <a:lnTo>
                      <a:pt x="82" y="221"/>
                    </a:lnTo>
                    <a:lnTo>
                      <a:pt x="86" y="221"/>
                    </a:lnTo>
                    <a:lnTo>
                      <a:pt x="86" y="217"/>
                    </a:lnTo>
                    <a:lnTo>
                      <a:pt x="91" y="213"/>
                    </a:lnTo>
                    <a:lnTo>
                      <a:pt x="91" y="200"/>
                    </a:lnTo>
                    <a:lnTo>
                      <a:pt x="86" y="195"/>
                    </a:lnTo>
                    <a:lnTo>
                      <a:pt x="86" y="191"/>
                    </a:lnTo>
                    <a:lnTo>
                      <a:pt x="86" y="182"/>
                    </a:lnTo>
                    <a:lnTo>
                      <a:pt x="91" y="182"/>
                    </a:lnTo>
                    <a:lnTo>
                      <a:pt x="86" y="169"/>
                    </a:lnTo>
                    <a:lnTo>
                      <a:pt x="82" y="169"/>
                    </a:lnTo>
                    <a:lnTo>
                      <a:pt x="78" y="165"/>
                    </a:lnTo>
                    <a:lnTo>
                      <a:pt x="73" y="161"/>
                    </a:lnTo>
                    <a:lnTo>
                      <a:pt x="69" y="152"/>
                    </a:lnTo>
                    <a:lnTo>
                      <a:pt x="65" y="148"/>
                    </a:lnTo>
                    <a:lnTo>
                      <a:pt x="65" y="143"/>
                    </a:lnTo>
                    <a:lnTo>
                      <a:pt x="60" y="139"/>
                    </a:lnTo>
                    <a:lnTo>
                      <a:pt x="60" y="135"/>
                    </a:lnTo>
                    <a:lnTo>
                      <a:pt x="60" y="130"/>
                    </a:lnTo>
                    <a:lnTo>
                      <a:pt x="65" y="126"/>
                    </a:lnTo>
                    <a:lnTo>
                      <a:pt x="65" y="121"/>
                    </a:lnTo>
                    <a:lnTo>
                      <a:pt x="65" y="117"/>
                    </a:lnTo>
                    <a:lnTo>
                      <a:pt x="69" y="113"/>
                    </a:lnTo>
                    <a:lnTo>
                      <a:pt x="69" y="108"/>
                    </a:lnTo>
                    <a:lnTo>
                      <a:pt x="69" y="95"/>
                    </a:lnTo>
                    <a:lnTo>
                      <a:pt x="69" y="91"/>
                    </a:lnTo>
                    <a:lnTo>
                      <a:pt x="69" y="87"/>
                    </a:lnTo>
                    <a:lnTo>
                      <a:pt x="73" y="87"/>
                    </a:lnTo>
                    <a:lnTo>
                      <a:pt x="73" y="82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91" y="82"/>
                    </a:lnTo>
                    <a:lnTo>
                      <a:pt x="91" y="78"/>
                    </a:lnTo>
                    <a:lnTo>
                      <a:pt x="95" y="78"/>
                    </a:lnTo>
                    <a:lnTo>
                      <a:pt x="95" y="74"/>
                    </a:lnTo>
                    <a:lnTo>
                      <a:pt x="95" y="69"/>
                    </a:lnTo>
                    <a:lnTo>
                      <a:pt x="100" y="65"/>
                    </a:lnTo>
                    <a:lnTo>
                      <a:pt x="104" y="65"/>
                    </a:lnTo>
                    <a:lnTo>
                      <a:pt x="108" y="65"/>
                    </a:lnTo>
                    <a:lnTo>
                      <a:pt x="113" y="65"/>
                    </a:lnTo>
                    <a:lnTo>
                      <a:pt x="117" y="65"/>
                    </a:lnTo>
                    <a:lnTo>
                      <a:pt x="117" y="69"/>
                    </a:lnTo>
                    <a:lnTo>
                      <a:pt x="121" y="69"/>
                    </a:lnTo>
                    <a:lnTo>
                      <a:pt x="126" y="69"/>
                    </a:lnTo>
                    <a:lnTo>
                      <a:pt x="130" y="69"/>
                    </a:lnTo>
                    <a:lnTo>
                      <a:pt x="134" y="69"/>
                    </a:lnTo>
                    <a:lnTo>
                      <a:pt x="139" y="74"/>
                    </a:lnTo>
                    <a:lnTo>
                      <a:pt x="143" y="74"/>
                    </a:lnTo>
                    <a:lnTo>
                      <a:pt x="147" y="78"/>
                    </a:lnTo>
                    <a:lnTo>
                      <a:pt x="152" y="78"/>
                    </a:lnTo>
                    <a:lnTo>
                      <a:pt x="160" y="74"/>
                    </a:lnTo>
                    <a:lnTo>
                      <a:pt x="160" y="69"/>
                    </a:lnTo>
                    <a:lnTo>
                      <a:pt x="165" y="65"/>
                    </a:lnTo>
                    <a:lnTo>
                      <a:pt x="169" y="61"/>
                    </a:lnTo>
                    <a:lnTo>
                      <a:pt x="169" y="56"/>
                    </a:lnTo>
                    <a:lnTo>
                      <a:pt x="169" y="52"/>
                    </a:lnTo>
                    <a:lnTo>
                      <a:pt x="169" y="39"/>
                    </a:lnTo>
                    <a:lnTo>
                      <a:pt x="173" y="39"/>
                    </a:lnTo>
                    <a:lnTo>
                      <a:pt x="178" y="39"/>
                    </a:lnTo>
                    <a:lnTo>
                      <a:pt x="182" y="39"/>
                    </a:lnTo>
                    <a:lnTo>
                      <a:pt x="182" y="35"/>
                    </a:lnTo>
                    <a:lnTo>
                      <a:pt x="182" y="30"/>
                    </a:lnTo>
                    <a:lnTo>
                      <a:pt x="182" y="26"/>
                    </a:lnTo>
                    <a:lnTo>
                      <a:pt x="191" y="21"/>
                    </a:lnTo>
                    <a:lnTo>
                      <a:pt x="195" y="21"/>
                    </a:lnTo>
                    <a:lnTo>
                      <a:pt x="200" y="17"/>
                    </a:lnTo>
                    <a:lnTo>
                      <a:pt x="208" y="4"/>
                    </a:lnTo>
                    <a:lnTo>
                      <a:pt x="213" y="0"/>
                    </a:lnTo>
                    <a:lnTo>
                      <a:pt x="217" y="4"/>
                    </a:lnTo>
                    <a:lnTo>
                      <a:pt x="221" y="8"/>
                    </a:lnTo>
                    <a:lnTo>
                      <a:pt x="221" y="13"/>
                    </a:lnTo>
                    <a:lnTo>
                      <a:pt x="226" y="13"/>
                    </a:lnTo>
                    <a:lnTo>
                      <a:pt x="239" y="21"/>
                    </a:lnTo>
                    <a:lnTo>
                      <a:pt x="243" y="26"/>
                    </a:lnTo>
                    <a:lnTo>
                      <a:pt x="252" y="30"/>
                    </a:lnTo>
                    <a:lnTo>
                      <a:pt x="260" y="30"/>
                    </a:lnTo>
                    <a:lnTo>
                      <a:pt x="265" y="26"/>
                    </a:lnTo>
                    <a:lnTo>
                      <a:pt x="265" y="30"/>
                    </a:lnTo>
                    <a:lnTo>
                      <a:pt x="269" y="30"/>
                    </a:lnTo>
                    <a:lnTo>
                      <a:pt x="269" y="35"/>
                    </a:lnTo>
                    <a:lnTo>
                      <a:pt x="273" y="35"/>
                    </a:lnTo>
                    <a:lnTo>
                      <a:pt x="278" y="35"/>
                    </a:lnTo>
                    <a:lnTo>
                      <a:pt x="282" y="35"/>
                    </a:lnTo>
                    <a:lnTo>
                      <a:pt x="287" y="39"/>
                    </a:lnTo>
                    <a:lnTo>
                      <a:pt x="287" y="43"/>
                    </a:lnTo>
                    <a:lnTo>
                      <a:pt x="287" y="48"/>
                    </a:lnTo>
                    <a:lnTo>
                      <a:pt x="291" y="48"/>
                    </a:lnTo>
                    <a:lnTo>
                      <a:pt x="291" y="52"/>
                    </a:lnTo>
                    <a:lnTo>
                      <a:pt x="295" y="52"/>
                    </a:lnTo>
                    <a:lnTo>
                      <a:pt x="295" y="56"/>
                    </a:lnTo>
                    <a:lnTo>
                      <a:pt x="300" y="56"/>
                    </a:lnTo>
                    <a:lnTo>
                      <a:pt x="304" y="56"/>
                    </a:lnTo>
                    <a:lnTo>
                      <a:pt x="308" y="56"/>
                    </a:lnTo>
                    <a:lnTo>
                      <a:pt x="313" y="56"/>
                    </a:lnTo>
                    <a:lnTo>
                      <a:pt x="317" y="52"/>
                    </a:lnTo>
                    <a:lnTo>
                      <a:pt x="321" y="48"/>
                    </a:lnTo>
                    <a:lnTo>
                      <a:pt x="326" y="39"/>
                    </a:lnTo>
                    <a:lnTo>
                      <a:pt x="330" y="35"/>
                    </a:lnTo>
                    <a:lnTo>
                      <a:pt x="334" y="30"/>
                    </a:lnTo>
                    <a:lnTo>
                      <a:pt x="347" y="26"/>
                    </a:lnTo>
                    <a:lnTo>
                      <a:pt x="352" y="26"/>
                    </a:lnTo>
                    <a:lnTo>
                      <a:pt x="356" y="26"/>
                    </a:lnTo>
                    <a:lnTo>
                      <a:pt x="360" y="26"/>
                    </a:lnTo>
                    <a:lnTo>
                      <a:pt x="365" y="26"/>
                    </a:lnTo>
                    <a:lnTo>
                      <a:pt x="365" y="30"/>
                    </a:lnTo>
                    <a:lnTo>
                      <a:pt x="365" y="35"/>
                    </a:lnTo>
                    <a:lnTo>
                      <a:pt x="369" y="35"/>
                    </a:lnTo>
                    <a:lnTo>
                      <a:pt x="373" y="35"/>
                    </a:lnTo>
                    <a:lnTo>
                      <a:pt x="378" y="35"/>
                    </a:lnTo>
                    <a:lnTo>
                      <a:pt x="382" y="35"/>
                    </a:lnTo>
                    <a:lnTo>
                      <a:pt x="387" y="35"/>
                    </a:lnTo>
                    <a:lnTo>
                      <a:pt x="395" y="35"/>
                    </a:lnTo>
                    <a:lnTo>
                      <a:pt x="400" y="39"/>
                    </a:lnTo>
                    <a:lnTo>
                      <a:pt x="404" y="39"/>
                    </a:lnTo>
                    <a:lnTo>
                      <a:pt x="404" y="43"/>
                    </a:lnTo>
                    <a:lnTo>
                      <a:pt x="408" y="43"/>
                    </a:lnTo>
                    <a:lnTo>
                      <a:pt x="413" y="43"/>
                    </a:lnTo>
                    <a:lnTo>
                      <a:pt x="417" y="43"/>
                    </a:lnTo>
                    <a:lnTo>
                      <a:pt x="421" y="48"/>
                    </a:lnTo>
                    <a:lnTo>
                      <a:pt x="430" y="52"/>
                    </a:lnTo>
                    <a:lnTo>
                      <a:pt x="434" y="56"/>
                    </a:lnTo>
                    <a:lnTo>
                      <a:pt x="439" y="65"/>
                    </a:lnTo>
                    <a:lnTo>
                      <a:pt x="443" y="69"/>
                    </a:lnTo>
                    <a:lnTo>
                      <a:pt x="456" y="74"/>
                    </a:lnTo>
                    <a:lnTo>
                      <a:pt x="460" y="74"/>
                    </a:lnTo>
                    <a:lnTo>
                      <a:pt x="469" y="74"/>
                    </a:lnTo>
                    <a:lnTo>
                      <a:pt x="474" y="74"/>
                    </a:lnTo>
                    <a:lnTo>
                      <a:pt x="474" y="78"/>
                    </a:lnTo>
                    <a:lnTo>
                      <a:pt x="474" y="82"/>
                    </a:lnTo>
                    <a:lnTo>
                      <a:pt x="478" y="82"/>
                    </a:lnTo>
                    <a:lnTo>
                      <a:pt x="482" y="82"/>
                    </a:lnTo>
                    <a:lnTo>
                      <a:pt x="482" y="78"/>
                    </a:lnTo>
                    <a:lnTo>
                      <a:pt x="487" y="78"/>
                    </a:lnTo>
                    <a:lnTo>
                      <a:pt x="491" y="74"/>
                    </a:lnTo>
                    <a:lnTo>
                      <a:pt x="500" y="74"/>
                    </a:lnTo>
                    <a:lnTo>
                      <a:pt x="517" y="69"/>
                    </a:lnTo>
                    <a:lnTo>
                      <a:pt x="530" y="74"/>
                    </a:lnTo>
                    <a:lnTo>
                      <a:pt x="534" y="74"/>
                    </a:lnTo>
                    <a:lnTo>
                      <a:pt x="534" y="69"/>
                    </a:lnTo>
                    <a:lnTo>
                      <a:pt x="539" y="69"/>
                    </a:lnTo>
                    <a:lnTo>
                      <a:pt x="543" y="69"/>
                    </a:lnTo>
                    <a:lnTo>
                      <a:pt x="547" y="69"/>
                    </a:lnTo>
                    <a:lnTo>
                      <a:pt x="565" y="69"/>
                    </a:lnTo>
                    <a:lnTo>
                      <a:pt x="569" y="74"/>
                    </a:lnTo>
                    <a:lnTo>
                      <a:pt x="574" y="74"/>
                    </a:lnTo>
                    <a:lnTo>
                      <a:pt x="574" y="78"/>
                    </a:lnTo>
                    <a:lnTo>
                      <a:pt x="578" y="78"/>
                    </a:lnTo>
                    <a:lnTo>
                      <a:pt x="595" y="69"/>
                    </a:lnTo>
                    <a:lnTo>
                      <a:pt x="600" y="69"/>
                    </a:lnTo>
                    <a:lnTo>
                      <a:pt x="604" y="65"/>
                    </a:lnTo>
                    <a:lnTo>
                      <a:pt x="608" y="61"/>
                    </a:lnTo>
                    <a:lnTo>
                      <a:pt x="613" y="61"/>
                    </a:lnTo>
                    <a:lnTo>
                      <a:pt x="617" y="56"/>
                    </a:lnTo>
                    <a:lnTo>
                      <a:pt x="621" y="52"/>
                    </a:lnTo>
                    <a:lnTo>
                      <a:pt x="626" y="52"/>
                    </a:lnTo>
                    <a:lnTo>
                      <a:pt x="630" y="48"/>
                    </a:lnTo>
                    <a:lnTo>
                      <a:pt x="643" y="48"/>
                    </a:lnTo>
                    <a:lnTo>
                      <a:pt x="656" y="48"/>
                    </a:lnTo>
                    <a:lnTo>
                      <a:pt x="661" y="48"/>
                    </a:lnTo>
                    <a:lnTo>
                      <a:pt x="665" y="48"/>
                    </a:lnTo>
                    <a:lnTo>
                      <a:pt x="669" y="48"/>
                    </a:lnTo>
                    <a:lnTo>
                      <a:pt x="674" y="48"/>
                    </a:lnTo>
                    <a:lnTo>
                      <a:pt x="678" y="48"/>
                    </a:lnTo>
                    <a:lnTo>
                      <a:pt x="682" y="48"/>
                    </a:lnTo>
                    <a:lnTo>
                      <a:pt x="687" y="48"/>
                    </a:lnTo>
                    <a:lnTo>
                      <a:pt x="687" y="52"/>
                    </a:lnTo>
                    <a:lnTo>
                      <a:pt x="691" y="52"/>
                    </a:lnTo>
                    <a:lnTo>
                      <a:pt x="695" y="52"/>
                    </a:lnTo>
                    <a:lnTo>
                      <a:pt x="700" y="48"/>
                    </a:lnTo>
                    <a:lnTo>
                      <a:pt x="708" y="43"/>
                    </a:lnTo>
                    <a:lnTo>
                      <a:pt x="713" y="43"/>
                    </a:lnTo>
                    <a:lnTo>
                      <a:pt x="713" y="39"/>
                    </a:lnTo>
                    <a:lnTo>
                      <a:pt x="717" y="39"/>
                    </a:lnTo>
                    <a:lnTo>
                      <a:pt x="721" y="39"/>
                    </a:lnTo>
                    <a:lnTo>
                      <a:pt x="726" y="39"/>
                    </a:lnTo>
                    <a:lnTo>
                      <a:pt x="743" y="43"/>
                    </a:lnTo>
                    <a:lnTo>
                      <a:pt x="747" y="43"/>
                    </a:lnTo>
                    <a:lnTo>
                      <a:pt x="756" y="43"/>
                    </a:lnTo>
                    <a:lnTo>
                      <a:pt x="765" y="48"/>
                    </a:lnTo>
                    <a:lnTo>
                      <a:pt x="769" y="48"/>
                    </a:lnTo>
                    <a:lnTo>
                      <a:pt x="774" y="48"/>
                    </a:lnTo>
                    <a:lnTo>
                      <a:pt x="778" y="52"/>
                    </a:lnTo>
                    <a:lnTo>
                      <a:pt x="782" y="52"/>
                    </a:lnTo>
                    <a:lnTo>
                      <a:pt x="787" y="56"/>
                    </a:lnTo>
                    <a:lnTo>
                      <a:pt x="791" y="61"/>
                    </a:lnTo>
                    <a:lnTo>
                      <a:pt x="800" y="65"/>
                    </a:lnTo>
                    <a:lnTo>
                      <a:pt x="804" y="69"/>
                    </a:lnTo>
                    <a:lnTo>
                      <a:pt x="808" y="69"/>
                    </a:lnTo>
                    <a:lnTo>
                      <a:pt x="817" y="74"/>
                    </a:lnTo>
                    <a:lnTo>
                      <a:pt x="817" y="78"/>
                    </a:lnTo>
                    <a:lnTo>
                      <a:pt x="821" y="78"/>
                    </a:lnTo>
                    <a:lnTo>
                      <a:pt x="839" y="87"/>
                    </a:lnTo>
                    <a:lnTo>
                      <a:pt x="843" y="87"/>
                    </a:lnTo>
                    <a:lnTo>
                      <a:pt x="847" y="87"/>
                    </a:lnTo>
                    <a:lnTo>
                      <a:pt x="852" y="87"/>
                    </a:lnTo>
                    <a:lnTo>
                      <a:pt x="856" y="87"/>
                    </a:lnTo>
                    <a:lnTo>
                      <a:pt x="865" y="87"/>
                    </a:lnTo>
                    <a:lnTo>
                      <a:pt x="878" y="87"/>
                    </a:lnTo>
                    <a:lnTo>
                      <a:pt x="878" y="91"/>
                    </a:lnTo>
                    <a:lnTo>
                      <a:pt x="878" y="95"/>
                    </a:lnTo>
                    <a:lnTo>
                      <a:pt x="878" y="100"/>
                    </a:lnTo>
                    <a:lnTo>
                      <a:pt x="874" y="104"/>
                    </a:lnTo>
                    <a:lnTo>
                      <a:pt x="869" y="108"/>
                    </a:lnTo>
                    <a:lnTo>
                      <a:pt x="865" y="108"/>
                    </a:lnTo>
                    <a:lnTo>
                      <a:pt x="861" y="108"/>
                    </a:lnTo>
                    <a:lnTo>
                      <a:pt x="856" y="108"/>
                    </a:lnTo>
                    <a:lnTo>
                      <a:pt x="852" y="113"/>
                    </a:lnTo>
                    <a:lnTo>
                      <a:pt x="856" y="117"/>
                    </a:lnTo>
                    <a:lnTo>
                      <a:pt x="856" y="121"/>
                    </a:lnTo>
                    <a:lnTo>
                      <a:pt x="861" y="121"/>
                    </a:lnTo>
                    <a:lnTo>
                      <a:pt x="869" y="121"/>
                    </a:lnTo>
                    <a:lnTo>
                      <a:pt x="874" y="121"/>
                    </a:lnTo>
                    <a:lnTo>
                      <a:pt x="874" y="126"/>
                    </a:lnTo>
                    <a:lnTo>
                      <a:pt x="878" y="126"/>
                    </a:lnTo>
                    <a:lnTo>
                      <a:pt x="878" y="130"/>
                    </a:lnTo>
                    <a:lnTo>
                      <a:pt x="874" y="143"/>
                    </a:lnTo>
                    <a:lnTo>
                      <a:pt x="874" y="148"/>
                    </a:lnTo>
                    <a:lnTo>
                      <a:pt x="869" y="152"/>
                    </a:lnTo>
                    <a:lnTo>
                      <a:pt x="865" y="156"/>
                    </a:lnTo>
                    <a:lnTo>
                      <a:pt x="861" y="174"/>
                    </a:lnTo>
                    <a:lnTo>
                      <a:pt x="856" y="182"/>
                    </a:lnTo>
                    <a:lnTo>
                      <a:pt x="852" y="187"/>
                    </a:lnTo>
                    <a:lnTo>
                      <a:pt x="852" y="191"/>
                    </a:lnTo>
                    <a:lnTo>
                      <a:pt x="847" y="195"/>
                    </a:lnTo>
                    <a:lnTo>
                      <a:pt x="852" y="200"/>
                    </a:lnTo>
                    <a:lnTo>
                      <a:pt x="856" y="204"/>
                    </a:lnTo>
                    <a:lnTo>
                      <a:pt x="856" y="217"/>
                    </a:lnTo>
                    <a:lnTo>
                      <a:pt x="852" y="221"/>
                    </a:lnTo>
                    <a:lnTo>
                      <a:pt x="847" y="221"/>
                    </a:lnTo>
                    <a:lnTo>
                      <a:pt x="843" y="221"/>
                    </a:lnTo>
                    <a:lnTo>
                      <a:pt x="843" y="217"/>
                    </a:lnTo>
                    <a:lnTo>
                      <a:pt x="839" y="217"/>
                    </a:lnTo>
                    <a:lnTo>
                      <a:pt x="834" y="217"/>
                    </a:lnTo>
                    <a:lnTo>
                      <a:pt x="830" y="217"/>
                    </a:lnTo>
                    <a:lnTo>
                      <a:pt x="830" y="221"/>
                    </a:lnTo>
                    <a:lnTo>
                      <a:pt x="826" y="221"/>
                    </a:lnTo>
                    <a:lnTo>
                      <a:pt x="826" y="226"/>
                    </a:lnTo>
                    <a:lnTo>
                      <a:pt x="826" y="230"/>
                    </a:lnTo>
                    <a:lnTo>
                      <a:pt x="830" y="235"/>
                    </a:lnTo>
                    <a:lnTo>
                      <a:pt x="830" y="239"/>
                    </a:lnTo>
                    <a:lnTo>
                      <a:pt x="830" y="243"/>
                    </a:lnTo>
                    <a:lnTo>
                      <a:pt x="830" y="248"/>
                    </a:lnTo>
                    <a:lnTo>
                      <a:pt x="830" y="252"/>
                    </a:lnTo>
                    <a:lnTo>
                      <a:pt x="830" y="256"/>
                    </a:lnTo>
                    <a:lnTo>
                      <a:pt x="830" y="261"/>
                    </a:lnTo>
                    <a:lnTo>
                      <a:pt x="830" y="265"/>
                    </a:lnTo>
                    <a:lnTo>
                      <a:pt x="839" y="282"/>
                    </a:lnTo>
                    <a:lnTo>
                      <a:pt x="847" y="287"/>
                    </a:lnTo>
                    <a:lnTo>
                      <a:pt x="847" y="291"/>
                    </a:lnTo>
                    <a:lnTo>
                      <a:pt x="847" y="295"/>
                    </a:lnTo>
                    <a:lnTo>
                      <a:pt x="852" y="317"/>
                    </a:lnTo>
                    <a:lnTo>
                      <a:pt x="856" y="321"/>
                    </a:lnTo>
                    <a:lnTo>
                      <a:pt x="856" y="326"/>
                    </a:lnTo>
                    <a:lnTo>
                      <a:pt x="861" y="326"/>
                    </a:lnTo>
                    <a:lnTo>
                      <a:pt x="865" y="330"/>
                    </a:lnTo>
                    <a:lnTo>
                      <a:pt x="865" y="335"/>
                    </a:lnTo>
                    <a:lnTo>
                      <a:pt x="869" y="339"/>
                    </a:lnTo>
                    <a:lnTo>
                      <a:pt x="874" y="361"/>
                    </a:lnTo>
                    <a:lnTo>
                      <a:pt x="874" y="365"/>
                    </a:lnTo>
                    <a:lnTo>
                      <a:pt x="874" y="369"/>
                    </a:lnTo>
                    <a:lnTo>
                      <a:pt x="878" y="369"/>
                    </a:lnTo>
                    <a:lnTo>
                      <a:pt x="882" y="369"/>
                    </a:lnTo>
                    <a:lnTo>
                      <a:pt x="891" y="369"/>
                    </a:lnTo>
                    <a:lnTo>
                      <a:pt x="895" y="369"/>
                    </a:lnTo>
                    <a:lnTo>
                      <a:pt x="900" y="369"/>
                    </a:lnTo>
                    <a:lnTo>
                      <a:pt x="904" y="369"/>
                    </a:lnTo>
                    <a:lnTo>
                      <a:pt x="908" y="374"/>
                    </a:lnTo>
                    <a:lnTo>
                      <a:pt x="913" y="374"/>
                    </a:lnTo>
                    <a:lnTo>
                      <a:pt x="930" y="382"/>
                    </a:lnTo>
                    <a:lnTo>
                      <a:pt x="943" y="387"/>
                    </a:lnTo>
                    <a:lnTo>
                      <a:pt x="943" y="391"/>
                    </a:lnTo>
                    <a:lnTo>
                      <a:pt x="948" y="391"/>
                    </a:lnTo>
                    <a:lnTo>
                      <a:pt x="952" y="391"/>
                    </a:lnTo>
                    <a:lnTo>
                      <a:pt x="956" y="391"/>
                    </a:lnTo>
                    <a:lnTo>
                      <a:pt x="961" y="391"/>
                    </a:lnTo>
                    <a:lnTo>
                      <a:pt x="982" y="404"/>
                    </a:lnTo>
                    <a:lnTo>
                      <a:pt x="987" y="408"/>
                    </a:lnTo>
                    <a:lnTo>
                      <a:pt x="991" y="408"/>
                    </a:lnTo>
                    <a:lnTo>
                      <a:pt x="991" y="413"/>
                    </a:lnTo>
                    <a:lnTo>
                      <a:pt x="995" y="417"/>
                    </a:lnTo>
                    <a:lnTo>
                      <a:pt x="995" y="421"/>
                    </a:lnTo>
                    <a:lnTo>
                      <a:pt x="1000" y="421"/>
                    </a:lnTo>
                    <a:lnTo>
                      <a:pt x="1013" y="430"/>
                    </a:lnTo>
                    <a:lnTo>
                      <a:pt x="1017" y="430"/>
                    </a:lnTo>
                    <a:lnTo>
                      <a:pt x="1021" y="430"/>
                    </a:lnTo>
                    <a:lnTo>
                      <a:pt x="1026" y="426"/>
                    </a:lnTo>
                    <a:lnTo>
                      <a:pt x="1030" y="426"/>
                    </a:lnTo>
                    <a:lnTo>
                      <a:pt x="1034" y="426"/>
                    </a:lnTo>
                    <a:lnTo>
                      <a:pt x="1039" y="426"/>
                    </a:lnTo>
                    <a:lnTo>
                      <a:pt x="1043" y="430"/>
                    </a:lnTo>
                    <a:lnTo>
                      <a:pt x="1052" y="435"/>
                    </a:lnTo>
                    <a:lnTo>
                      <a:pt x="1069" y="439"/>
                    </a:lnTo>
                    <a:lnTo>
                      <a:pt x="1074" y="439"/>
                    </a:lnTo>
                    <a:lnTo>
                      <a:pt x="1074" y="443"/>
                    </a:lnTo>
                    <a:lnTo>
                      <a:pt x="1078" y="448"/>
                    </a:lnTo>
                    <a:lnTo>
                      <a:pt x="1082" y="448"/>
                    </a:lnTo>
                    <a:lnTo>
                      <a:pt x="1091" y="448"/>
                    </a:lnTo>
                    <a:lnTo>
                      <a:pt x="1126" y="448"/>
                    </a:lnTo>
                    <a:lnTo>
                      <a:pt x="1130" y="448"/>
                    </a:lnTo>
                    <a:lnTo>
                      <a:pt x="1130" y="452"/>
                    </a:lnTo>
                    <a:lnTo>
                      <a:pt x="1135" y="452"/>
                    </a:lnTo>
                    <a:lnTo>
                      <a:pt x="1135" y="456"/>
                    </a:lnTo>
                    <a:lnTo>
                      <a:pt x="1139" y="456"/>
                    </a:lnTo>
                    <a:lnTo>
                      <a:pt x="1143" y="456"/>
                    </a:lnTo>
                    <a:lnTo>
                      <a:pt x="1148" y="456"/>
                    </a:lnTo>
                    <a:lnTo>
                      <a:pt x="1152" y="456"/>
                    </a:lnTo>
                    <a:lnTo>
                      <a:pt x="1156" y="456"/>
                    </a:lnTo>
                    <a:lnTo>
                      <a:pt x="1161" y="456"/>
                    </a:lnTo>
                    <a:lnTo>
                      <a:pt x="1169" y="456"/>
                    </a:lnTo>
                    <a:lnTo>
                      <a:pt x="1174" y="461"/>
                    </a:lnTo>
                    <a:lnTo>
                      <a:pt x="1182" y="465"/>
                    </a:lnTo>
                    <a:lnTo>
                      <a:pt x="1187" y="465"/>
                    </a:lnTo>
                    <a:lnTo>
                      <a:pt x="1187" y="469"/>
                    </a:lnTo>
                    <a:lnTo>
                      <a:pt x="1191" y="469"/>
                    </a:lnTo>
                    <a:lnTo>
                      <a:pt x="1191" y="474"/>
                    </a:lnTo>
                    <a:lnTo>
                      <a:pt x="1191" y="478"/>
                    </a:lnTo>
                    <a:lnTo>
                      <a:pt x="1191" y="482"/>
                    </a:lnTo>
                    <a:lnTo>
                      <a:pt x="1195" y="482"/>
                    </a:lnTo>
                    <a:lnTo>
                      <a:pt x="1200" y="482"/>
                    </a:lnTo>
                    <a:lnTo>
                      <a:pt x="1200" y="487"/>
                    </a:lnTo>
                    <a:lnTo>
                      <a:pt x="1204" y="487"/>
                    </a:lnTo>
                    <a:lnTo>
                      <a:pt x="1208" y="491"/>
                    </a:lnTo>
                    <a:lnTo>
                      <a:pt x="1208" y="495"/>
                    </a:lnTo>
                    <a:lnTo>
                      <a:pt x="1213" y="495"/>
                    </a:lnTo>
                    <a:lnTo>
                      <a:pt x="1213" y="500"/>
                    </a:lnTo>
                    <a:lnTo>
                      <a:pt x="1217" y="500"/>
                    </a:lnTo>
                    <a:lnTo>
                      <a:pt x="1221" y="500"/>
                    </a:lnTo>
                    <a:lnTo>
                      <a:pt x="1226" y="500"/>
                    </a:lnTo>
                    <a:lnTo>
                      <a:pt x="1226" y="504"/>
                    </a:lnTo>
                    <a:lnTo>
                      <a:pt x="1230" y="508"/>
                    </a:lnTo>
                    <a:lnTo>
                      <a:pt x="1230" y="513"/>
                    </a:lnTo>
                    <a:lnTo>
                      <a:pt x="1230" y="517"/>
                    </a:lnTo>
                    <a:lnTo>
                      <a:pt x="1230" y="521"/>
                    </a:lnTo>
                    <a:lnTo>
                      <a:pt x="1226" y="521"/>
                    </a:lnTo>
                    <a:lnTo>
                      <a:pt x="1226" y="526"/>
                    </a:lnTo>
                    <a:lnTo>
                      <a:pt x="1226" y="530"/>
                    </a:lnTo>
                    <a:lnTo>
                      <a:pt x="1230" y="530"/>
                    </a:lnTo>
                    <a:lnTo>
                      <a:pt x="1239" y="530"/>
                    </a:lnTo>
                    <a:lnTo>
                      <a:pt x="1243" y="535"/>
                    </a:lnTo>
                    <a:lnTo>
                      <a:pt x="1252" y="535"/>
                    </a:lnTo>
                    <a:lnTo>
                      <a:pt x="1256" y="539"/>
                    </a:lnTo>
                    <a:lnTo>
                      <a:pt x="1261" y="543"/>
                    </a:lnTo>
                    <a:lnTo>
                      <a:pt x="1265" y="548"/>
                    </a:lnTo>
                    <a:lnTo>
                      <a:pt x="1269" y="548"/>
                    </a:lnTo>
                    <a:lnTo>
                      <a:pt x="1274" y="548"/>
                    </a:lnTo>
                    <a:lnTo>
                      <a:pt x="1278" y="543"/>
                    </a:lnTo>
                    <a:lnTo>
                      <a:pt x="1278" y="539"/>
                    </a:lnTo>
                    <a:lnTo>
                      <a:pt x="1282" y="539"/>
                    </a:lnTo>
                    <a:lnTo>
                      <a:pt x="1282" y="543"/>
                    </a:lnTo>
                    <a:lnTo>
                      <a:pt x="1287" y="543"/>
                    </a:lnTo>
                    <a:lnTo>
                      <a:pt x="1300" y="548"/>
                    </a:lnTo>
                    <a:lnTo>
                      <a:pt x="1304" y="548"/>
                    </a:lnTo>
                    <a:lnTo>
                      <a:pt x="1304" y="552"/>
                    </a:lnTo>
                    <a:lnTo>
                      <a:pt x="1308" y="552"/>
                    </a:lnTo>
                    <a:lnTo>
                      <a:pt x="1317" y="552"/>
                    </a:lnTo>
                    <a:lnTo>
                      <a:pt x="1321" y="539"/>
                    </a:lnTo>
                    <a:lnTo>
                      <a:pt x="1326" y="530"/>
                    </a:lnTo>
                    <a:lnTo>
                      <a:pt x="1330" y="526"/>
                    </a:lnTo>
                    <a:lnTo>
                      <a:pt x="1335" y="526"/>
                    </a:lnTo>
                    <a:lnTo>
                      <a:pt x="1335" y="521"/>
                    </a:lnTo>
                    <a:lnTo>
                      <a:pt x="1339" y="521"/>
                    </a:lnTo>
                    <a:lnTo>
                      <a:pt x="1343" y="517"/>
                    </a:lnTo>
                    <a:lnTo>
                      <a:pt x="1348" y="513"/>
                    </a:lnTo>
                    <a:lnTo>
                      <a:pt x="1348" y="508"/>
                    </a:lnTo>
                    <a:lnTo>
                      <a:pt x="1348" y="504"/>
                    </a:lnTo>
                    <a:lnTo>
                      <a:pt x="1348" y="500"/>
                    </a:lnTo>
                    <a:lnTo>
                      <a:pt x="1352" y="495"/>
                    </a:lnTo>
                    <a:lnTo>
                      <a:pt x="1352" y="491"/>
                    </a:lnTo>
                    <a:lnTo>
                      <a:pt x="1356" y="487"/>
                    </a:lnTo>
                    <a:lnTo>
                      <a:pt x="1356" y="482"/>
                    </a:lnTo>
                    <a:lnTo>
                      <a:pt x="1356" y="478"/>
                    </a:lnTo>
                    <a:lnTo>
                      <a:pt x="1352" y="474"/>
                    </a:lnTo>
                    <a:lnTo>
                      <a:pt x="1348" y="474"/>
                    </a:lnTo>
                    <a:lnTo>
                      <a:pt x="1352" y="469"/>
                    </a:lnTo>
                    <a:lnTo>
                      <a:pt x="1356" y="465"/>
                    </a:lnTo>
                    <a:lnTo>
                      <a:pt x="1365" y="465"/>
                    </a:lnTo>
                    <a:lnTo>
                      <a:pt x="1369" y="461"/>
                    </a:lnTo>
                    <a:lnTo>
                      <a:pt x="1374" y="461"/>
                    </a:lnTo>
                    <a:lnTo>
                      <a:pt x="1378" y="465"/>
                    </a:lnTo>
                    <a:lnTo>
                      <a:pt x="1378" y="469"/>
                    </a:lnTo>
                    <a:lnTo>
                      <a:pt x="1391" y="482"/>
                    </a:lnTo>
                    <a:lnTo>
                      <a:pt x="1395" y="482"/>
                    </a:lnTo>
                    <a:lnTo>
                      <a:pt x="1400" y="482"/>
                    </a:lnTo>
                    <a:lnTo>
                      <a:pt x="1404" y="487"/>
                    </a:lnTo>
                    <a:lnTo>
                      <a:pt x="1408" y="487"/>
                    </a:lnTo>
                    <a:lnTo>
                      <a:pt x="1417" y="491"/>
                    </a:lnTo>
                    <a:lnTo>
                      <a:pt x="1430" y="500"/>
                    </a:lnTo>
                    <a:lnTo>
                      <a:pt x="1430" y="513"/>
                    </a:lnTo>
                    <a:lnTo>
                      <a:pt x="1439" y="526"/>
                    </a:lnTo>
                    <a:lnTo>
                      <a:pt x="1443" y="530"/>
                    </a:lnTo>
                    <a:lnTo>
                      <a:pt x="1443" y="535"/>
                    </a:lnTo>
                    <a:lnTo>
                      <a:pt x="1443" y="539"/>
                    </a:lnTo>
                    <a:lnTo>
                      <a:pt x="1443" y="543"/>
                    </a:lnTo>
                    <a:lnTo>
                      <a:pt x="1443" y="548"/>
                    </a:lnTo>
                    <a:lnTo>
                      <a:pt x="1443" y="552"/>
                    </a:lnTo>
                    <a:lnTo>
                      <a:pt x="1452" y="569"/>
                    </a:lnTo>
                    <a:lnTo>
                      <a:pt x="1461" y="578"/>
                    </a:lnTo>
                    <a:lnTo>
                      <a:pt x="1465" y="582"/>
                    </a:lnTo>
                    <a:lnTo>
                      <a:pt x="1469" y="587"/>
                    </a:lnTo>
                    <a:lnTo>
                      <a:pt x="1474" y="591"/>
                    </a:lnTo>
                    <a:lnTo>
                      <a:pt x="1469" y="595"/>
                    </a:lnTo>
                    <a:lnTo>
                      <a:pt x="1465" y="600"/>
                    </a:lnTo>
                    <a:lnTo>
                      <a:pt x="1461" y="600"/>
                    </a:lnTo>
                    <a:lnTo>
                      <a:pt x="1461" y="595"/>
                    </a:lnTo>
                    <a:lnTo>
                      <a:pt x="1456" y="595"/>
                    </a:lnTo>
                    <a:lnTo>
                      <a:pt x="1452" y="595"/>
                    </a:lnTo>
                    <a:lnTo>
                      <a:pt x="1452" y="600"/>
                    </a:lnTo>
                    <a:lnTo>
                      <a:pt x="1452" y="604"/>
                    </a:lnTo>
                    <a:lnTo>
                      <a:pt x="1452" y="608"/>
                    </a:lnTo>
                    <a:lnTo>
                      <a:pt x="1461" y="617"/>
                    </a:lnTo>
                    <a:lnTo>
                      <a:pt x="1461" y="621"/>
                    </a:lnTo>
                    <a:lnTo>
                      <a:pt x="1461" y="630"/>
                    </a:lnTo>
                    <a:lnTo>
                      <a:pt x="1465" y="635"/>
                    </a:lnTo>
                    <a:lnTo>
                      <a:pt x="1469" y="639"/>
                    </a:lnTo>
                    <a:lnTo>
                      <a:pt x="1469" y="643"/>
                    </a:lnTo>
                    <a:lnTo>
                      <a:pt x="1474" y="648"/>
                    </a:lnTo>
                    <a:lnTo>
                      <a:pt x="1469" y="656"/>
                    </a:lnTo>
                    <a:lnTo>
                      <a:pt x="1474" y="661"/>
                    </a:lnTo>
                    <a:lnTo>
                      <a:pt x="1474" y="669"/>
                    </a:lnTo>
                    <a:lnTo>
                      <a:pt x="1474" y="678"/>
                    </a:lnTo>
                    <a:lnTo>
                      <a:pt x="1474" y="682"/>
                    </a:lnTo>
                    <a:lnTo>
                      <a:pt x="1474" y="691"/>
                    </a:lnTo>
                    <a:lnTo>
                      <a:pt x="1474" y="695"/>
                    </a:lnTo>
                    <a:lnTo>
                      <a:pt x="1474" y="700"/>
                    </a:lnTo>
                    <a:lnTo>
                      <a:pt x="1478" y="708"/>
                    </a:lnTo>
                    <a:lnTo>
                      <a:pt x="1478" y="717"/>
                    </a:lnTo>
                    <a:lnTo>
                      <a:pt x="1474" y="726"/>
                    </a:lnTo>
                    <a:lnTo>
                      <a:pt x="1469" y="739"/>
                    </a:lnTo>
                    <a:lnTo>
                      <a:pt x="1474" y="748"/>
                    </a:lnTo>
                    <a:lnTo>
                      <a:pt x="1474" y="752"/>
                    </a:lnTo>
                    <a:lnTo>
                      <a:pt x="1474" y="765"/>
                    </a:lnTo>
                    <a:lnTo>
                      <a:pt x="1474" y="769"/>
                    </a:lnTo>
                    <a:lnTo>
                      <a:pt x="1474" y="774"/>
                    </a:lnTo>
                    <a:lnTo>
                      <a:pt x="1478" y="778"/>
                    </a:lnTo>
                    <a:lnTo>
                      <a:pt x="1474" y="778"/>
                    </a:lnTo>
                    <a:lnTo>
                      <a:pt x="1469" y="778"/>
                    </a:lnTo>
                    <a:lnTo>
                      <a:pt x="1465" y="778"/>
                    </a:lnTo>
                    <a:lnTo>
                      <a:pt x="1465" y="782"/>
                    </a:lnTo>
                    <a:lnTo>
                      <a:pt x="1469" y="787"/>
                    </a:lnTo>
                    <a:lnTo>
                      <a:pt x="1469" y="791"/>
                    </a:lnTo>
                    <a:lnTo>
                      <a:pt x="1469" y="795"/>
                    </a:lnTo>
                    <a:lnTo>
                      <a:pt x="1465" y="795"/>
                    </a:lnTo>
                    <a:lnTo>
                      <a:pt x="1461" y="795"/>
                    </a:lnTo>
                    <a:lnTo>
                      <a:pt x="1461" y="800"/>
                    </a:lnTo>
                    <a:lnTo>
                      <a:pt x="1461" y="804"/>
                    </a:lnTo>
                    <a:lnTo>
                      <a:pt x="1461" y="808"/>
                    </a:lnTo>
                    <a:lnTo>
                      <a:pt x="1461" y="813"/>
                    </a:lnTo>
                    <a:lnTo>
                      <a:pt x="1456" y="813"/>
                    </a:lnTo>
                    <a:lnTo>
                      <a:pt x="1452" y="808"/>
                    </a:lnTo>
                    <a:lnTo>
                      <a:pt x="1452" y="804"/>
                    </a:lnTo>
                    <a:lnTo>
                      <a:pt x="1452" y="800"/>
                    </a:lnTo>
                    <a:lnTo>
                      <a:pt x="1452" y="795"/>
                    </a:lnTo>
                    <a:lnTo>
                      <a:pt x="1439" y="800"/>
                    </a:lnTo>
                    <a:lnTo>
                      <a:pt x="1439" y="804"/>
                    </a:lnTo>
                    <a:lnTo>
                      <a:pt x="1439" y="808"/>
                    </a:lnTo>
                    <a:lnTo>
                      <a:pt x="1439" y="813"/>
                    </a:lnTo>
                    <a:lnTo>
                      <a:pt x="1435" y="821"/>
                    </a:lnTo>
                    <a:lnTo>
                      <a:pt x="1435" y="826"/>
                    </a:lnTo>
                    <a:lnTo>
                      <a:pt x="1435" y="830"/>
                    </a:lnTo>
                    <a:lnTo>
                      <a:pt x="1435" y="835"/>
                    </a:lnTo>
                    <a:lnTo>
                      <a:pt x="1435" y="839"/>
                    </a:lnTo>
                    <a:lnTo>
                      <a:pt x="1435" y="843"/>
                    </a:lnTo>
                    <a:lnTo>
                      <a:pt x="1435" y="848"/>
                    </a:lnTo>
                    <a:lnTo>
                      <a:pt x="1435" y="852"/>
                    </a:lnTo>
                    <a:lnTo>
                      <a:pt x="1430" y="856"/>
                    </a:lnTo>
                    <a:lnTo>
                      <a:pt x="1426" y="856"/>
                    </a:lnTo>
                    <a:lnTo>
                      <a:pt x="1426" y="861"/>
                    </a:lnTo>
                    <a:lnTo>
                      <a:pt x="1422" y="861"/>
                    </a:lnTo>
                    <a:lnTo>
                      <a:pt x="1417" y="861"/>
                    </a:lnTo>
                    <a:lnTo>
                      <a:pt x="1413" y="856"/>
                    </a:lnTo>
                    <a:lnTo>
                      <a:pt x="1413" y="852"/>
                    </a:lnTo>
                    <a:lnTo>
                      <a:pt x="1408" y="848"/>
                    </a:lnTo>
                    <a:lnTo>
                      <a:pt x="1408" y="852"/>
                    </a:lnTo>
                    <a:lnTo>
                      <a:pt x="1408" y="856"/>
                    </a:lnTo>
                    <a:lnTo>
                      <a:pt x="1404" y="861"/>
                    </a:lnTo>
                    <a:lnTo>
                      <a:pt x="1400" y="865"/>
                    </a:lnTo>
                    <a:lnTo>
                      <a:pt x="1395" y="865"/>
                    </a:lnTo>
                    <a:lnTo>
                      <a:pt x="1387" y="861"/>
                    </a:lnTo>
                    <a:lnTo>
                      <a:pt x="1387" y="856"/>
                    </a:lnTo>
                    <a:lnTo>
                      <a:pt x="1378" y="843"/>
                    </a:lnTo>
                    <a:lnTo>
                      <a:pt x="1374" y="843"/>
                    </a:lnTo>
                    <a:lnTo>
                      <a:pt x="1374" y="848"/>
                    </a:lnTo>
                    <a:lnTo>
                      <a:pt x="1369" y="848"/>
                    </a:lnTo>
                    <a:lnTo>
                      <a:pt x="1365" y="839"/>
                    </a:lnTo>
                    <a:lnTo>
                      <a:pt x="1365" y="835"/>
                    </a:lnTo>
                    <a:lnTo>
                      <a:pt x="1365" y="830"/>
                    </a:lnTo>
                    <a:lnTo>
                      <a:pt x="1352" y="826"/>
                    </a:lnTo>
                    <a:lnTo>
                      <a:pt x="1348" y="839"/>
                    </a:lnTo>
                    <a:lnTo>
                      <a:pt x="1348" y="848"/>
                    </a:lnTo>
                    <a:lnTo>
                      <a:pt x="1343" y="848"/>
                    </a:lnTo>
                    <a:lnTo>
                      <a:pt x="1339" y="848"/>
                    </a:lnTo>
                    <a:lnTo>
                      <a:pt x="1335" y="852"/>
                    </a:lnTo>
                    <a:lnTo>
                      <a:pt x="1335" y="856"/>
                    </a:lnTo>
                    <a:lnTo>
                      <a:pt x="1330" y="852"/>
                    </a:lnTo>
                    <a:lnTo>
                      <a:pt x="1326" y="848"/>
                    </a:lnTo>
                    <a:lnTo>
                      <a:pt x="1321" y="839"/>
                    </a:lnTo>
                    <a:lnTo>
                      <a:pt x="1317" y="839"/>
                    </a:lnTo>
                    <a:lnTo>
                      <a:pt x="1313" y="839"/>
                    </a:lnTo>
                    <a:lnTo>
                      <a:pt x="1308" y="843"/>
                    </a:lnTo>
                    <a:lnTo>
                      <a:pt x="1295" y="839"/>
                    </a:lnTo>
                    <a:lnTo>
                      <a:pt x="1291" y="839"/>
                    </a:lnTo>
                    <a:lnTo>
                      <a:pt x="1291" y="835"/>
                    </a:lnTo>
                    <a:lnTo>
                      <a:pt x="1282" y="830"/>
                    </a:lnTo>
                    <a:lnTo>
                      <a:pt x="1278" y="826"/>
                    </a:lnTo>
                    <a:lnTo>
                      <a:pt x="1265" y="830"/>
                    </a:lnTo>
                    <a:lnTo>
                      <a:pt x="1261" y="839"/>
                    </a:lnTo>
                    <a:lnTo>
                      <a:pt x="1261" y="835"/>
                    </a:lnTo>
                    <a:lnTo>
                      <a:pt x="1261" y="821"/>
                    </a:lnTo>
                    <a:lnTo>
                      <a:pt x="1265" y="817"/>
                    </a:lnTo>
                    <a:lnTo>
                      <a:pt x="1282" y="804"/>
                    </a:lnTo>
                    <a:lnTo>
                      <a:pt x="1282" y="800"/>
                    </a:lnTo>
                    <a:lnTo>
                      <a:pt x="1278" y="791"/>
                    </a:lnTo>
                    <a:lnTo>
                      <a:pt x="1274" y="782"/>
                    </a:lnTo>
                    <a:lnTo>
                      <a:pt x="1274" y="778"/>
                    </a:lnTo>
                    <a:lnTo>
                      <a:pt x="1274" y="774"/>
                    </a:lnTo>
                    <a:lnTo>
                      <a:pt x="1265" y="778"/>
                    </a:lnTo>
                    <a:lnTo>
                      <a:pt x="1261" y="778"/>
                    </a:lnTo>
                    <a:lnTo>
                      <a:pt x="1261" y="782"/>
                    </a:lnTo>
                    <a:lnTo>
                      <a:pt x="1256" y="782"/>
                    </a:lnTo>
                    <a:lnTo>
                      <a:pt x="1252" y="787"/>
                    </a:lnTo>
                    <a:lnTo>
                      <a:pt x="1248" y="782"/>
                    </a:lnTo>
                    <a:lnTo>
                      <a:pt x="1248" y="774"/>
                    </a:lnTo>
                    <a:lnTo>
                      <a:pt x="1256" y="765"/>
                    </a:lnTo>
                    <a:lnTo>
                      <a:pt x="1261" y="765"/>
                    </a:lnTo>
                    <a:lnTo>
                      <a:pt x="1265" y="765"/>
                    </a:lnTo>
                    <a:lnTo>
                      <a:pt x="1269" y="756"/>
                    </a:lnTo>
                    <a:lnTo>
                      <a:pt x="1265" y="756"/>
                    </a:lnTo>
                    <a:lnTo>
                      <a:pt x="1261" y="756"/>
                    </a:lnTo>
                    <a:lnTo>
                      <a:pt x="1256" y="756"/>
                    </a:lnTo>
                    <a:lnTo>
                      <a:pt x="1256" y="752"/>
                    </a:lnTo>
                    <a:lnTo>
                      <a:pt x="1256" y="748"/>
                    </a:lnTo>
                    <a:lnTo>
                      <a:pt x="1252" y="743"/>
                    </a:lnTo>
                    <a:lnTo>
                      <a:pt x="1248" y="739"/>
                    </a:lnTo>
                    <a:lnTo>
                      <a:pt x="1243" y="739"/>
                    </a:lnTo>
                    <a:lnTo>
                      <a:pt x="1239" y="743"/>
                    </a:lnTo>
                    <a:lnTo>
                      <a:pt x="1235" y="743"/>
                    </a:lnTo>
                    <a:lnTo>
                      <a:pt x="1226" y="743"/>
                    </a:lnTo>
                    <a:lnTo>
                      <a:pt x="1213" y="752"/>
                    </a:lnTo>
                    <a:lnTo>
                      <a:pt x="1204" y="756"/>
                    </a:lnTo>
                    <a:lnTo>
                      <a:pt x="1204" y="761"/>
                    </a:lnTo>
                    <a:lnTo>
                      <a:pt x="1195" y="769"/>
                    </a:lnTo>
                    <a:lnTo>
                      <a:pt x="1191" y="769"/>
                    </a:lnTo>
                    <a:lnTo>
                      <a:pt x="1187" y="769"/>
                    </a:lnTo>
                    <a:lnTo>
                      <a:pt x="1174" y="761"/>
                    </a:lnTo>
                    <a:lnTo>
                      <a:pt x="1161" y="756"/>
                    </a:lnTo>
                    <a:lnTo>
                      <a:pt x="1152" y="752"/>
                    </a:lnTo>
                    <a:lnTo>
                      <a:pt x="1148" y="743"/>
                    </a:lnTo>
                    <a:lnTo>
                      <a:pt x="1143" y="735"/>
                    </a:lnTo>
                    <a:lnTo>
                      <a:pt x="1139" y="735"/>
                    </a:lnTo>
                    <a:lnTo>
                      <a:pt x="1135" y="743"/>
                    </a:lnTo>
                    <a:lnTo>
                      <a:pt x="1130" y="743"/>
                    </a:lnTo>
                    <a:lnTo>
                      <a:pt x="1126" y="748"/>
                    </a:lnTo>
                    <a:lnTo>
                      <a:pt x="1121" y="743"/>
                    </a:lnTo>
                    <a:lnTo>
                      <a:pt x="1117" y="743"/>
                    </a:lnTo>
                    <a:lnTo>
                      <a:pt x="1108" y="752"/>
                    </a:lnTo>
                    <a:lnTo>
                      <a:pt x="1104" y="756"/>
                    </a:lnTo>
                    <a:lnTo>
                      <a:pt x="1100" y="761"/>
                    </a:lnTo>
                    <a:lnTo>
                      <a:pt x="1100" y="765"/>
                    </a:lnTo>
                    <a:lnTo>
                      <a:pt x="1095" y="765"/>
                    </a:lnTo>
                    <a:lnTo>
                      <a:pt x="1091" y="769"/>
                    </a:lnTo>
                    <a:lnTo>
                      <a:pt x="1082" y="774"/>
                    </a:lnTo>
                    <a:lnTo>
                      <a:pt x="1078" y="782"/>
                    </a:lnTo>
                    <a:lnTo>
                      <a:pt x="1078" y="787"/>
                    </a:lnTo>
                    <a:lnTo>
                      <a:pt x="1074" y="787"/>
                    </a:lnTo>
                    <a:lnTo>
                      <a:pt x="1069" y="787"/>
                    </a:lnTo>
                    <a:lnTo>
                      <a:pt x="1061" y="782"/>
                    </a:lnTo>
                    <a:lnTo>
                      <a:pt x="1056" y="787"/>
                    </a:lnTo>
                    <a:lnTo>
                      <a:pt x="1052" y="787"/>
                    </a:lnTo>
                    <a:lnTo>
                      <a:pt x="1048" y="787"/>
                    </a:lnTo>
                    <a:lnTo>
                      <a:pt x="1048" y="782"/>
                    </a:lnTo>
                    <a:lnTo>
                      <a:pt x="1043" y="782"/>
                    </a:lnTo>
                    <a:lnTo>
                      <a:pt x="1039" y="782"/>
                    </a:lnTo>
                    <a:lnTo>
                      <a:pt x="1034" y="787"/>
                    </a:lnTo>
                    <a:lnTo>
                      <a:pt x="1030" y="787"/>
                    </a:lnTo>
                    <a:lnTo>
                      <a:pt x="1026" y="791"/>
                    </a:lnTo>
                    <a:lnTo>
                      <a:pt x="1021" y="795"/>
                    </a:lnTo>
                    <a:lnTo>
                      <a:pt x="1017" y="800"/>
                    </a:lnTo>
                    <a:lnTo>
                      <a:pt x="1017" y="804"/>
                    </a:lnTo>
                    <a:lnTo>
                      <a:pt x="1017" y="808"/>
                    </a:lnTo>
                    <a:lnTo>
                      <a:pt x="1008" y="808"/>
                    </a:lnTo>
                    <a:lnTo>
                      <a:pt x="1004" y="808"/>
                    </a:lnTo>
                    <a:lnTo>
                      <a:pt x="991" y="813"/>
                    </a:lnTo>
                    <a:lnTo>
                      <a:pt x="991" y="817"/>
                    </a:lnTo>
                    <a:lnTo>
                      <a:pt x="987" y="817"/>
                    </a:lnTo>
                    <a:lnTo>
                      <a:pt x="978" y="817"/>
                    </a:lnTo>
                    <a:lnTo>
                      <a:pt x="974" y="821"/>
                    </a:lnTo>
                    <a:lnTo>
                      <a:pt x="974" y="826"/>
                    </a:lnTo>
                    <a:lnTo>
                      <a:pt x="974" y="830"/>
                    </a:lnTo>
                    <a:lnTo>
                      <a:pt x="974" y="835"/>
                    </a:lnTo>
                    <a:lnTo>
                      <a:pt x="965" y="839"/>
                    </a:lnTo>
                    <a:lnTo>
                      <a:pt x="961" y="843"/>
                    </a:lnTo>
                    <a:lnTo>
                      <a:pt x="952" y="843"/>
                    </a:lnTo>
                    <a:lnTo>
                      <a:pt x="943" y="843"/>
                    </a:lnTo>
                    <a:lnTo>
                      <a:pt x="943" y="848"/>
                    </a:lnTo>
                    <a:lnTo>
                      <a:pt x="939" y="848"/>
                    </a:lnTo>
                    <a:lnTo>
                      <a:pt x="939" y="839"/>
                    </a:lnTo>
                    <a:lnTo>
                      <a:pt x="934" y="843"/>
                    </a:lnTo>
                    <a:lnTo>
                      <a:pt x="930" y="843"/>
                    </a:lnTo>
                    <a:lnTo>
                      <a:pt x="926" y="843"/>
                    </a:lnTo>
                    <a:lnTo>
                      <a:pt x="921" y="843"/>
                    </a:lnTo>
                    <a:lnTo>
                      <a:pt x="917" y="848"/>
                    </a:lnTo>
                    <a:lnTo>
                      <a:pt x="913" y="848"/>
                    </a:lnTo>
                    <a:lnTo>
                      <a:pt x="904" y="848"/>
                    </a:lnTo>
                    <a:lnTo>
                      <a:pt x="900" y="843"/>
                    </a:lnTo>
                    <a:lnTo>
                      <a:pt x="891" y="839"/>
                    </a:lnTo>
                    <a:lnTo>
                      <a:pt x="891" y="835"/>
                    </a:lnTo>
                    <a:lnTo>
                      <a:pt x="891" y="830"/>
                    </a:lnTo>
                    <a:lnTo>
                      <a:pt x="891" y="826"/>
                    </a:lnTo>
                    <a:lnTo>
                      <a:pt x="887" y="821"/>
                    </a:lnTo>
                    <a:lnTo>
                      <a:pt x="882" y="821"/>
                    </a:lnTo>
                    <a:lnTo>
                      <a:pt x="878" y="821"/>
                    </a:lnTo>
                    <a:lnTo>
                      <a:pt x="878" y="817"/>
                    </a:lnTo>
                    <a:lnTo>
                      <a:pt x="874" y="817"/>
                    </a:lnTo>
                    <a:lnTo>
                      <a:pt x="869" y="813"/>
                    </a:lnTo>
                    <a:lnTo>
                      <a:pt x="865" y="808"/>
                    </a:lnTo>
                    <a:lnTo>
                      <a:pt x="861" y="808"/>
                    </a:lnTo>
                    <a:lnTo>
                      <a:pt x="856" y="813"/>
                    </a:lnTo>
                    <a:lnTo>
                      <a:pt x="852" y="813"/>
                    </a:lnTo>
                    <a:lnTo>
                      <a:pt x="852" y="817"/>
                    </a:lnTo>
                    <a:lnTo>
                      <a:pt x="847" y="817"/>
                    </a:lnTo>
                    <a:lnTo>
                      <a:pt x="843" y="813"/>
                    </a:lnTo>
                    <a:lnTo>
                      <a:pt x="839" y="813"/>
                    </a:lnTo>
                    <a:lnTo>
                      <a:pt x="839" y="808"/>
                    </a:lnTo>
                    <a:lnTo>
                      <a:pt x="834" y="808"/>
                    </a:lnTo>
                    <a:lnTo>
                      <a:pt x="830" y="804"/>
                    </a:lnTo>
                    <a:lnTo>
                      <a:pt x="821" y="804"/>
                    </a:lnTo>
                    <a:lnTo>
                      <a:pt x="817" y="800"/>
                    </a:lnTo>
                    <a:lnTo>
                      <a:pt x="813" y="800"/>
                    </a:lnTo>
                    <a:lnTo>
                      <a:pt x="808" y="80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5" name="Freeform 34">
                <a:extLst>
                  <a:ext uri="{FF2B5EF4-FFF2-40B4-BE49-F238E27FC236}">
                    <a16:creationId xmlns:a16="http://schemas.microsoft.com/office/drawing/2014/main" id="{52A1DC7D-B343-75C4-E981-DF025E23F4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81843" y="4777708"/>
                <a:ext cx="1227667" cy="1209675"/>
              </a:xfrm>
              <a:custGeom>
                <a:avLst/>
                <a:gdLst>
                  <a:gd name="T0" fmla="*/ 335 w 709"/>
                  <a:gd name="T1" fmla="*/ 617 h 730"/>
                  <a:gd name="T2" fmla="*/ 335 w 709"/>
                  <a:gd name="T3" fmla="*/ 709 h 730"/>
                  <a:gd name="T4" fmla="*/ 305 w 709"/>
                  <a:gd name="T5" fmla="*/ 722 h 730"/>
                  <a:gd name="T6" fmla="*/ 283 w 709"/>
                  <a:gd name="T7" fmla="*/ 670 h 730"/>
                  <a:gd name="T8" fmla="*/ 218 w 709"/>
                  <a:gd name="T9" fmla="*/ 691 h 730"/>
                  <a:gd name="T10" fmla="*/ 187 w 709"/>
                  <a:gd name="T11" fmla="*/ 656 h 730"/>
                  <a:gd name="T12" fmla="*/ 148 w 709"/>
                  <a:gd name="T13" fmla="*/ 630 h 730"/>
                  <a:gd name="T14" fmla="*/ 139 w 709"/>
                  <a:gd name="T15" fmla="*/ 578 h 730"/>
                  <a:gd name="T16" fmla="*/ 109 w 709"/>
                  <a:gd name="T17" fmla="*/ 530 h 730"/>
                  <a:gd name="T18" fmla="*/ 91 w 709"/>
                  <a:gd name="T19" fmla="*/ 461 h 730"/>
                  <a:gd name="T20" fmla="*/ 74 w 709"/>
                  <a:gd name="T21" fmla="*/ 443 h 730"/>
                  <a:gd name="T22" fmla="*/ 4 w 709"/>
                  <a:gd name="T23" fmla="*/ 456 h 730"/>
                  <a:gd name="T24" fmla="*/ 4 w 709"/>
                  <a:gd name="T25" fmla="*/ 404 h 730"/>
                  <a:gd name="T26" fmla="*/ 31 w 709"/>
                  <a:gd name="T27" fmla="*/ 352 h 730"/>
                  <a:gd name="T28" fmla="*/ 61 w 709"/>
                  <a:gd name="T29" fmla="*/ 317 h 730"/>
                  <a:gd name="T30" fmla="*/ 109 w 709"/>
                  <a:gd name="T31" fmla="*/ 296 h 730"/>
                  <a:gd name="T32" fmla="*/ 109 w 709"/>
                  <a:gd name="T33" fmla="*/ 261 h 730"/>
                  <a:gd name="T34" fmla="*/ 118 w 709"/>
                  <a:gd name="T35" fmla="*/ 170 h 730"/>
                  <a:gd name="T36" fmla="*/ 96 w 709"/>
                  <a:gd name="T37" fmla="*/ 143 h 730"/>
                  <a:gd name="T38" fmla="*/ 78 w 709"/>
                  <a:gd name="T39" fmla="*/ 87 h 730"/>
                  <a:gd name="T40" fmla="*/ 109 w 709"/>
                  <a:gd name="T41" fmla="*/ 83 h 730"/>
                  <a:gd name="T42" fmla="*/ 118 w 709"/>
                  <a:gd name="T43" fmla="*/ 43 h 730"/>
                  <a:gd name="T44" fmla="*/ 144 w 709"/>
                  <a:gd name="T45" fmla="*/ 35 h 730"/>
                  <a:gd name="T46" fmla="*/ 148 w 709"/>
                  <a:gd name="T47" fmla="*/ 0 h 730"/>
                  <a:gd name="T48" fmla="*/ 161 w 709"/>
                  <a:gd name="T49" fmla="*/ 57 h 730"/>
                  <a:gd name="T50" fmla="*/ 174 w 709"/>
                  <a:gd name="T51" fmla="*/ 65 h 730"/>
                  <a:gd name="T52" fmla="*/ 222 w 709"/>
                  <a:gd name="T53" fmla="*/ 61 h 730"/>
                  <a:gd name="T54" fmla="*/ 226 w 709"/>
                  <a:gd name="T55" fmla="*/ 104 h 730"/>
                  <a:gd name="T56" fmla="*/ 261 w 709"/>
                  <a:gd name="T57" fmla="*/ 130 h 730"/>
                  <a:gd name="T58" fmla="*/ 287 w 709"/>
                  <a:gd name="T59" fmla="*/ 152 h 730"/>
                  <a:gd name="T60" fmla="*/ 309 w 709"/>
                  <a:gd name="T61" fmla="*/ 191 h 730"/>
                  <a:gd name="T62" fmla="*/ 335 w 709"/>
                  <a:gd name="T63" fmla="*/ 248 h 730"/>
                  <a:gd name="T64" fmla="*/ 357 w 709"/>
                  <a:gd name="T65" fmla="*/ 283 h 730"/>
                  <a:gd name="T66" fmla="*/ 392 w 709"/>
                  <a:gd name="T67" fmla="*/ 274 h 730"/>
                  <a:gd name="T68" fmla="*/ 444 w 709"/>
                  <a:gd name="T69" fmla="*/ 265 h 730"/>
                  <a:gd name="T70" fmla="*/ 448 w 709"/>
                  <a:gd name="T71" fmla="*/ 217 h 730"/>
                  <a:gd name="T72" fmla="*/ 465 w 709"/>
                  <a:gd name="T73" fmla="*/ 170 h 730"/>
                  <a:gd name="T74" fmla="*/ 492 w 709"/>
                  <a:gd name="T75" fmla="*/ 109 h 730"/>
                  <a:gd name="T76" fmla="*/ 522 w 709"/>
                  <a:gd name="T77" fmla="*/ 78 h 730"/>
                  <a:gd name="T78" fmla="*/ 561 w 709"/>
                  <a:gd name="T79" fmla="*/ 70 h 730"/>
                  <a:gd name="T80" fmla="*/ 565 w 709"/>
                  <a:gd name="T81" fmla="*/ 117 h 730"/>
                  <a:gd name="T82" fmla="*/ 605 w 709"/>
                  <a:gd name="T83" fmla="*/ 130 h 730"/>
                  <a:gd name="T84" fmla="*/ 631 w 709"/>
                  <a:gd name="T85" fmla="*/ 130 h 730"/>
                  <a:gd name="T86" fmla="*/ 613 w 709"/>
                  <a:gd name="T87" fmla="*/ 174 h 730"/>
                  <a:gd name="T88" fmla="*/ 565 w 709"/>
                  <a:gd name="T89" fmla="*/ 178 h 730"/>
                  <a:gd name="T90" fmla="*/ 526 w 709"/>
                  <a:gd name="T91" fmla="*/ 178 h 730"/>
                  <a:gd name="T92" fmla="*/ 513 w 709"/>
                  <a:gd name="T93" fmla="*/ 209 h 730"/>
                  <a:gd name="T94" fmla="*/ 526 w 709"/>
                  <a:gd name="T95" fmla="*/ 252 h 730"/>
                  <a:gd name="T96" fmla="*/ 570 w 709"/>
                  <a:gd name="T97" fmla="*/ 243 h 730"/>
                  <a:gd name="T98" fmla="*/ 574 w 709"/>
                  <a:gd name="T99" fmla="*/ 296 h 730"/>
                  <a:gd name="T100" fmla="*/ 583 w 709"/>
                  <a:gd name="T101" fmla="*/ 356 h 730"/>
                  <a:gd name="T102" fmla="*/ 574 w 709"/>
                  <a:gd name="T103" fmla="*/ 404 h 730"/>
                  <a:gd name="T104" fmla="*/ 587 w 709"/>
                  <a:gd name="T105" fmla="*/ 448 h 730"/>
                  <a:gd name="T106" fmla="*/ 626 w 709"/>
                  <a:gd name="T107" fmla="*/ 461 h 730"/>
                  <a:gd name="T108" fmla="*/ 674 w 709"/>
                  <a:gd name="T109" fmla="*/ 474 h 730"/>
                  <a:gd name="T110" fmla="*/ 705 w 709"/>
                  <a:gd name="T111" fmla="*/ 517 h 730"/>
                  <a:gd name="T112" fmla="*/ 657 w 709"/>
                  <a:gd name="T113" fmla="*/ 552 h 730"/>
                  <a:gd name="T114" fmla="*/ 574 w 709"/>
                  <a:gd name="T115" fmla="*/ 583 h 730"/>
                  <a:gd name="T116" fmla="*/ 531 w 709"/>
                  <a:gd name="T117" fmla="*/ 596 h 730"/>
                  <a:gd name="T118" fmla="*/ 492 w 709"/>
                  <a:gd name="T119" fmla="*/ 591 h 730"/>
                  <a:gd name="T120" fmla="*/ 448 w 709"/>
                  <a:gd name="T121" fmla="*/ 617 h 730"/>
                  <a:gd name="T122" fmla="*/ 396 w 709"/>
                  <a:gd name="T123" fmla="*/ 600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9" h="730">
                    <a:moveTo>
                      <a:pt x="374" y="617"/>
                    </a:moveTo>
                    <a:lnTo>
                      <a:pt x="370" y="613"/>
                    </a:lnTo>
                    <a:lnTo>
                      <a:pt x="365" y="613"/>
                    </a:lnTo>
                    <a:lnTo>
                      <a:pt x="357" y="613"/>
                    </a:lnTo>
                    <a:lnTo>
                      <a:pt x="344" y="609"/>
                    </a:lnTo>
                    <a:lnTo>
                      <a:pt x="339" y="609"/>
                    </a:lnTo>
                    <a:lnTo>
                      <a:pt x="335" y="609"/>
                    </a:lnTo>
                    <a:lnTo>
                      <a:pt x="335" y="613"/>
                    </a:lnTo>
                    <a:lnTo>
                      <a:pt x="331" y="613"/>
                    </a:lnTo>
                    <a:lnTo>
                      <a:pt x="335" y="617"/>
                    </a:lnTo>
                    <a:lnTo>
                      <a:pt x="331" y="626"/>
                    </a:lnTo>
                    <a:lnTo>
                      <a:pt x="326" y="630"/>
                    </a:lnTo>
                    <a:lnTo>
                      <a:pt x="326" y="652"/>
                    </a:lnTo>
                    <a:lnTo>
                      <a:pt x="331" y="656"/>
                    </a:lnTo>
                    <a:lnTo>
                      <a:pt x="339" y="665"/>
                    </a:lnTo>
                    <a:lnTo>
                      <a:pt x="339" y="678"/>
                    </a:lnTo>
                    <a:lnTo>
                      <a:pt x="339" y="683"/>
                    </a:lnTo>
                    <a:lnTo>
                      <a:pt x="339" y="696"/>
                    </a:lnTo>
                    <a:lnTo>
                      <a:pt x="339" y="700"/>
                    </a:lnTo>
                    <a:lnTo>
                      <a:pt x="335" y="709"/>
                    </a:lnTo>
                    <a:lnTo>
                      <a:pt x="335" y="713"/>
                    </a:lnTo>
                    <a:lnTo>
                      <a:pt x="339" y="717"/>
                    </a:lnTo>
                    <a:lnTo>
                      <a:pt x="344" y="722"/>
                    </a:lnTo>
                    <a:lnTo>
                      <a:pt x="339" y="730"/>
                    </a:lnTo>
                    <a:lnTo>
                      <a:pt x="335" y="730"/>
                    </a:lnTo>
                    <a:lnTo>
                      <a:pt x="331" y="726"/>
                    </a:lnTo>
                    <a:lnTo>
                      <a:pt x="322" y="722"/>
                    </a:lnTo>
                    <a:lnTo>
                      <a:pt x="322" y="717"/>
                    </a:lnTo>
                    <a:lnTo>
                      <a:pt x="313" y="717"/>
                    </a:lnTo>
                    <a:lnTo>
                      <a:pt x="305" y="722"/>
                    </a:lnTo>
                    <a:lnTo>
                      <a:pt x="300" y="726"/>
                    </a:lnTo>
                    <a:lnTo>
                      <a:pt x="296" y="726"/>
                    </a:lnTo>
                    <a:lnTo>
                      <a:pt x="291" y="722"/>
                    </a:lnTo>
                    <a:lnTo>
                      <a:pt x="291" y="717"/>
                    </a:lnTo>
                    <a:lnTo>
                      <a:pt x="291" y="709"/>
                    </a:lnTo>
                    <a:lnTo>
                      <a:pt x="296" y="709"/>
                    </a:lnTo>
                    <a:lnTo>
                      <a:pt x="287" y="691"/>
                    </a:lnTo>
                    <a:lnTo>
                      <a:pt x="287" y="687"/>
                    </a:lnTo>
                    <a:lnTo>
                      <a:pt x="287" y="683"/>
                    </a:lnTo>
                    <a:lnTo>
                      <a:pt x="283" y="670"/>
                    </a:lnTo>
                    <a:lnTo>
                      <a:pt x="261" y="683"/>
                    </a:lnTo>
                    <a:lnTo>
                      <a:pt x="257" y="683"/>
                    </a:lnTo>
                    <a:lnTo>
                      <a:pt x="257" y="687"/>
                    </a:lnTo>
                    <a:lnTo>
                      <a:pt x="248" y="691"/>
                    </a:lnTo>
                    <a:lnTo>
                      <a:pt x="244" y="696"/>
                    </a:lnTo>
                    <a:lnTo>
                      <a:pt x="235" y="696"/>
                    </a:lnTo>
                    <a:lnTo>
                      <a:pt x="231" y="696"/>
                    </a:lnTo>
                    <a:lnTo>
                      <a:pt x="226" y="691"/>
                    </a:lnTo>
                    <a:lnTo>
                      <a:pt x="222" y="687"/>
                    </a:lnTo>
                    <a:lnTo>
                      <a:pt x="218" y="691"/>
                    </a:lnTo>
                    <a:lnTo>
                      <a:pt x="213" y="696"/>
                    </a:lnTo>
                    <a:lnTo>
                      <a:pt x="205" y="696"/>
                    </a:lnTo>
                    <a:lnTo>
                      <a:pt x="200" y="691"/>
                    </a:lnTo>
                    <a:lnTo>
                      <a:pt x="200" y="683"/>
                    </a:lnTo>
                    <a:lnTo>
                      <a:pt x="200" y="678"/>
                    </a:lnTo>
                    <a:lnTo>
                      <a:pt x="196" y="674"/>
                    </a:lnTo>
                    <a:lnTo>
                      <a:pt x="191" y="674"/>
                    </a:lnTo>
                    <a:lnTo>
                      <a:pt x="187" y="670"/>
                    </a:lnTo>
                    <a:lnTo>
                      <a:pt x="187" y="661"/>
                    </a:lnTo>
                    <a:lnTo>
                      <a:pt x="187" y="656"/>
                    </a:lnTo>
                    <a:lnTo>
                      <a:pt x="187" y="652"/>
                    </a:lnTo>
                    <a:lnTo>
                      <a:pt x="191" y="648"/>
                    </a:lnTo>
                    <a:lnTo>
                      <a:pt x="187" y="639"/>
                    </a:lnTo>
                    <a:lnTo>
                      <a:pt x="183" y="639"/>
                    </a:lnTo>
                    <a:lnTo>
                      <a:pt x="170" y="639"/>
                    </a:lnTo>
                    <a:lnTo>
                      <a:pt x="165" y="639"/>
                    </a:lnTo>
                    <a:lnTo>
                      <a:pt x="165" y="635"/>
                    </a:lnTo>
                    <a:lnTo>
                      <a:pt x="161" y="635"/>
                    </a:lnTo>
                    <a:lnTo>
                      <a:pt x="157" y="635"/>
                    </a:lnTo>
                    <a:lnTo>
                      <a:pt x="148" y="630"/>
                    </a:lnTo>
                    <a:lnTo>
                      <a:pt x="144" y="630"/>
                    </a:lnTo>
                    <a:lnTo>
                      <a:pt x="139" y="635"/>
                    </a:lnTo>
                    <a:lnTo>
                      <a:pt x="126" y="630"/>
                    </a:lnTo>
                    <a:lnTo>
                      <a:pt x="122" y="626"/>
                    </a:lnTo>
                    <a:lnTo>
                      <a:pt x="135" y="604"/>
                    </a:lnTo>
                    <a:lnTo>
                      <a:pt x="139" y="600"/>
                    </a:lnTo>
                    <a:lnTo>
                      <a:pt x="144" y="600"/>
                    </a:lnTo>
                    <a:lnTo>
                      <a:pt x="144" y="596"/>
                    </a:lnTo>
                    <a:lnTo>
                      <a:pt x="144" y="587"/>
                    </a:lnTo>
                    <a:lnTo>
                      <a:pt x="139" y="578"/>
                    </a:lnTo>
                    <a:lnTo>
                      <a:pt x="148" y="565"/>
                    </a:lnTo>
                    <a:lnTo>
                      <a:pt x="157" y="561"/>
                    </a:lnTo>
                    <a:lnTo>
                      <a:pt x="161" y="556"/>
                    </a:lnTo>
                    <a:lnTo>
                      <a:pt x="157" y="543"/>
                    </a:lnTo>
                    <a:lnTo>
                      <a:pt x="144" y="539"/>
                    </a:lnTo>
                    <a:lnTo>
                      <a:pt x="135" y="539"/>
                    </a:lnTo>
                    <a:lnTo>
                      <a:pt x="135" y="543"/>
                    </a:lnTo>
                    <a:lnTo>
                      <a:pt x="131" y="543"/>
                    </a:lnTo>
                    <a:lnTo>
                      <a:pt x="122" y="539"/>
                    </a:lnTo>
                    <a:lnTo>
                      <a:pt x="109" y="530"/>
                    </a:lnTo>
                    <a:lnTo>
                      <a:pt x="109" y="522"/>
                    </a:lnTo>
                    <a:lnTo>
                      <a:pt x="109" y="513"/>
                    </a:lnTo>
                    <a:lnTo>
                      <a:pt x="109" y="509"/>
                    </a:lnTo>
                    <a:lnTo>
                      <a:pt x="105" y="504"/>
                    </a:lnTo>
                    <a:lnTo>
                      <a:pt x="100" y="504"/>
                    </a:lnTo>
                    <a:lnTo>
                      <a:pt x="100" y="500"/>
                    </a:lnTo>
                    <a:lnTo>
                      <a:pt x="105" y="491"/>
                    </a:lnTo>
                    <a:lnTo>
                      <a:pt x="105" y="483"/>
                    </a:lnTo>
                    <a:lnTo>
                      <a:pt x="91" y="474"/>
                    </a:lnTo>
                    <a:lnTo>
                      <a:pt x="91" y="461"/>
                    </a:lnTo>
                    <a:lnTo>
                      <a:pt x="96" y="461"/>
                    </a:lnTo>
                    <a:lnTo>
                      <a:pt x="100" y="461"/>
                    </a:lnTo>
                    <a:lnTo>
                      <a:pt x="109" y="452"/>
                    </a:lnTo>
                    <a:lnTo>
                      <a:pt x="113" y="452"/>
                    </a:lnTo>
                    <a:lnTo>
                      <a:pt x="113" y="448"/>
                    </a:lnTo>
                    <a:lnTo>
                      <a:pt x="113" y="443"/>
                    </a:lnTo>
                    <a:lnTo>
                      <a:pt x="109" y="448"/>
                    </a:lnTo>
                    <a:lnTo>
                      <a:pt x="87" y="448"/>
                    </a:lnTo>
                    <a:lnTo>
                      <a:pt x="83" y="448"/>
                    </a:lnTo>
                    <a:lnTo>
                      <a:pt x="74" y="443"/>
                    </a:lnTo>
                    <a:lnTo>
                      <a:pt x="57" y="443"/>
                    </a:lnTo>
                    <a:lnTo>
                      <a:pt x="52" y="443"/>
                    </a:lnTo>
                    <a:lnTo>
                      <a:pt x="44" y="448"/>
                    </a:lnTo>
                    <a:lnTo>
                      <a:pt x="31" y="452"/>
                    </a:lnTo>
                    <a:lnTo>
                      <a:pt x="26" y="456"/>
                    </a:lnTo>
                    <a:lnTo>
                      <a:pt x="18" y="461"/>
                    </a:lnTo>
                    <a:lnTo>
                      <a:pt x="13" y="461"/>
                    </a:lnTo>
                    <a:lnTo>
                      <a:pt x="9" y="465"/>
                    </a:lnTo>
                    <a:lnTo>
                      <a:pt x="9" y="461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9" y="448"/>
                    </a:lnTo>
                    <a:lnTo>
                      <a:pt x="13" y="443"/>
                    </a:lnTo>
                    <a:lnTo>
                      <a:pt x="18" y="443"/>
                    </a:lnTo>
                    <a:lnTo>
                      <a:pt x="18" y="439"/>
                    </a:lnTo>
                    <a:lnTo>
                      <a:pt x="22" y="430"/>
                    </a:lnTo>
                    <a:lnTo>
                      <a:pt x="18" y="417"/>
                    </a:lnTo>
                    <a:lnTo>
                      <a:pt x="13" y="413"/>
                    </a:lnTo>
                    <a:lnTo>
                      <a:pt x="4" y="409"/>
                    </a:lnTo>
                    <a:lnTo>
                      <a:pt x="4" y="404"/>
                    </a:lnTo>
                    <a:lnTo>
                      <a:pt x="4" y="400"/>
                    </a:lnTo>
                    <a:lnTo>
                      <a:pt x="9" y="391"/>
                    </a:lnTo>
                    <a:lnTo>
                      <a:pt x="9" y="387"/>
                    </a:lnTo>
                    <a:lnTo>
                      <a:pt x="9" y="383"/>
                    </a:lnTo>
                    <a:lnTo>
                      <a:pt x="18" y="378"/>
                    </a:lnTo>
                    <a:lnTo>
                      <a:pt x="22" y="370"/>
                    </a:lnTo>
                    <a:lnTo>
                      <a:pt x="22" y="365"/>
                    </a:lnTo>
                    <a:lnTo>
                      <a:pt x="22" y="356"/>
                    </a:lnTo>
                    <a:lnTo>
                      <a:pt x="26" y="356"/>
                    </a:lnTo>
                    <a:lnTo>
                      <a:pt x="31" y="352"/>
                    </a:lnTo>
                    <a:lnTo>
                      <a:pt x="31" y="348"/>
                    </a:lnTo>
                    <a:lnTo>
                      <a:pt x="31" y="343"/>
                    </a:lnTo>
                    <a:lnTo>
                      <a:pt x="35" y="343"/>
                    </a:lnTo>
                    <a:lnTo>
                      <a:pt x="35" y="339"/>
                    </a:lnTo>
                    <a:lnTo>
                      <a:pt x="39" y="343"/>
                    </a:lnTo>
                    <a:lnTo>
                      <a:pt x="39" y="348"/>
                    </a:lnTo>
                    <a:lnTo>
                      <a:pt x="44" y="343"/>
                    </a:lnTo>
                    <a:lnTo>
                      <a:pt x="52" y="339"/>
                    </a:lnTo>
                    <a:lnTo>
                      <a:pt x="57" y="330"/>
                    </a:lnTo>
                    <a:lnTo>
                      <a:pt x="61" y="317"/>
                    </a:lnTo>
                    <a:lnTo>
                      <a:pt x="65" y="313"/>
                    </a:lnTo>
                    <a:lnTo>
                      <a:pt x="74" y="317"/>
                    </a:lnTo>
                    <a:lnTo>
                      <a:pt x="78" y="317"/>
                    </a:lnTo>
                    <a:lnTo>
                      <a:pt x="78" y="313"/>
                    </a:lnTo>
                    <a:lnTo>
                      <a:pt x="87" y="309"/>
                    </a:lnTo>
                    <a:lnTo>
                      <a:pt x="87" y="300"/>
                    </a:lnTo>
                    <a:lnTo>
                      <a:pt x="91" y="296"/>
                    </a:lnTo>
                    <a:lnTo>
                      <a:pt x="96" y="296"/>
                    </a:lnTo>
                    <a:lnTo>
                      <a:pt x="100" y="300"/>
                    </a:lnTo>
                    <a:lnTo>
                      <a:pt x="109" y="296"/>
                    </a:lnTo>
                    <a:lnTo>
                      <a:pt x="109" y="291"/>
                    </a:lnTo>
                    <a:lnTo>
                      <a:pt x="105" y="283"/>
                    </a:lnTo>
                    <a:lnTo>
                      <a:pt x="100" y="283"/>
                    </a:lnTo>
                    <a:lnTo>
                      <a:pt x="100" y="274"/>
                    </a:lnTo>
                    <a:lnTo>
                      <a:pt x="100" y="270"/>
                    </a:lnTo>
                    <a:lnTo>
                      <a:pt x="105" y="270"/>
                    </a:lnTo>
                    <a:lnTo>
                      <a:pt x="105" y="274"/>
                    </a:lnTo>
                    <a:lnTo>
                      <a:pt x="109" y="270"/>
                    </a:lnTo>
                    <a:lnTo>
                      <a:pt x="113" y="265"/>
                    </a:lnTo>
                    <a:lnTo>
                      <a:pt x="109" y="261"/>
                    </a:lnTo>
                    <a:lnTo>
                      <a:pt x="113" y="248"/>
                    </a:lnTo>
                    <a:lnTo>
                      <a:pt x="113" y="243"/>
                    </a:lnTo>
                    <a:lnTo>
                      <a:pt x="118" y="226"/>
                    </a:lnTo>
                    <a:lnTo>
                      <a:pt x="118" y="213"/>
                    </a:lnTo>
                    <a:lnTo>
                      <a:pt x="118" y="204"/>
                    </a:lnTo>
                    <a:lnTo>
                      <a:pt x="118" y="191"/>
                    </a:lnTo>
                    <a:lnTo>
                      <a:pt x="118" y="183"/>
                    </a:lnTo>
                    <a:lnTo>
                      <a:pt x="113" y="174"/>
                    </a:lnTo>
                    <a:lnTo>
                      <a:pt x="118" y="174"/>
                    </a:lnTo>
                    <a:lnTo>
                      <a:pt x="118" y="170"/>
                    </a:lnTo>
                    <a:lnTo>
                      <a:pt x="118" y="165"/>
                    </a:lnTo>
                    <a:lnTo>
                      <a:pt x="118" y="161"/>
                    </a:lnTo>
                    <a:lnTo>
                      <a:pt x="118" y="152"/>
                    </a:lnTo>
                    <a:lnTo>
                      <a:pt x="118" y="148"/>
                    </a:lnTo>
                    <a:lnTo>
                      <a:pt x="113" y="139"/>
                    </a:lnTo>
                    <a:lnTo>
                      <a:pt x="105" y="135"/>
                    </a:lnTo>
                    <a:lnTo>
                      <a:pt x="100" y="130"/>
                    </a:lnTo>
                    <a:lnTo>
                      <a:pt x="96" y="135"/>
                    </a:lnTo>
                    <a:lnTo>
                      <a:pt x="96" y="139"/>
                    </a:lnTo>
                    <a:lnTo>
                      <a:pt x="96" y="143"/>
                    </a:lnTo>
                    <a:lnTo>
                      <a:pt x="91" y="143"/>
                    </a:lnTo>
                    <a:lnTo>
                      <a:pt x="87" y="143"/>
                    </a:lnTo>
                    <a:lnTo>
                      <a:pt x="87" y="139"/>
                    </a:lnTo>
                    <a:lnTo>
                      <a:pt x="87" y="135"/>
                    </a:lnTo>
                    <a:lnTo>
                      <a:pt x="83" y="130"/>
                    </a:lnTo>
                    <a:lnTo>
                      <a:pt x="83" y="126"/>
                    </a:lnTo>
                    <a:lnTo>
                      <a:pt x="83" y="117"/>
                    </a:lnTo>
                    <a:lnTo>
                      <a:pt x="78" y="100"/>
                    </a:lnTo>
                    <a:lnTo>
                      <a:pt x="78" y="91"/>
                    </a:lnTo>
                    <a:lnTo>
                      <a:pt x="78" y="87"/>
                    </a:lnTo>
                    <a:lnTo>
                      <a:pt x="83" y="87"/>
                    </a:lnTo>
                    <a:lnTo>
                      <a:pt x="87" y="83"/>
                    </a:lnTo>
                    <a:lnTo>
                      <a:pt x="91" y="78"/>
                    </a:lnTo>
                    <a:lnTo>
                      <a:pt x="91" y="74"/>
                    </a:lnTo>
                    <a:lnTo>
                      <a:pt x="91" y="70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83"/>
                    </a:lnTo>
                    <a:lnTo>
                      <a:pt x="105" y="83"/>
                    </a:lnTo>
                    <a:lnTo>
                      <a:pt x="109" y="83"/>
                    </a:lnTo>
                    <a:lnTo>
                      <a:pt x="109" y="78"/>
                    </a:lnTo>
                    <a:lnTo>
                      <a:pt x="113" y="78"/>
                    </a:lnTo>
                    <a:lnTo>
                      <a:pt x="118" y="74"/>
                    </a:lnTo>
                    <a:lnTo>
                      <a:pt x="118" y="70"/>
                    </a:lnTo>
                    <a:lnTo>
                      <a:pt x="118" y="65"/>
                    </a:lnTo>
                    <a:lnTo>
                      <a:pt x="118" y="61"/>
                    </a:lnTo>
                    <a:lnTo>
                      <a:pt x="118" y="57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8" y="43"/>
                    </a:lnTo>
                    <a:lnTo>
                      <a:pt x="122" y="35"/>
                    </a:lnTo>
                    <a:lnTo>
                      <a:pt x="122" y="30"/>
                    </a:lnTo>
                    <a:lnTo>
                      <a:pt x="122" y="26"/>
                    </a:lnTo>
                    <a:lnTo>
                      <a:pt x="122" y="22"/>
                    </a:lnTo>
                    <a:lnTo>
                      <a:pt x="135" y="17"/>
                    </a:lnTo>
                    <a:lnTo>
                      <a:pt x="135" y="22"/>
                    </a:lnTo>
                    <a:lnTo>
                      <a:pt x="135" y="26"/>
                    </a:lnTo>
                    <a:lnTo>
                      <a:pt x="135" y="30"/>
                    </a:lnTo>
                    <a:lnTo>
                      <a:pt x="139" y="35"/>
                    </a:lnTo>
                    <a:lnTo>
                      <a:pt x="144" y="35"/>
                    </a:lnTo>
                    <a:lnTo>
                      <a:pt x="144" y="30"/>
                    </a:lnTo>
                    <a:lnTo>
                      <a:pt x="144" y="26"/>
                    </a:lnTo>
                    <a:lnTo>
                      <a:pt x="144" y="22"/>
                    </a:lnTo>
                    <a:lnTo>
                      <a:pt x="144" y="17"/>
                    </a:lnTo>
                    <a:lnTo>
                      <a:pt x="148" y="17"/>
                    </a:lnTo>
                    <a:lnTo>
                      <a:pt x="152" y="17"/>
                    </a:lnTo>
                    <a:lnTo>
                      <a:pt x="152" y="13"/>
                    </a:lnTo>
                    <a:lnTo>
                      <a:pt x="152" y="9"/>
                    </a:lnTo>
                    <a:lnTo>
                      <a:pt x="148" y="4"/>
                    </a:lnTo>
                    <a:lnTo>
                      <a:pt x="148" y="0"/>
                    </a:lnTo>
                    <a:lnTo>
                      <a:pt x="152" y="0"/>
                    </a:lnTo>
                    <a:lnTo>
                      <a:pt x="157" y="0"/>
                    </a:lnTo>
                    <a:lnTo>
                      <a:pt x="161" y="0"/>
                    </a:lnTo>
                    <a:lnTo>
                      <a:pt x="161" y="4"/>
                    </a:lnTo>
                    <a:lnTo>
                      <a:pt x="161" y="17"/>
                    </a:lnTo>
                    <a:lnTo>
                      <a:pt x="157" y="30"/>
                    </a:lnTo>
                    <a:lnTo>
                      <a:pt x="157" y="35"/>
                    </a:lnTo>
                    <a:lnTo>
                      <a:pt x="157" y="43"/>
                    </a:lnTo>
                    <a:lnTo>
                      <a:pt x="157" y="48"/>
                    </a:lnTo>
                    <a:lnTo>
                      <a:pt x="161" y="57"/>
                    </a:lnTo>
                    <a:lnTo>
                      <a:pt x="161" y="61"/>
                    </a:lnTo>
                    <a:lnTo>
                      <a:pt x="161" y="65"/>
                    </a:lnTo>
                    <a:lnTo>
                      <a:pt x="161" y="70"/>
                    </a:lnTo>
                    <a:lnTo>
                      <a:pt x="161" y="74"/>
                    </a:lnTo>
                    <a:lnTo>
                      <a:pt x="165" y="78"/>
                    </a:lnTo>
                    <a:lnTo>
                      <a:pt x="174" y="96"/>
                    </a:lnTo>
                    <a:lnTo>
                      <a:pt x="178" y="87"/>
                    </a:lnTo>
                    <a:lnTo>
                      <a:pt x="178" y="83"/>
                    </a:lnTo>
                    <a:lnTo>
                      <a:pt x="178" y="78"/>
                    </a:lnTo>
                    <a:lnTo>
                      <a:pt x="174" y="65"/>
                    </a:lnTo>
                    <a:lnTo>
                      <a:pt x="178" y="61"/>
                    </a:lnTo>
                    <a:lnTo>
                      <a:pt x="183" y="61"/>
                    </a:lnTo>
                    <a:lnTo>
                      <a:pt x="187" y="57"/>
                    </a:lnTo>
                    <a:lnTo>
                      <a:pt x="187" y="52"/>
                    </a:lnTo>
                    <a:lnTo>
                      <a:pt x="191" y="48"/>
                    </a:lnTo>
                    <a:lnTo>
                      <a:pt x="196" y="39"/>
                    </a:lnTo>
                    <a:lnTo>
                      <a:pt x="205" y="35"/>
                    </a:lnTo>
                    <a:lnTo>
                      <a:pt x="209" y="48"/>
                    </a:lnTo>
                    <a:lnTo>
                      <a:pt x="213" y="52"/>
                    </a:lnTo>
                    <a:lnTo>
                      <a:pt x="222" y="61"/>
                    </a:lnTo>
                    <a:lnTo>
                      <a:pt x="222" y="65"/>
                    </a:lnTo>
                    <a:lnTo>
                      <a:pt x="222" y="70"/>
                    </a:lnTo>
                    <a:lnTo>
                      <a:pt x="231" y="78"/>
                    </a:lnTo>
                    <a:lnTo>
                      <a:pt x="235" y="83"/>
                    </a:lnTo>
                    <a:lnTo>
                      <a:pt x="235" y="91"/>
                    </a:lnTo>
                    <a:lnTo>
                      <a:pt x="235" y="96"/>
                    </a:lnTo>
                    <a:lnTo>
                      <a:pt x="231" y="96"/>
                    </a:lnTo>
                    <a:lnTo>
                      <a:pt x="226" y="96"/>
                    </a:lnTo>
                    <a:lnTo>
                      <a:pt x="226" y="100"/>
                    </a:lnTo>
                    <a:lnTo>
                      <a:pt x="226" y="104"/>
                    </a:lnTo>
                    <a:lnTo>
                      <a:pt x="226" y="109"/>
                    </a:lnTo>
                    <a:lnTo>
                      <a:pt x="235" y="117"/>
                    </a:lnTo>
                    <a:lnTo>
                      <a:pt x="244" y="126"/>
                    </a:lnTo>
                    <a:lnTo>
                      <a:pt x="244" y="130"/>
                    </a:lnTo>
                    <a:lnTo>
                      <a:pt x="244" y="135"/>
                    </a:lnTo>
                    <a:lnTo>
                      <a:pt x="248" y="135"/>
                    </a:lnTo>
                    <a:lnTo>
                      <a:pt x="252" y="130"/>
                    </a:lnTo>
                    <a:lnTo>
                      <a:pt x="252" y="126"/>
                    </a:lnTo>
                    <a:lnTo>
                      <a:pt x="257" y="126"/>
                    </a:lnTo>
                    <a:lnTo>
                      <a:pt x="261" y="130"/>
                    </a:lnTo>
                    <a:lnTo>
                      <a:pt x="265" y="130"/>
                    </a:lnTo>
                    <a:lnTo>
                      <a:pt x="265" y="126"/>
                    </a:lnTo>
                    <a:lnTo>
                      <a:pt x="270" y="122"/>
                    </a:lnTo>
                    <a:lnTo>
                      <a:pt x="274" y="122"/>
                    </a:lnTo>
                    <a:lnTo>
                      <a:pt x="274" y="126"/>
                    </a:lnTo>
                    <a:lnTo>
                      <a:pt x="274" y="130"/>
                    </a:lnTo>
                    <a:lnTo>
                      <a:pt x="278" y="135"/>
                    </a:lnTo>
                    <a:lnTo>
                      <a:pt x="283" y="143"/>
                    </a:lnTo>
                    <a:lnTo>
                      <a:pt x="287" y="148"/>
                    </a:lnTo>
                    <a:lnTo>
                      <a:pt x="287" y="152"/>
                    </a:lnTo>
                    <a:lnTo>
                      <a:pt x="296" y="165"/>
                    </a:lnTo>
                    <a:lnTo>
                      <a:pt x="296" y="170"/>
                    </a:lnTo>
                    <a:lnTo>
                      <a:pt x="296" y="174"/>
                    </a:lnTo>
                    <a:lnTo>
                      <a:pt x="296" y="178"/>
                    </a:lnTo>
                    <a:lnTo>
                      <a:pt x="296" y="183"/>
                    </a:lnTo>
                    <a:lnTo>
                      <a:pt x="296" y="187"/>
                    </a:lnTo>
                    <a:lnTo>
                      <a:pt x="300" y="187"/>
                    </a:lnTo>
                    <a:lnTo>
                      <a:pt x="305" y="187"/>
                    </a:lnTo>
                    <a:lnTo>
                      <a:pt x="309" y="187"/>
                    </a:lnTo>
                    <a:lnTo>
                      <a:pt x="309" y="191"/>
                    </a:lnTo>
                    <a:lnTo>
                      <a:pt x="309" y="196"/>
                    </a:lnTo>
                    <a:lnTo>
                      <a:pt x="309" y="200"/>
                    </a:lnTo>
                    <a:lnTo>
                      <a:pt x="326" y="217"/>
                    </a:lnTo>
                    <a:lnTo>
                      <a:pt x="331" y="222"/>
                    </a:lnTo>
                    <a:lnTo>
                      <a:pt x="335" y="226"/>
                    </a:lnTo>
                    <a:lnTo>
                      <a:pt x="335" y="230"/>
                    </a:lnTo>
                    <a:lnTo>
                      <a:pt x="331" y="239"/>
                    </a:lnTo>
                    <a:lnTo>
                      <a:pt x="326" y="243"/>
                    </a:lnTo>
                    <a:lnTo>
                      <a:pt x="331" y="248"/>
                    </a:lnTo>
                    <a:lnTo>
                      <a:pt x="335" y="248"/>
                    </a:lnTo>
                    <a:lnTo>
                      <a:pt x="339" y="252"/>
                    </a:lnTo>
                    <a:lnTo>
                      <a:pt x="339" y="256"/>
                    </a:lnTo>
                    <a:lnTo>
                      <a:pt x="344" y="261"/>
                    </a:lnTo>
                    <a:lnTo>
                      <a:pt x="344" y="265"/>
                    </a:lnTo>
                    <a:lnTo>
                      <a:pt x="339" y="270"/>
                    </a:lnTo>
                    <a:lnTo>
                      <a:pt x="339" y="274"/>
                    </a:lnTo>
                    <a:lnTo>
                      <a:pt x="344" y="274"/>
                    </a:lnTo>
                    <a:lnTo>
                      <a:pt x="348" y="274"/>
                    </a:lnTo>
                    <a:lnTo>
                      <a:pt x="357" y="278"/>
                    </a:lnTo>
                    <a:lnTo>
                      <a:pt x="357" y="283"/>
                    </a:lnTo>
                    <a:lnTo>
                      <a:pt x="352" y="283"/>
                    </a:lnTo>
                    <a:lnTo>
                      <a:pt x="352" y="287"/>
                    </a:lnTo>
                    <a:lnTo>
                      <a:pt x="357" y="287"/>
                    </a:lnTo>
                    <a:lnTo>
                      <a:pt x="361" y="291"/>
                    </a:lnTo>
                    <a:lnTo>
                      <a:pt x="365" y="287"/>
                    </a:lnTo>
                    <a:lnTo>
                      <a:pt x="370" y="287"/>
                    </a:lnTo>
                    <a:lnTo>
                      <a:pt x="378" y="287"/>
                    </a:lnTo>
                    <a:lnTo>
                      <a:pt x="383" y="287"/>
                    </a:lnTo>
                    <a:lnTo>
                      <a:pt x="387" y="278"/>
                    </a:lnTo>
                    <a:lnTo>
                      <a:pt x="392" y="274"/>
                    </a:lnTo>
                    <a:lnTo>
                      <a:pt x="396" y="274"/>
                    </a:lnTo>
                    <a:lnTo>
                      <a:pt x="400" y="274"/>
                    </a:lnTo>
                    <a:lnTo>
                      <a:pt x="418" y="265"/>
                    </a:lnTo>
                    <a:lnTo>
                      <a:pt x="422" y="270"/>
                    </a:lnTo>
                    <a:lnTo>
                      <a:pt x="422" y="274"/>
                    </a:lnTo>
                    <a:lnTo>
                      <a:pt x="426" y="278"/>
                    </a:lnTo>
                    <a:lnTo>
                      <a:pt x="431" y="278"/>
                    </a:lnTo>
                    <a:lnTo>
                      <a:pt x="431" y="274"/>
                    </a:lnTo>
                    <a:lnTo>
                      <a:pt x="435" y="270"/>
                    </a:lnTo>
                    <a:lnTo>
                      <a:pt x="444" y="265"/>
                    </a:lnTo>
                    <a:lnTo>
                      <a:pt x="448" y="265"/>
                    </a:lnTo>
                    <a:lnTo>
                      <a:pt x="452" y="265"/>
                    </a:lnTo>
                    <a:lnTo>
                      <a:pt x="452" y="261"/>
                    </a:lnTo>
                    <a:lnTo>
                      <a:pt x="452" y="252"/>
                    </a:lnTo>
                    <a:lnTo>
                      <a:pt x="457" y="248"/>
                    </a:lnTo>
                    <a:lnTo>
                      <a:pt x="457" y="239"/>
                    </a:lnTo>
                    <a:lnTo>
                      <a:pt x="452" y="235"/>
                    </a:lnTo>
                    <a:lnTo>
                      <a:pt x="452" y="226"/>
                    </a:lnTo>
                    <a:lnTo>
                      <a:pt x="448" y="222"/>
                    </a:lnTo>
                    <a:lnTo>
                      <a:pt x="448" y="217"/>
                    </a:lnTo>
                    <a:lnTo>
                      <a:pt x="444" y="217"/>
                    </a:lnTo>
                    <a:lnTo>
                      <a:pt x="444" y="213"/>
                    </a:lnTo>
                    <a:lnTo>
                      <a:pt x="444" y="204"/>
                    </a:lnTo>
                    <a:lnTo>
                      <a:pt x="448" y="200"/>
                    </a:lnTo>
                    <a:lnTo>
                      <a:pt x="448" y="187"/>
                    </a:lnTo>
                    <a:lnTo>
                      <a:pt x="444" y="187"/>
                    </a:lnTo>
                    <a:lnTo>
                      <a:pt x="444" y="183"/>
                    </a:lnTo>
                    <a:lnTo>
                      <a:pt x="452" y="174"/>
                    </a:lnTo>
                    <a:lnTo>
                      <a:pt x="465" y="174"/>
                    </a:lnTo>
                    <a:lnTo>
                      <a:pt x="465" y="170"/>
                    </a:lnTo>
                    <a:lnTo>
                      <a:pt x="465" y="165"/>
                    </a:lnTo>
                    <a:lnTo>
                      <a:pt x="470" y="161"/>
                    </a:lnTo>
                    <a:lnTo>
                      <a:pt x="474" y="161"/>
                    </a:lnTo>
                    <a:lnTo>
                      <a:pt x="487" y="143"/>
                    </a:lnTo>
                    <a:lnTo>
                      <a:pt x="492" y="139"/>
                    </a:lnTo>
                    <a:lnTo>
                      <a:pt x="496" y="135"/>
                    </a:lnTo>
                    <a:lnTo>
                      <a:pt x="496" y="126"/>
                    </a:lnTo>
                    <a:lnTo>
                      <a:pt x="492" y="117"/>
                    </a:lnTo>
                    <a:lnTo>
                      <a:pt x="492" y="113"/>
                    </a:lnTo>
                    <a:lnTo>
                      <a:pt x="492" y="109"/>
                    </a:lnTo>
                    <a:lnTo>
                      <a:pt x="500" y="100"/>
                    </a:lnTo>
                    <a:lnTo>
                      <a:pt x="505" y="100"/>
                    </a:lnTo>
                    <a:lnTo>
                      <a:pt x="509" y="100"/>
                    </a:lnTo>
                    <a:lnTo>
                      <a:pt x="513" y="104"/>
                    </a:lnTo>
                    <a:lnTo>
                      <a:pt x="518" y="100"/>
                    </a:lnTo>
                    <a:lnTo>
                      <a:pt x="522" y="100"/>
                    </a:lnTo>
                    <a:lnTo>
                      <a:pt x="522" y="96"/>
                    </a:lnTo>
                    <a:lnTo>
                      <a:pt x="526" y="96"/>
                    </a:lnTo>
                    <a:lnTo>
                      <a:pt x="522" y="87"/>
                    </a:lnTo>
                    <a:lnTo>
                      <a:pt x="522" y="78"/>
                    </a:lnTo>
                    <a:lnTo>
                      <a:pt x="518" y="78"/>
                    </a:lnTo>
                    <a:lnTo>
                      <a:pt x="518" y="74"/>
                    </a:lnTo>
                    <a:lnTo>
                      <a:pt x="522" y="65"/>
                    </a:lnTo>
                    <a:lnTo>
                      <a:pt x="526" y="65"/>
                    </a:lnTo>
                    <a:lnTo>
                      <a:pt x="531" y="70"/>
                    </a:lnTo>
                    <a:lnTo>
                      <a:pt x="535" y="70"/>
                    </a:lnTo>
                    <a:lnTo>
                      <a:pt x="539" y="65"/>
                    </a:lnTo>
                    <a:lnTo>
                      <a:pt x="552" y="65"/>
                    </a:lnTo>
                    <a:lnTo>
                      <a:pt x="561" y="65"/>
                    </a:lnTo>
                    <a:lnTo>
                      <a:pt x="561" y="70"/>
                    </a:lnTo>
                    <a:lnTo>
                      <a:pt x="557" y="74"/>
                    </a:lnTo>
                    <a:lnTo>
                      <a:pt x="552" y="78"/>
                    </a:lnTo>
                    <a:lnTo>
                      <a:pt x="557" y="91"/>
                    </a:lnTo>
                    <a:lnTo>
                      <a:pt x="557" y="96"/>
                    </a:lnTo>
                    <a:lnTo>
                      <a:pt x="561" y="96"/>
                    </a:lnTo>
                    <a:lnTo>
                      <a:pt x="565" y="96"/>
                    </a:lnTo>
                    <a:lnTo>
                      <a:pt x="565" y="100"/>
                    </a:lnTo>
                    <a:lnTo>
                      <a:pt x="570" y="113"/>
                    </a:lnTo>
                    <a:lnTo>
                      <a:pt x="570" y="117"/>
                    </a:lnTo>
                    <a:lnTo>
                      <a:pt x="565" y="117"/>
                    </a:lnTo>
                    <a:lnTo>
                      <a:pt x="561" y="117"/>
                    </a:lnTo>
                    <a:lnTo>
                      <a:pt x="557" y="122"/>
                    </a:lnTo>
                    <a:lnTo>
                      <a:pt x="561" y="126"/>
                    </a:lnTo>
                    <a:lnTo>
                      <a:pt x="565" y="126"/>
                    </a:lnTo>
                    <a:lnTo>
                      <a:pt x="565" y="130"/>
                    </a:lnTo>
                    <a:lnTo>
                      <a:pt x="570" y="130"/>
                    </a:lnTo>
                    <a:lnTo>
                      <a:pt x="574" y="135"/>
                    </a:lnTo>
                    <a:lnTo>
                      <a:pt x="579" y="135"/>
                    </a:lnTo>
                    <a:lnTo>
                      <a:pt x="583" y="135"/>
                    </a:lnTo>
                    <a:lnTo>
                      <a:pt x="605" y="130"/>
                    </a:lnTo>
                    <a:lnTo>
                      <a:pt x="609" y="126"/>
                    </a:lnTo>
                    <a:lnTo>
                      <a:pt x="609" y="122"/>
                    </a:lnTo>
                    <a:lnTo>
                      <a:pt x="609" y="117"/>
                    </a:lnTo>
                    <a:lnTo>
                      <a:pt x="613" y="113"/>
                    </a:lnTo>
                    <a:lnTo>
                      <a:pt x="618" y="113"/>
                    </a:lnTo>
                    <a:lnTo>
                      <a:pt x="626" y="117"/>
                    </a:lnTo>
                    <a:lnTo>
                      <a:pt x="635" y="122"/>
                    </a:lnTo>
                    <a:lnTo>
                      <a:pt x="635" y="126"/>
                    </a:lnTo>
                    <a:lnTo>
                      <a:pt x="635" y="130"/>
                    </a:lnTo>
                    <a:lnTo>
                      <a:pt x="631" y="130"/>
                    </a:lnTo>
                    <a:lnTo>
                      <a:pt x="635" y="143"/>
                    </a:lnTo>
                    <a:lnTo>
                      <a:pt x="635" y="148"/>
                    </a:lnTo>
                    <a:lnTo>
                      <a:pt x="635" y="152"/>
                    </a:lnTo>
                    <a:lnTo>
                      <a:pt x="631" y="165"/>
                    </a:lnTo>
                    <a:lnTo>
                      <a:pt x="631" y="170"/>
                    </a:lnTo>
                    <a:lnTo>
                      <a:pt x="626" y="178"/>
                    </a:lnTo>
                    <a:lnTo>
                      <a:pt x="626" y="174"/>
                    </a:lnTo>
                    <a:lnTo>
                      <a:pt x="622" y="174"/>
                    </a:lnTo>
                    <a:lnTo>
                      <a:pt x="618" y="174"/>
                    </a:lnTo>
                    <a:lnTo>
                      <a:pt x="613" y="174"/>
                    </a:lnTo>
                    <a:lnTo>
                      <a:pt x="609" y="178"/>
                    </a:lnTo>
                    <a:lnTo>
                      <a:pt x="605" y="183"/>
                    </a:lnTo>
                    <a:lnTo>
                      <a:pt x="600" y="183"/>
                    </a:lnTo>
                    <a:lnTo>
                      <a:pt x="596" y="183"/>
                    </a:lnTo>
                    <a:lnTo>
                      <a:pt x="587" y="183"/>
                    </a:lnTo>
                    <a:lnTo>
                      <a:pt x="583" y="183"/>
                    </a:lnTo>
                    <a:lnTo>
                      <a:pt x="574" y="183"/>
                    </a:lnTo>
                    <a:lnTo>
                      <a:pt x="570" y="183"/>
                    </a:lnTo>
                    <a:lnTo>
                      <a:pt x="570" y="178"/>
                    </a:lnTo>
                    <a:lnTo>
                      <a:pt x="565" y="178"/>
                    </a:lnTo>
                    <a:lnTo>
                      <a:pt x="565" y="174"/>
                    </a:lnTo>
                    <a:lnTo>
                      <a:pt x="561" y="174"/>
                    </a:lnTo>
                    <a:lnTo>
                      <a:pt x="561" y="170"/>
                    </a:lnTo>
                    <a:lnTo>
                      <a:pt x="552" y="178"/>
                    </a:lnTo>
                    <a:lnTo>
                      <a:pt x="552" y="183"/>
                    </a:lnTo>
                    <a:lnTo>
                      <a:pt x="548" y="187"/>
                    </a:lnTo>
                    <a:lnTo>
                      <a:pt x="535" y="178"/>
                    </a:lnTo>
                    <a:lnTo>
                      <a:pt x="531" y="174"/>
                    </a:lnTo>
                    <a:lnTo>
                      <a:pt x="526" y="174"/>
                    </a:lnTo>
                    <a:lnTo>
                      <a:pt x="526" y="178"/>
                    </a:lnTo>
                    <a:lnTo>
                      <a:pt x="522" y="178"/>
                    </a:lnTo>
                    <a:lnTo>
                      <a:pt x="522" y="183"/>
                    </a:lnTo>
                    <a:lnTo>
                      <a:pt x="513" y="196"/>
                    </a:lnTo>
                    <a:lnTo>
                      <a:pt x="509" y="196"/>
                    </a:lnTo>
                    <a:lnTo>
                      <a:pt x="509" y="200"/>
                    </a:lnTo>
                    <a:lnTo>
                      <a:pt x="505" y="200"/>
                    </a:lnTo>
                    <a:lnTo>
                      <a:pt x="500" y="204"/>
                    </a:lnTo>
                    <a:lnTo>
                      <a:pt x="505" y="209"/>
                    </a:lnTo>
                    <a:lnTo>
                      <a:pt x="509" y="204"/>
                    </a:lnTo>
                    <a:lnTo>
                      <a:pt x="513" y="209"/>
                    </a:lnTo>
                    <a:lnTo>
                      <a:pt x="518" y="213"/>
                    </a:lnTo>
                    <a:lnTo>
                      <a:pt x="518" y="222"/>
                    </a:lnTo>
                    <a:lnTo>
                      <a:pt x="513" y="222"/>
                    </a:lnTo>
                    <a:lnTo>
                      <a:pt x="509" y="226"/>
                    </a:lnTo>
                    <a:lnTo>
                      <a:pt x="513" y="243"/>
                    </a:lnTo>
                    <a:lnTo>
                      <a:pt x="513" y="248"/>
                    </a:lnTo>
                    <a:lnTo>
                      <a:pt x="518" y="248"/>
                    </a:lnTo>
                    <a:lnTo>
                      <a:pt x="518" y="252"/>
                    </a:lnTo>
                    <a:lnTo>
                      <a:pt x="522" y="252"/>
                    </a:lnTo>
                    <a:lnTo>
                      <a:pt x="526" y="252"/>
                    </a:lnTo>
                    <a:lnTo>
                      <a:pt x="535" y="252"/>
                    </a:lnTo>
                    <a:lnTo>
                      <a:pt x="539" y="248"/>
                    </a:lnTo>
                    <a:lnTo>
                      <a:pt x="539" y="243"/>
                    </a:lnTo>
                    <a:lnTo>
                      <a:pt x="544" y="243"/>
                    </a:lnTo>
                    <a:lnTo>
                      <a:pt x="548" y="243"/>
                    </a:lnTo>
                    <a:lnTo>
                      <a:pt x="552" y="243"/>
                    </a:lnTo>
                    <a:lnTo>
                      <a:pt x="557" y="243"/>
                    </a:lnTo>
                    <a:lnTo>
                      <a:pt x="561" y="243"/>
                    </a:lnTo>
                    <a:lnTo>
                      <a:pt x="561" y="239"/>
                    </a:lnTo>
                    <a:lnTo>
                      <a:pt x="570" y="243"/>
                    </a:lnTo>
                    <a:lnTo>
                      <a:pt x="579" y="248"/>
                    </a:lnTo>
                    <a:lnTo>
                      <a:pt x="583" y="256"/>
                    </a:lnTo>
                    <a:lnTo>
                      <a:pt x="583" y="261"/>
                    </a:lnTo>
                    <a:lnTo>
                      <a:pt x="587" y="265"/>
                    </a:lnTo>
                    <a:lnTo>
                      <a:pt x="583" y="270"/>
                    </a:lnTo>
                    <a:lnTo>
                      <a:pt x="579" y="270"/>
                    </a:lnTo>
                    <a:lnTo>
                      <a:pt x="579" y="274"/>
                    </a:lnTo>
                    <a:lnTo>
                      <a:pt x="574" y="278"/>
                    </a:lnTo>
                    <a:lnTo>
                      <a:pt x="574" y="287"/>
                    </a:lnTo>
                    <a:lnTo>
                      <a:pt x="574" y="296"/>
                    </a:lnTo>
                    <a:lnTo>
                      <a:pt x="561" y="322"/>
                    </a:lnTo>
                    <a:lnTo>
                      <a:pt x="557" y="322"/>
                    </a:lnTo>
                    <a:lnTo>
                      <a:pt x="557" y="330"/>
                    </a:lnTo>
                    <a:lnTo>
                      <a:pt x="565" y="343"/>
                    </a:lnTo>
                    <a:lnTo>
                      <a:pt x="565" y="348"/>
                    </a:lnTo>
                    <a:lnTo>
                      <a:pt x="570" y="348"/>
                    </a:lnTo>
                    <a:lnTo>
                      <a:pt x="570" y="352"/>
                    </a:lnTo>
                    <a:lnTo>
                      <a:pt x="574" y="352"/>
                    </a:lnTo>
                    <a:lnTo>
                      <a:pt x="579" y="356"/>
                    </a:lnTo>
                    <a:lnTo>
                      <a:pt x="583" y="356"/>
                    </a:lnTo>
                    <a:lnTo>
                      <a:pt x="583" y="361"/>
                    </a:lnTo>
                    <a:lnTo>
                      <a:pt x="587" y="361"/>
                    </a:lnTo>
                    <a:lnTo>
                      <a:pt x="587" y="365"/>
                    </a:lnTo>
                    <a:lnTo>
                      <a:pt x="596" y="365"/>
                    </a:lnTo>
                    <a:lnTo>
                      <a:pt x="596" y="370"/>
                    </a:lnTo>
                    <a:lnTo>
                      <a:pt x="592" y="370"/>
                    </a:lnTo>
                    <a:lnTo>
                      <a:pt x="587" y="378"/>
                    </a:lnTo>
                    <a:lnTo>
                      <a:pt x="583" y="391"/>
                    </a:lnTo>
                    <a:lnTo>
                      <a:pt x="579" y="396"/>
                    </a:lnTo>
                    <a:lnTo>
                      <a:pt x="574" y="404"/>
                    </a:lnTo>
                    <a:lnTo>
                      <a:pt x="574" y="409"/>
                    </a:lnTo>
                    <a:lnTo>
                      <a:pt x="574" y="413"/>
                    </a:lnTo>
                    <a:lnTo>
                      <a:pt x="570" y="413"/>
                    </a:lnTo>
                    <a:lnTo>
                      <a:pt x="570" y="417"/>
                    </a:lnTo>
                    <a:lnTo>
                      <a:pt x="570" y="422"/>
                    </a:lnTo>
                    <a:lnTo>
                      <a:pt x="574" y="426"/>
                    </a:lnTo>
                    <a:lnTo>
                      <a:pt x="574" y="430"/>
                    </a:lnTo>
                    <a:lnTo>
                      <a:pt x="579" y="439"/>
                    </a:lnTo>
                    <a:lnTo>
                      <a:pt x="579" y="443"/>
                    </a:lnTo>
                    <a:lnTo>
                      <a:pt x="587" y="448"/>
                    </a:lnTo>
                    <a:lnTo>
                      <a:pt x="592" y="448"/>
                    </a:lnTo>
                    <a:lnTo>
                      <a:pt x="587" y="443"/>
                    </a:lnTo>
                    <a:lnTo>
                      <a:pt x="587" y="439"/>
                    </a:lnTo>
                    <a:lnTo>
                      <a:pt x="592" y="435"/>
                    </a:lnTo>
                    <a:lnTo>
                      <a:pt x="600" y="435"/>
                    </a:lnTo>
                    <a:lnTo>
                      <a:pt x="618" y="439"/>
                    </a:lnTo>
                    <a:lnTo>
                      <a:pt x="622" y="439"/>
                    </a:lnTo>
                    <a:lnTo>
                      <a:pt x="626" y="448"/>
                    </a:lnTo>
                    <a:lnTo>
                      <a:pt x="626" y="456"/>
                    </a:lnTo>
                    <a:lnTo>
                      <a:pt x="626" y="461"/>
                    </a:lnTo>
                    <a:lnTo>
                      <a:pt x="626" y="465"/>
                    </a:lnTo>
                    <a:lnTo>
                      <a:pt x="631" y="470"/>
                    </a:lnTo>
                    <a:lnTo>
                      <a:pt x="635" y="470"/>
                    </a:lnTo>
                    <a:lnTo>
                      <a:pt x="648" y="474"/>
                    </a:lnTo>
                    <a:lnTo>
                      <a:pt x="652" y="474"/>
                    </a:lnTo>
                    <a:lnTo>
                      <a:pt x="657" y="465"/>
                    </a:lnTo>
                    <a:lnTo>
                      <a:pt x="661" y="465"/>
                    </a:lnTo>
                    <a:lnTo>
                      <a:pt x="665" y="470"/>
                    </a:lnTo>
                    <a:lnTo>
                      <a:pt x="665" y="474"/>
                    </a:lnTo>
                    <a:lnTo>
                      <a:pt x="674" y="474"/>
                    </a:lnTo>
                    <a:lnTo>
                      <a:pt x="679" y="474"/>
                    </a:lnTo>
                    <a:lnTo>
                      <a:pt x="683" y="474"/>
                    </a:lnTo>
                    <a:lnTo>
                      <a:pt x="687" y="470"/>
                    </a:lnTo>
                    <a:lnTo>
                      <a:pt x="692" y="470"/>
                    </a:lnTo>
                    <a:lnTo>
                      <a:pt x="705" y="478"/>
                    </a:lnTo>
                    <a:lnTo>
                      <a:pt x="705" y="483"/>
                    </a:lnTo>
                    <a:lnTo>
                      <a:pt x="709" y="491"/>
                    </a:lnTo>
                    <a:lnTo>
                      <a:pt x="709" y="500"/>
                    </a:lnTo>
                    <a:lnTo>
                      <a:pt x="705" y="513"/>
                    </a:lnTo>
                    <a:lnTo>
                      <a:pt x="705" y="517"/>
                    </a:lnTo>
                    <a:lnTo>
                      <a:pt x="700" y="522"/>
                    </a:lnTo>
                    <a:lnTo>
                      <a:pt x="696" y="526"/>
                    </a:lnTo>
                    <a:lnTo>
                      <a:pt x="692" y="526"/>
                    </a:lnTo>
                    <a:lnTo>
                      <a:pt x="692" y="522"/>
                    </a:lnTo>
                    <a:lnTo>
                      <a:pt x="687" y="522"/>
                    </a:lnTo>
                    <a:lnTo>
                      <a:pt x="683" y="522"/>
                    </a:lnTo>
                    <a:lnTo>
                      <a:pt x="674" y="526"/>
                    </a:lnTo>
                    <a:lnTo>
                      <a:pt x="665" y="539"/>
                    </a:lnTo>
                    <a:lnTo>
                      <a:pt x="657" y="548"/>
                    </a:lnTo>
                    <a:lnTo>
                      <a:pt x="657" y="552"/>
                    </a:lnTo>
                    <a:lnTo>
                      <a:pt x="644" y="543"/>
                    </a:lnTo>
                    <a:lnTo>
                      <a:pt x="644" y="539"/>
                    </a:lnTo>
                    <a:lnTo>
                      <a:pt x="635" y="539"/>
                    </a:lnTo>
                    <a:lnTo>
                      <a:pt x="605" y="552"/>
                    </a:lnTo>
                    <a:lnTo>
                      <a:pt x="596" y="556"/>
                    </a:lnTo>
                    <a:lnTo>
                      <a:pt x="600" y="570"/>
                    </a:lnTo>
                    <a:lnTo>
                      <a:pt x="592" y="583"/>
                    </a:lnTo>
                    <a:lnTo>
                      <a:pt x="583" y="583"/>
                    </a:lnTo>
                    <a:lnTo>
                      <a:pt x="579" y="583"/>
                    </a:lnTo>
                    <a:lnTo>
                      <a:pt x="574" y="583"/>
                    </a:lnTo>
                    <a:lnTo>
                      <a:pt x="570" y="587"/>
                    </a:lnTo>
                    <a:lnTo>
                      <a:pt x="565" y="591"/>
                    </a:lnTo>
                    <a:lnTo>
                      <a:pt x="561" y="596"/>
                    </a:lnTo>
                    <a:lnTo>
                      <a:pt x="557" y="596"/>
                    </a:lnTo>
                    <a:lnTo>
                      <a:pt x="552" y="591"/>
                    </a:lnTo>
                    <a:lnTo>
                      <a:pt x="548" y="587"/>
                    </a:lnTo>
                    <a:lnTo>
                      <a:pt x="552" y="583"/>
                    </a:lnTo>
                    <a:lnTo>
                      <a:pt x="539" y="587"/>
                    </a:lnTo>
                    <a:lnTo>
                      <a:pt x="535" y="591"/>
                    </a:lnTo>
                    <a:lnTo>
                      <a:pt x="531" y="596"/>
                    </a:lnTo>
                    <a:lnTo>
                      <a:pt x="531" y="604"/>
                    </a:lnTo>
                    <a:lnTo>
                      <a:pt x="531" y="609"/>
                    </a:lnTo>
                    <a:lnTo>
                      <a:pt x="526" y="613"/>
                    </a:lnTo>
                    <a:lnTo>
                      <a:pt x="522" y="609"/>
                    </a:lnTo>
                    <a:lnTo>
                      <a:pt x="518" y="604"/>
                    </a:lnTo>
                    <a:lnTo>
                      <a:pt x="513" y="600"/>
                    </a:lnTo>
                    <a:lnTo>
                      <a:pt x="513" y="596"/>
                    </a:lnTo>
                    <a:lnTo>
                      <a:pt x="500" y="587"/>
                    </a:lnTo>
                    <a:lnTo>
                      <a:pt x="496" y="587"/>
                    </a:lnTo>
                    <a:lnTo>
                      <a:pt x="492" y="591"/>
                    </a:lnTo>
                    <a:lnTo>
                      <a:pt x="496" y="596"/>
                    </a:lnTo>
                    <a:lnTo>
                      <a:pt x="492" y="604"/>
                    </a:lnTo>
                    <a:lnTo>
                      <a:pt x="487" y="604"/>
                    </a:lnTo>
                    <a:lnTo>
                      <a:pt x="487" y="600"/>
                    </a:lnTo>
                    <a:lnTo>
                      <a:pt x="483" y="600"/>
                    </a:lnTo>
                    <a:lnTo>
                      <a:pt x="483" y="591"/>
                    </a:lnTo>
                    <a:lnTo>
                      <a:pt x="478" y="587"/>
                    </a:lnTo>
                    <a:lnTo>
                      <a:pt x="474" y="583"/>
                    </a:lnTo>
                    <a:lnTo>
                      <a:pt x="457" y="609"/>
                    </a:lnTo>
                    <a:lnTo>
                      <a:pt x="448" y="617"/>
                    </a:lnTo>
                    <a:lnTo>
                      <a:pt x="439" y="613"/>
                    </a:lnTo>
                    <a:lnTo>
                      <a:pt x="435" y="604"/>
                    </a:lnTo>
                    <a:lnTo>
                      <a:pt x="435" y="600"/>
                    </a:lnTo>
                    <a:lnTo>
                      <a:pt x="422" y="591"/>
                    </a:lnTo>
                    <a:lnTo>
                      <a:pt x="405" y="587"/>
                    </a:lnTo>
                    <a:lnTo>
                      <a:pt x="405" y="583"/>
                    </a:lnTo>
                    <a:lnTo>
                      <a:pt x="400" y="583"/>
                    </a:lnTo>
                    <a:lnTo>
                      <a:pt x="400" y="587"/>
                    </a:lnTo>
                    <a:lnTo>
                      <a:pt x="396" y="591"/>
                    </a:lnTo>
                    <a:lnTo>
                      <a:pt x="396" y="600"/>
                    </a:lnTo>
                    <a:lnTo>
                      <a:pt x="383" y="609"/>
                    </a:lnTo>
                    <a:lnTo>
                      <a:pt x="374" y="613"/>
                    </a:lnTo>
                    <a:lnTo>
                      <a:pt x="374" y="61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6" name="Freeform 35">
                <a:extLst>
                  <a:ext uri="{FF2B5EF4-FFF2-40B4-BE49-F238E27FC236}">
                    <a16:creationId xmlns:a16="http://schemas.microsoft.com/office/drawing/2014/main" id="{2BD2E160-C1AA-74ED-6101-76DEB70014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72140" y="3356892"/>
                <a:ext cx="373441" cy="571500"/>
              </a:xfrm>
              <a:custGeom>
                <a:avLst/>
                <a:gdLst>
                  <a:gd name="T0" fmla="*/ 122 w 217"/>
                  <a:gd name="T1" fmla="*/ 339 h 348"/>
                  <a:gd name="T2" fmla="*/ 104 w 217"/>
                  <a:gd name="T3" fmla="*/ 339 h 348"/>
                  <a:gd name="T4" fmla="*/ 100 w 217"/>
                  <a:gd name="T5" fmla="*/ 322 h 348"/>
                  <a:gd name="T6" fmla="*/ 87 w 217"/>
                  <a:gd name="T7" fmla="*/ 313 h 348"/>
                  <a:gd name="T8" fmla="*/ 65 w 217"/>
                  <a:gd name="T9" fmla="*/ 296 h 348"/>
                  <a:gd name="T10" fmla="*/ 65 w 217"/>
                  <a:gd name="T11" fmla="*/ 283 h 348"/>
                  <a:gd name="T12" fmla="*/ 74 w 217"/>
                  <a:gd name="T13" fmla="*/ 270 h 348"/>
                  <a:gd name="T14" fmla="*/ 69 w 217"/>
                  <a:gd name="T15" fmla="*/ 257 h 348"/>
                  <a:gd name="T16" fmla="*/ 61 w 217"/>
                  <a:gd name="T17" fmla="*/ 244 h 348"/>
                  <a:gd name="T18" fmla="*/ 56 w 217"/>
                  <a:gd name="T19" fmla="*/ 226 h 348"/>
                  <a:gd name="T20" fmla="*/ 61 w 217"/>
                  <a:gd name="T21" fmla="*/ 218 h 348"/>
                  <a:gd name="T22" fmla="*/ 43 w 217"/>
                  <a:gd name="T23" fmla="*/ 200 h 348"/>
                  <a:gd name="T24" fmla="*/ 35 w 217"/>
                  <a:gd name="T25" fmla="*/ 183 h 348"/>
                  <a:gd name="T26" fmla="*/ 22 w 217"/>
                  <a:gd name="T27" fmla="*/ 183 h 348"/>
                  <a:gd name="T28" fmla="*/ 17 w 217"/>
                  <a:gd name="T29" fmla="*/ 178 h 348"/>
                  <a:gd name="T30" fmla="*/ 9 w 217"/>
                  <a:gd name="T31" fmla="*/ 165 h 348"/>
                  <a:gd name="T32" fmla="*/ 4 w 217"/>
                  <a:gd name="T33" fmla="*/ 161 h 348"/>
                  <a:gd name="T34" fmla="*/ 9 w 217"/>
                  <a:gd name="T35" fmla="*/ 157 h 348"/>
                  <a:gd name="T36" fmla="*/ 17 w 217"/>
                  <a:gd name="T37" fmla="*/ 161 h 348"/>
                  <a:gd name="T38" fmla="*/ 30 w 217"/>
                  <a:gd name="T39" fmla="*/ 157 h 348"/>
                  <a:gd name="T40" fmla="*/ 39 w 217"/>
                  <a:gd name="T41" fmla="*/ 157 h 348"/>
                  <a:gd name="T42" fmla="*/ 48 w 217"/>
                  <a:gd name="T43" fmla="*/ 148 h 348"/>
                  <a:gd name="T44" fmla="*/ 65 w 217"/>
                  <a:gd name="T45" fmla="*/ 139 h 348"/>
                  <a:gd name="T46" fmla="*/ 74 w 217"/>
                  <a:gd name="T47" fmla="*/ 139 h 348"/>
                  <a:gd name="T48" fmla="*/ 87 w 217"/>
                  <a:gd name="T49" fmla="*/ 139 h 348"/>
                  <a:gd name="T50" fmla="*/ 95 w 217"/>
                  <a:gd name="T51" fmla="*/ 109 h 348"/>
                  <a:gd name="T52" fmla="*/ 95 w 217"/>
                  <a:gd name="T53" fmla="*/ 100 h 348"/>
                  <a:gd name="T54" fmla="*/ 100 w 217"/>
                  <a:gd name="T55" fmla="*/ 91 h 348"/>
                  <a:gd name="T56" fmla="*/ 100 w 217"/>
                  <a:gd name="T57" fmla="*/ 74 h 348"/>
                  <a:gd name="T58" fmla="*/ 104 w 217"/>
                  <a:gd name="T59" fmla="*/ 52 h 348"/>
                  <a:gd name="T60" fmla="*/ 113 w 217"/>
                  <a:gd name="T61" fmla="*/ 35 h 348"/>
                  <a:gd name="T62" fmla="*/ 122 w 217"/>
                  <a:gd name="T63" fmla="*/ 22 h 348"/>
                  <a:gd name="T64" fmla="*/ 126 w 217"/>
                  <a:gd name="T65" fmla="*/ 13 h 348"/>
                  <a:gd name="T66" fmla="*/ 135 w 217"/>
                  <a:gd name="T67" fmla="*/ 5 h 348"/>
                  <a:gd name="T68" fmla="*/ 143 w 217"/>
                  <a:gd name="T69" fmla="*/ 5 h 348"/>
                  <a:gd name="T70" fmla="*/ 152 w 217"/>
                  <a:gd name="T71" fmla="*/ 0 h 348"/>
                  <a:gd name="T72" fmla="*/ 161 w 217"/>
                  <a:gd name="T73" fmla="*/ 5 h 348"/>
                  <a:gd name="T74" fmla="*/ 174 w 217"/>
                  <a:gd name="T75" fmla="*/ 26 h 348"/>
                  <a:gd name="T76" fmla="*/ 174 w 217"/>
                  <a:gd name="T77" fmla="*/ 35 h 348"/>
                  <a:gd name="T78" fmla="*/ 161 w 217"/>
                  <a:gd name="T79" fmla="*/ 52 h 348"/>
                  <a:gd name="T80" fmla="*/ 156 w 217"/>
                  <a:gd name="T81" fmla="*/ 65 h 348"/>
                  <a:gd name="T82" fmla="*/ 152 w 217"/>
                  <a:gd name="T83" fmla="*/ 78 h 348"/>
                  <a:gd name="T84" fmla="*/ 148 w 217"/>
                  <a:gd name="T85" fmla="*/ 96 h 348"/>
                  <a:gd name="T86" fmla="*/ 182 w 217"/>
                  <a:gd name="T87" fmla="*/ 104 h 348"/>
                  <a:gd name="T88" fmla="*/ 191 w 217"/>
                  <a:gd name="T89" fmla="*/ 104 h 348"/>
                  <a:gd name="T90" fmla="*/ 217 w 217"/>
                  <a:gd name="T91" fmla="*/ 131 h 348"/>
                  <a:gd name="T92" fmla="*/ 204 w 217"/>
                  <a:gd name="T93" fmla="*/ 148 h 348"/>
                  <a:gd name="T94" fmla="*/ 200 w 217"/>
                  <a:gd name="T95" fmla="*/ 178 h 348"/>
                  <a:gd name="T96" fmla="*/ 195 w 217"/>
                  <a:gd name="T97" fmla="*/ 191 h 348"/>
                  <a:gd name="T98" fmla="*/ 187 w 217"/>
                  <a:gd name="T99" fmla="*/ 191 h 348"/>
                  <a:gd name="T100" fmla="*/ 178 w 217"/>
                  <a:gd name="T101" fmla="*/ 191 h 348"/>
                  <a:gd name="T102" fmla="*/ 165 w 217"/>
                  <a:gd name="T103" fmla="*/ 187 h 348"/>
                  <a:gd name="T104" fmla="*/ 156 w 217"/>
                  <a:gd name="T105" fmla="*/ 183 h 348"/>
                  <a:gd name="T106" fmla="*/ 152 w 217"/>
                  <a:gd name="T107" fmla="*/ 204 h 348"/>
                  <a:gd name="T108" fmla="*/ 156 w 217"/>
                  <a:gd name="T109" fmla="*/ 222 h 348"/>
                  <a:gd name="T110" fmla="*/ 148 w 217"/>
                  <a:gd name="T111" fmla="*/ 226 h 348"/>
                  <a:gd name="T112" fmla="*/ 148 w 217"/>
                  <a:gd name="T113" fmla="*/ 265 h 348"/>
                  <a:gd name="T114" fmla="*/ 174 w 217"/>
                  <a:gd name="T115" fmla="*/ 274 h 348"/>
                  <a:gd name="T116" fmla="*/ 174 w 217"/>
                  <a:gd name="T117" fmla="*/ 296 h 348"/>
                  <a:gd name="T118" fmla="*/ 161 w 217"/>
                  <a:gd name="T119" fmla="*/ 313 h 348"/>
                  <a:gd name="T120" fmla="*/ 148 w 217"/>
                  <a:gd name="T121" fmla="*/ 313 h 348"/>
                  <a:gd name="T122" fmla="*/ 143 w 217"/>
                  <a:gd name="T123" fmla="*/ 331 h 348"/>
                  <a:gd name="T124" fmla="*/ 139 w 217"/>
                  <a:gd name="T125" fmla="*/ 348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7" h="348">
                    <a:moveTo>
                      <a:pt x="135" y="348"/>
                    </a:moveTo>
                    <a:lnTo>
                      <a:pt x="130" y="348"/>
                    </a:lnTo>
                    <a:lnTo>
                      <a:pt x="130" y="344"/>
                    </a:lnTo>
                    <a:lnTo>
                      <a:pt x="122" y="339"/>
                    </a:lnTo>
                    <a:lnTo>
                      <a:pt x="113" y="335"/>
                    </a:lnTo>
                    <a:lnTo>
                      <a:pt x="113" y="335"/>
                    </a:lnTo>
                    <a:lnTo>
                      <a:pt x="109" y="339"/>
                    </a:lnTo>
                    <a:lnTo>
                      <a:pt x="104" y="339"/>
                    </a:lnTo>
                    <a:lnTo>
                      <a:pt x="100" y="331"/>
                    </a:lnTo>
                    <a:lnTo>
                      <a:pt x="100" y="331"/>
                    </a:lnTo>
                    <a:lnTo>
                      <a:pt x="100" y="326"/>
                    </a:lnTo>
                    <a:lnTo>
                      <a:pt x="100" y="322"/>
                    </a:lnTo>
                    <a:lnTo>
                      <a:pt x="100" y="318"/>
                    </a:lnTo>
                    <a:lnTo>
                      <a:pt x="100" y="318"/>
                    </a:lnTo>
                    <a:lnTo>
                      <a:pt x="100" y="318"/>
                    </a:lnTo>
                    <a:lnTo>
                      <a:pt x="87" y="313"/>
                    </a:lnTo>
                    <a:lnTo>
                      <a:pt x="78" y="313"/>
                    </a:lnTo>
                    <a:lnTo>
                      <a:pt x="74" y="309"/>
                    </a:lnTo>
                    <a:lnTo>
                      <a:pt x="69" y="300"/>
                    </a:lnTo>
                    <a:lnTo>
                      <a:pt x="65" y="296"/>
                    </a:lnTo>
                    <a:lnTo>
                      <a:pt x="65" y="291"/>
                    </a:lnTo>
                    <a:lnTo>
                      <a:pt x="65" y="291"/>
                    </a:lnTo>
                    <a:lnTo>
                      <a:pt x="65" y="287"/>
                    </a:lnTo>
                    <a:lnTo>
                      <a:pt x="65" y="283"/>
                    </a:lnTo>
                    <a:lnTo>
                      <a:pt x="69" y="283"/>
                    </a:lnTo>
                    <a:lnTo>
                      <a:pt x="74" y="283"/>
                    </a:lnTo>
                    <a:lnTo>
                      <a:pt x="74" y="278"/>
                    </a:lnTo>
                    <a:lnTo>
                      <a:pt x="74" y="270"/>
                    </a:lnTo>
                    <a:lnTo>
                      <a:pt x="74" y="270"/>
                    </a:lnTo>
                    <a:lnTo>
                      <a:pt x="74" y="261"/>
                    </a:lnTo>
                    <a:lnTo>
                      <a:pt x="74" y="261"/>
                    </a:lnTo>
                    <a:lnTo>
                      <a:pt x="69" y="257"/>
                    </a:lnTo>
                    <a:lnTo>
                      <a:pt x="69" y="257"/>
                    </a:lnTo>
                    <a:lnTo>
                      <a:pt x="69" y="252"/>
                    </a:lnTo>
                    <a:lnTo>
                      <a:pt x="65" y="252"/>
                    </a:lnTo>
                    <a:lnTo>
                      <a:pt x="61" y="244"/>
                    </a:lnTo>
                    <a:lnTo>
                      <a:pt x="61" y="239"/>
                    </a:lnTo>
                    <a:lnTo>
                      <a:pt x="56" y="231"/>
                    </a:lnTo>
                    <a:lnTo>
                      <a:pt x="56" y="231"/>
                    </a:lnTo>
                    <a:lnTo>
                      <a:pt x="56" y="226"/>
                    </a:lnTo>
                    <a:lnTo>
                      <a:pt x="56" y="222"/>
                    </a:lnTo>
                    <a:lnTo>
                      <a:pt x="61" y="222"/>
                    </a:lnTo>
                    <a:lnTo>
                      <a:pt x="61" y="222"/>
                    </a:lnTo>
                    <a:lnTo>
                      <a:pt x="61" y="218"/>
                    </a:lnTo>
                    <a:lnTo>
                      <a:pt x="56" y="204"/>
                    </a:lnTo>
                    <a:lnTo>
                      <a:pt x="48" y="204"/>
                    </a:lnTo>
                    <a:lnTo>
                      <a:pt x="43" y="200"/>
                    </a:lnTo>
                    <a:lnTo>
                      <a:pt x="43" y="200"/>
                    </a:lnTo>
                    <a:lnTo>
                      <a:pt x="39" y="196"/>
                    </a:lnTo>
                    <a:lnTo>
                      <a:pt x="35" y="196"/>
                    </a:lnTo>
                    <a:lnTo>
                      <a:pt x="35" y="191"/>
                    </a:lnTo>
                    <a:lnTo>
                      <a:pt x="35" y="183"/>
                    </a:lnTo>
                    <a:lnTo>
                      <a:pt x="26" y="183"/>
                    </a:lnTo>
                    <a:lnTo>
                      <a:pt x="26" y="183"/>
                    </a:lnTo>
                    <a:lnTo>
                      <a:pt x="26" y="183"/>
                    </a:lnTo>
                    <a:lnTo>
                      <a:pt x="22" y="183"/>
                    </a:lnTo>
                    <a:lnTo>
                      <a:pt x="17" y="183"/>
                    </a:lnTo>
                    <a:lnTo>
                      <a:pt x="17" y="183"/>
                    </a:lnTo>
                    <a:lnTo>
                      <a:pt x="17" y="183"/>
                    </a:lnTo>
                    <a:lnTo>
                      <a:pt x="17" y="178"/>
                    </a:lnTo>
                    <a:lnTo>
                      <a:pt x="17" y="174"/>
                    </a:lnTo>
                    <a:lnTo>
                      <a:pt x="17" y="170"/>
                    </a:lnTo>
                    <a:lnTo>
                      <a:pt x="17" y="170"/>
                    </a:lnTo>
                    <a:lnTo>
                      <a:pt x="9" y="165"/>
                    </a:lnTo>
                    <a:lnTo>
                      <a:pt x="4" y="165"/>
                    </a:lnTo>
                    <a:lnTo>
                      <a:pt x="0" y="165"/>
                    </a:lnTo>
                    <a:lnTo>
                      <a:pt x="0" y="161"/>
                    </a:lnTo>
                    <a:lnTo>
                      <a:pt x="4" y="161"/>
                    </a:lnTo>
                    <a:lnTo>
                      <a:pt x="4" y="157"/>
                    </a:lnTo>
                    <a:lnTo>
                      <a:pt x="4" y="157"/>
                    </a:lnTo>
                    <a:lnTo>
                      <a:pt x="9" y="157"/>
                    </a:lnTo>
                    <a:lnTo>
                      <a:pt x="9" y="157"/>
                    </a:lnTo>
                    <a:lnTo>
                      <a:pt x="13" y="157"/>
                    </a:lnTo>
                    <a:lnTo>
                      <a:pt x="13" y="157"/>
                    </a:lnTo>
                    <a:lnTo>
                      <a:pt x="17" y="157"/>
                    </a:lnTo>
                    <a:lnTo>
                      <a:pt x="17" y="161"/>
                    </a:lnTo>
                    <a:lnTo>
                      <a:pt x="22" y="161"/>
                    </a:lnTo>
                    <a:lnTo>
                      <a:pt x="26" y="157"/>
                    </a:lnTo>
                    <a:lnTo>
                      <a:pt x="30" y="157"/>
                    </a:lnTo>
                    <a:lnTo>
                      <a:pt x="30" y="157"/>
                    </a:lnTo>
                    <a:lnTo>
                      <a:pt x="35" y="157"/>
                    </a:lnTo>
                    <a:lnTo>
                      <a:pt x="35" y="157"/>
                    </a:lnTo>
                    <a:lnTo>
                      <a:pt x="39" y="157"/>
                    </a:lnTo>
                    <a:lnTo>
                      <a:pt x="39" y="157"/>
                    </a:lnTo>
                    <a:lnTo>
                      <a:pt x="43" y="157"/>
                    </a:lnTo>
                    <a:lnTo>
                      <a:pt x="43" y="152"/>
                    </a:lnTo>
                    <a:lnTo>
                      <a:pt x="43" y="152"/>
                    </a:lnTo>
                    <a:lnTo>
                      <a:pt x="48" y="148"/>
                    </a:lnTo>
                    <a:lnTo>
                      <a:pt x="48" y="144"/>
                    </a:lnTo>
                    <a:lnTo>
                      <a:pt x="52" y="144"/>
                    </a:lnTo>
                    <a:lnTo>
                      <a:pt x="56" y="139"/>
                    </a:lnTo>
                    <a:lnTo>
                      <a:pt x="65" y="139"/>
                    </a:lnTo>
                    <a:lnTo>
                      <a:pt x="65" y="139"/>
                    </a:lnTo>
                    <a:lnTo>
                      <a:pt x="69" y="139"/>
                    </a:lnTo>
                    <a:lnTo>
                      <a:pt x="69" y="139"/>
                    </a:lnTo>
                    <a:lnTo>
                      <a:pt x="74" y="139"/>
                    </a:lnTo>
                    <a:lnTo>
                      <a:pt x="78" y="139"/>
                    </a:lnTo>
                    <a:lnTo>
                      <a:pt x="78" y="139"/>
                    </a:lnTo>
                    <a:lnTo>
                      <a:pt x="87" y="139"/>
                    </a:lnTo>
                    <a:lnTo>
                      <a:pt x="87" y="139"/>
                    </a:lnTo>
                    <a:lnTo>
                      <a:pt x="95" y="135"/>
                    </a:lnTo>
                    <a:lnTo>
                      <a:pt x="100" y="118"/>
                    </a:lnTo>
                    <a:lnTo>
                      <a:pt x="95" y="113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4"/>
                    </a:lnTo>
                    <a:lnTo>
                      <a:pt x="95" y="104"/>
                    </a:lnTo>
                    <a:lnTo>
                      <a:pt x="95" y="100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1"/>
                    </a:lnTo>
                    <a:lnTo>
                      <a:pt x="100" y="91"/>
                    </a:lnTo>
                    <a:lnTo>
                      <a:pt x="100" y="87"/>
                    </a:lnTo>
                    <a:lnTo>
                      <a:pt x="100" y="83"/>
                    </a:lnTo>
                    <a:lnTo>
                      <a:pt x="100" y="78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100" y="61"/>
                    </a:lnTo>
                    <a:lnTo>
                      <a:pt x="104" y="52"/>
                    </a:lnTo>
                    <a:lnTo>
                      <a:pt x="104" y="48"/>
                    </a:lnTo>
                    <a:lnTo>
                      <a:pt x="104" y="48"/>
                    </a:lnTo>
                    <a:lnTo>
                      <a:pt x="109" y="48"/>
                    </a:lnTo>
                    <a:lnTo>
                      <a:pt x="113" y="35"/>
                    </a:lnTo>
                    <a:lnTo>
                      <a:pt x="113" y="26"/>
                    </a:lnTo>
                    <a:lnTo>
                      <a:pt x="117" y="22"/>
                    </a:lnTo>
                    <a:lnTo>
                      <a:pt x="117" y="18"/>
                    </a:lnTo>
                    <a:lnTo>
                      <a:pt x="122" y="22"/>
                    </a:lnTo>
                    <a:lnTo>
                      <a:pt x="126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26" y="13"/>
                    </a:lnTo>
                    <a:lnTo>
                      <a:pt x="126" y="13"/>
                    </a:lnTo>
                    <a:lnTo>
                      <a:pt x="126" y="9"/>
                    </a:lnTo>
                    <a:lnTo>
                      <a:pt x="130" y="5"/>
                    </a:lnTo>
                    <a:lnTo>
                      <a:pt x="135" y="5"/>
                    </a:lnTo>
                    <a:lnTo>
                      <a:pt x="135" y="5"/>
                    </a:lnTo>
                    <a:lnTo>
                      <a:pt x="139" y="5"/>
                    </a:lnTo>
                    <a:lnTo>
                      <a:pt x="143" y="5"/>
                    </a:lnTo>
                    <a:lnTo>
                      <a:pt x="143" y="5"/>
                    </a:lnTo>
                    <a:lnTo>
                      <a:pt x="143" y="5"/>
                    </a:lnTo>
                    <a:lnTo>
                      <a:pt x="148" y="5"/>
                    </a:lnTo>
                    <a:lnTo>
                      <a:pt x="148" y="0"/>
                    </a:lnTo>
                    <a:lnTo>
                      <a:pt x="152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61" y="5"/>
                    </a:lnTo>
                    <a:lnTo>
                      <a:pt x="161" y="5"/>
                    </a:lnTo>
                    <a:lnTo>
                      <a:pt x="161" y="9"/>
                    </a:lnTo>
                    <a:lnTo>
                      <a:pt x="161" y="13"/>
                    </a:lnTo>
                    <a:lnTo>
                      <a:pt x="169" y="22"/>
                    </a:lnTo>
                    <a:lnTo>
                      <a:pt x="174" y="26"/>
                    </a:lnTo>
                    <a:lnTo>
                      <a:pt x="174" y="26"/>
                    </a:lnTo>
                    <a:lnTo>
                      <a:pt x="174" y="31"/>
                    </a:lnTo>
                    <a:lnTo>
                      <a:pt x="174" y="31"/>
                    </a:lnTo>
                    <a:lnTo>
                      <a:pt x="174" y="35"/>
                    </a:lnTo>
                    <a:lnTo>
                      <a:pt x="174" y="35"/>
                    </a:lnTo>
                    <a:lnTo>
                      <a:pt x="169" y="39"/>
                    </a:lnTo>
                    <a:lnTo>
                      <a:pt x="165" y="48"/>
                    </a:lnTo>
                    <a:lnTo>
                      <a:pt x="161" y="52"/>
                    </a:lnTo>
                    <a:lnTo>
                      <a:pt x="161" y="57"/>
                    </a:lnTo>
                    <a:lnTo>
                      <a:pt x="156" y="61"/>
                    </a:lnTo>
                    <a:lnTo>
                      <a:pt x="156" y="61"/>
                    </a:lnTo>
                    <a:lnTo>
                      <a:pt x="156" y="65"/>
                    </a:lnTo>
                    <a:lnTo>
                      <a:pt x="156" y="70"/>
                    </a:lnTo>
                    <a:lnTo>
                      <a:pt x="156" y="74"/>
                    </a:lnTo>
                    <a:lnTo>
                      <a:pt x="152" y="78"/>
                    </a:lnTo>
                    <a:lnTo>
                      <a:pt x="152" y="78"/>
                    </a:lnTo>
                    <a:lnTo>
                      <a:pt x="148" y="87"/>
                    </a:lnTo>
                    <a:lnTo>
                      <a:pt x="143" y="87"/>
                    </a:lnTo>
                    <a:lnTo>
                      <a:pt x="143" y="91"/>
                    </a:lnTo>
                    <a:lnTo>
                      <a:pt x="148" y="96"/>
                    </a:lnTo>
                    <a:lnTo>
                      <a:pt x="165" y="104"/>
                    </a:lnTo>
                    <a:lnTo>
                      <a:pt x="169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7" y="104"/>
                    </a:lnTo>
                    <a:lnTo>
                      <a:pt x="187" y="104"/>
                    </a:lnTo>
                    <a:lnTo>
                      <a:pt x="191" y="104"/>
                    </a:lnTo>
                    <a:lnTo>
                      <a:pt x="191" y="104"/>
                    </a:lnTo>
                    <a:lnTo>
                      <a:pt x="195" y="104"/>
                    </a:lnTo>
                    <a:lnTo>
                      <a:pt x="195" y="104"/>
                    </a:lnTo>
                    <a:lnTo>
                      <a:pt x="213" y="122"/>
                    </a:lnTo>
                    <a:lnTo>
                      <a:pt x="217" y="131"/>
                    </a:lnTo>
                    <a:lnTo>
                      <a:pt x="217" y="135"/>
                    </a:lnTo>
                    <a:lnTo>
                      <a:pt x="217" y="135"/>
                    </a:lnTo>
                    <a:lnTo>
                      <a:pt x="213" y="135"/>
                    </a:lnTo>
                    <a:lnTo>
                      <a:pt x="204" y="148"/>
                    </a:lnTo>
                    <a:lnTo>
                      <a:pt x="200" y="165"/>
                    </a:lnTo>
                    <a:lnTo>
                      <a:pt x="195" y="174"/>
                    </a:lnTo>
                    <a:lnTo>
                      <a:pt x="200" y="178"/>
                    </a:lnTo>
                    <a:lnTo>
                      <a:pt x="200" y="178"/>
                    </a:lnTo>
                    <a:lnTo>
                      <a:pt x="204" y="187"/>
                    </a:lnTo>
                    <a:lnTo>
                      <a:pt x="200" y="191"/>
                    </a:lnTo>
                    <a:lnTo>
                      <a:pt x="200" y="191"/>
                    </a:lnTo>
                    <a:lnTo>
                      <a:pt x="195" y="191"/>
                    </a:lnTo>
                    <a:lnTo>
                      <a:pt x="195" y="191"/>
                    </a:lnTo>
                    <a:lnTo>
                      <a:pt x="191" y="191"/>
                    </a:lnTo>
                    <a:lnTo>
                      <a:pt x="191" y="191"/>
                    </a:lnTo>
                    <a:lnTo>
                      <a:pt x="187" y="191"/>
                    </a:lnTo>
                    <a:lnTo>
                      <a:pt x="187" y="191"/>
                    </a:lnTo>
                    <a:lnTo>
                      <a:pt x="182" y="191"/>
                    </a:lnTo>
                    <a:lnTo>
                      <a:pt x="182" y="191"/>
                    </a:lnTo>
                    <a:lnTo>
                      <a:pt x="178" y="191"/>
                    </a:lnTo>
                    <a:lnTo>
                      <a:pt x="174" y="191"/>
                    </a:lnTo>
                    <a:lnTo>
                      <a:pt x="174" y="191"/>
                    </a:lnTo>
                    <a:lnTo>
                      <a:pt x="169" y="187"/>
                    </a:lnTo>
                    <a:lnTo>
                      <a:pt x="165" y="187"/>
                    </a:lnTo>
                    <a:lnTo>
                      <a:pt x="165" y="187"/>
                    </a:lnTo>
                    <a:lnTo>
                      <a:pt x="165" y="183"/>
                    </a:lnTo>
                    <a:lnTo>
                      <a:pt x="161" y="183"/>
                    </a:lnTo>
                    <a:lnTo>
                      <a:pt x="156" y="183"/>
                    </a:lnTo>
                    <a:lnTo>
                      <a:pt x="156" y="183"/>
                    </a:lnTo>
                    <a:lnTo>
                      <a:pt x="156" y="187"/>
                    </a:lnTo>
                    <a:lnTo>
                      <a:pt x="152" y="196"/>
                    </a:lnTo>
                    <a:lnTo>
                      <a:pt x="152" y="204"/>
                    </a:lnTo>
                    <a:lnTo>
                      <a:pt x="152" y="213"/>
                    </a:lnTo>
                    <a:lnTo>
                      <a:pt x="156" y="218"/>
                    </a:lnTo>
                    <a:lnTo>
                      <a:pt x="156" y="218"/>
                    </a:lnTo>
                    <a:lnTo>
                      <a:pt x="156" y="222"/>
                    </a:lnTo>
                    <a:lnTo>
                      <a:pt x="152" y="226"/>
                    </a:lnTo>
                    <a:lnTo>
                      <a:pt x="152" y="226"/>
                    </a:lnTo>
                    <a:lnTo>
                      <a:pt x="152" y="226"/>
                    </a:lnTo>
                    <a:lnTo>
                      <a:pt x="148" y="226"/>
                    </a:lnTo>
                    <a:lnTo>
                      <a:pt x="148" y="226"/>
                    </a:lnTo>
                    <a:lnTo>
                      <a:pt x="143" y="231"/>
                    </a:lnTo>
                    <a:lnTo>
                      <a:pt x="148" y="261"/>
                    </a:lnTo>
                    <a:lnTo>
                      <a:pt x="148" y="265"/>
                    </a:lnTo>
                    <a:lnTo>
                      <a:pt x="165" y="270"/>
                    </a:lnTo>
                    <a:lnTo>
                      <a:pt x="169" y="270"/>
                    </a:lnTo>
                    <a:lnTo>
                      <a:pt x="169" y="270"/>
                    </a:lnTo>
                    <a:lnTo>
                      <a:pt x="174" y="274"/>
                    </a:lnTo>
                    <a:lnTo>
                      <a:pt x="178" y="278"/>
                    </a:lnTo>
                    <a:lnTo>
                      <a:pt x="178" y="283"/>
                    </a:lnTo>
                    <a:lnTo>
                      <a:pt x="178" y="291"/>
                    </a:lnTo>
                    <a:lnTo>
                      <a:pt x="174" y="296"/>
                    </a:lnTo>
                    <a:lnTo>
                      <a:pt x="178" y="304"/>
                    </a:lnTo>
                    <a:lnTo>
                      <a:pt x="174" y="309"/>
                    </a:lnTo>
                    <a:lnTo>
                      <a:pt x="165" y="313"/>
                    </a:lnTo>
                    <a:lnTo>
                      <a:pt x="161" y="313"/>
                    </a:lnTo>
                    <a:lnTo>
                      <a:pt x="152" y="313"/>
                    </a:lnTo>
                    <a:lnTo>
                      <a:pt x="152" y="313"/>
                    </a:lnTo>
                    <a:lnTo>
                      <a:pt x="148" y="309"/>
                    </a:lnTo>
                    <a:lnTo>
                      <a:pt x="148" y="313"/>
                    </a:lnTo>
                    <a:lnTo>
                      <a:pt x="143" y="313"/>
                    </a:lnTo>
                    <a:lnTo>
                      <a:pt x="143" y="313"/>
                    </a:lnTo>
                    <a:lnTo>
                      <a:pt x="143" y="326"/>
                    </a:lnTo>
                    <a:lnTo>
                      <a:pt x="143" y="331"/>
                    </a:lnTo>
                    <a:lnTo>
                      <a:pt x="148" y="335"/>
                    </a:lnTo>
                    <a:lnTo>
                      <a:pt x="148" y="339"/>
                    </a:lnTo>
                    <a:lnTo>
                      <a:pt x="143" y="344"/>
                    </a:lnTo>
                    <a:lnTo>
                      <a:pt x="139" y="348"/>
                    </a:lnTo>
                    <a:lnTo>
                      <a:pt x="135" y="34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36">
                <a:extLst>
                  <a:ext uri="{FF2B5EF4-FFF2-40B4-BE49-F238E27FC236}">
                    <a16:creationId xmlns:a16="http://schemas.microsoft.com/office/drawing/2014/main" id="{D6826103-F08E-3E78-2CBA-0785E2599F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84248" y="3106067"/>
                <a:ext cx="455083" cy="901700"/>
              </a:xfrm>
              <a:custGeom>
                <a:avLst/>
                <a:gdLst>
                  <a:gd name="T0" fmla="*/ 43 w 261"/>
                  <a:gd name="T1" fmla="*/ 130 h 548"/>
                  <a:gd name="T2" fmla="*/ 56 w 261"/>
                  <a:gd name="T3" fmla="*/ 122 h 548"/>
                  <a:gd name="T4" fmla="*/ 74 w 261"/>
                  <a:gd name="T5" fmla="*/ 113 h 548"/>
                  <a:gd name="T6" fmla="*/ 87 w 261"/>
                  <a:gd name="T7" fmla="*/ 104 h 548"/>
                  <a:gd name="T8" fmla="*/ 100 w 261"/>
                  <a:gd name="T9" fmla="*/ 74 h 548"/>
                  <a:gd name="T10" fmla="*/ 109 w 261"/>
                  <a:gd name="T11" fmla="*/ 57 h 548"/>
                  <a:gd name="T12" fmla="*/ 135 w 261"/>
                  <a:gd name="T13" fmla="*/ 61 h 548"/>
                  <a:gd name="T14" fmla="*/ 148 w 261"/>
                  <a:gd name="T15" fmla="*/ 48 h 548"/>
                  <a:gd name="T16" fmla="*/ 161 w 261"/>
                  <a:gd name="T17" fmla="*/ 35 h 548"/>
                  <a:gd name="T18" fmla="*/ 174 w 261"/>
                  <a:gd name="T19" fmla="*/ 43 h 548"/>
                  <a:gd name="T20" fmla="*/ 187 w 261"/>
                  <a:gd name="T21" fmla="*/ 43 h 548"/>
                  <a:gd name="T22" fmla="*/ 200 w 261"/>
                  <a:gd name="T23" fmla="*/ 30 h 548"/>
                  <a:gd name="T24" fmla="*/ 222 w 261"/>
                  <a:gd name="T25" fmla="*/ 17 h 548"/>
                  <a:gd name="T26" fmla="*/ 222 w 261"/>
                  <a:gd name="T27" fmla="*/ 4 h 548"/>
                  <a:gd name="T28" fmla="*/ 230 w 261"/>
                  <a:gd name="T29" fmla="*/ 13 h 548"/>
                  <a:gd name="T30" fmla="*/ 239 w 261"/>
                  <a:gd name="T31" fmla="*/ 39 h 548"/>
                  <a:gd name="T32" fmla="*/ 226 w 261"/>
                  <a:gd name="T33" fmla="*/ 52 h 548"/>
                  <a:gd name="T34" fmla="*/ 243 w 261"/>
                  <a:gd name="T35" fmla="*/ 74 h 548"/>
                  <a:gd name="T36" fmla="*/ 252 w 261"/>
                  <a:gd name="T37" fmla="*/ 91 h 548"/>
                  <a:gd name="T38" fmla="*/ 261 w 261"/>
                  <a:gd name="T39" fmla="*/ 109 h 548"/>
                  <a:gd name="T40" fmla="*/ 256 w 261"/>
                  <a:gd name="T41" fmla="*/ 135 h 548"/>
                  <a:gd name="T42" fmla="*/ 222 w 261"/>
                  <a:gd name="T43" fmla="*/ 143 h 548"/>
                  <a:gd name="T44" fmla="*/ 222 w 261"/>
                  <a:gd name="T45" fmla="*/ 170 h 548"/>
                  <a:gd name="T46" fmla="*/ 204 w 261"/>
                  <a:gd name="T47" fmla="*/ 196 h 548"/>
                  <a:gd name="T48" fmla="*/ 213 w 261"/>
                  <a:gd name="T49" fmla="*/ 222 h 548"/>
                  <a:gd name="T50" fmla="*/ 248 w 261"/>
                  <a:gd name="T51" fmla="*/ 261 h 548"/>
                  <a:gd name="T52" fmla="*/ 243 w 261"/>
                  <a:gd name="T53" fmla="*/ 287 h 548"/>
                  <a:gd name="T54" fmla="*/ 230 w 261"/>
                  <a:gd name="T55" fmla="*/ 313 h 548"/>
                  <a:gd name="T56" fmla="*/ 235 w 261"/>
                  <a:gd name="T57" fmla="*/ 335 h 548"/>
                  <a:gd name="T58" fmla="*/ 217 w 261"/>
                  <a:gd name="T59" fmla="*/ 361 h 548"/>
                  <a:gd name="T60" fmla="*/ 230 w 261"/>
                  <a:gd name="T61" fmla="*/ 374 h 548"/>
                  <a:gd name="T62" fmla="*/ 235 w 261"/>
                  <a:gd name="T63" fmla="*/ 413 h 548"/>
                  <a:gd name="T64" fmla="*/ 226 w 261"/>
                  <a:gd name="T65" fmla="*/ 456 h 548"/>
                  <a:gd name="T66" fmla="*/ 183 w 261"/>
                  <a:gd name="T67" fmla="*/ 483 h 548"/>
                  <a:gd name="T68" fmla="*/ 165 w 261"/>
                  <a:gd name="T69" fmla="*/ 483 h 548"/>
                  <a:gd name="T70" fmla="*/ 130 w 261"/>
                  <a:gd name="T71" fmla="*/ 491 h 548"/>
                  <a:gd name="T72" fmla="*/ 104 w 261"/>
                  <a:gd name="T73" fmla="*/ 509 h 548"/>
                  <a:gd name="T74" fmla="*/ 74 w 261"/>
                  <a:gd name="T75" fmla="*/ 526 h 548"/>
                  <a:gd name="T76" fmla="*/ 26 w 261"/>
                  <a:gd name="T77" fmla="*/ 548 h 548"/>
                  <a:gd name="T78" fmla="*/ 4 w 261"/>
                  <a:gd name="T79" fmla="*/ 543 h 548"/>
                  <a:gd name="T80" fmla="*/ 9 w 261"/>
                  <a:gd name="T81" fmla="*/ 496 h 548"/>
                  <a:gd name="T82" fmla="*/ 17 w 261"/>
                  <a:gd name="T83" fmla="*/ 478 h 548"/>
                  <a:gd name="T84" fmla="*/ 22 w 261"/>
                  <a:gd name="T85" fmla="*/ 452 h 548"/>
                  <a:gd name="T86" fmla="*/ 9 w 261"/>
                  <a:gd name="T87" fmla="*/ 413 h 548"/>
                  <a:gd name="T88" fmla="*/ 9 w 261"/>
                  <a:gd name="T89" fmla="*/ 383 h 548"/>
                  <a:gd name="T90" fmla="*/ 0 w 261"/>
                  <a:gd name="T91" fmla="*/ 343 h 548"/>
                  <a:gd name="T92" fmla="*/ 17 w 261"/>
                  <a:gd name="T93" fmla="*/ 309 h 548"/>
                  <a:gd name="T94" fmla="*/ 26 w 261"/>
                  <a:gd name="T95" fmla="*/ 296 h 548"/>
                  <a:gd name="T96" fmla="*/ 4 w 261"/>
                  <a:gd name="T97" fmla="*/ 261 h 548"/>
                  <a:gd name="T98" fmla="*/ 13 w 261"/>
                  <a:gd name="T99" fmla="*/ 230 h 548"/>
                  <a:gd name="T100" fmla="*/ 26 w 261"/>
                  <a:gd name="T101" fmla="*/ 204 h 548"/>
                  <a:gd name="T102" fmla="*/ 30 w 261"/>
                  <a:gd name="T103" fmla="*/ 174 h 548"/>
                  <a:gd name="T104" fmla="*/ 39 w 261"/>
                  <a:gd name="T105" fmla="*/ 161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61" h="548">
                    <a:moveTo>
                      <a:pt x="35" y="135"/>
                    </a:moveTo>
                    <a:lnTo>
                      <a:pt x="35" y="135"/>
                    </a:lnTo>
                    <a:lnTo>
                      <a:pt x="35" y="135"/>
                    </a:lnTo>
                    <a:lnTo>
                      <a:pt x="39" y="135"/>
                    </a:lnTo>
                    <a:lnTo>
                      <a:pt x="39" y="130"/>
                    </a:lnTo>
                    <a:lnTo>
                      <a:pt x="43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52" y="130"/>
                    </a:lnTo>
                    <a:lnTo>
                      <a:pt x="56" y="122"/>
                    </a:lnTo>
                    <a:lnTo>
                      <a:pt x="56" y="122"/>
                    </a:lnTo>
                    <a:lnTo>
                      <a:pt x="56" y="122"/>
                    </a:lnTo>
                    <a:lnTo>
                      <a:pt x="56" y="113"/>
                    </a:lnTo>
                    <a:lnTo>
                      <a:pt x="56" y="113"/>
                    </a:lnTo>
                    <a:lnTo>
                      <a:pt x="56" y="113"/>
                    </a:lnTo>
                    <a:lnTo>
                      <a:pt x="61" y="113"/>
                    </a:lnTo>
                    <a:lnTo>
                      <a:pt x="70" y="113"/>
                    </a:lnTo>
                    <a:lnTo>
                      <a:pt x="74" y="113"/>
                    </a:lnTo>
                    <a:lnTo>
                      <a:pt x="74" y="113"/>
                    </a:lnTo>
                    <a:lnTo>
                      <a:pt x="78" y="113"/>
                    </a:lnTo>
                    <a:lnTo>
                      <a:pt x="83" y="113"/>
                    </a:lnTo>
                    <a:lnTo>
                      <a:pt x="83" y="109"/>
                    </a:lnTo>
                    <a:lnTo>
                      <a:pt x="87" y="104"/>
                    </a:lnTo>
                    <a:lnTo>
                      <a:pt x="87" y="104"/>
                    </a:lnTo>
                    <a:lnTo>
                      <a:pt x="87" y="104"/>
                    </a:lnTo>
                    <a:lnTo>
                      <a:pt x="87" y="100"/>
                    </a:lnTo>
                    <a:lnTo>
                      <a:pt x="87" y="96"/>
                    </a:lnTo>
                    <a:lnTo>
                      <a:pt x="96" y="83"/>
                    </a:lnTo>
                    <a:lnTo>
                      <a:pt x="96" y="78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0"/>
                    </a:lnTo>
                    <a:lnTo>
                      <a:pt x="104" y="65"/>
                    </a:lnTo>
                    <a:lnTo>
                      <a:pt x="104" y="61"/>
                    </a:lnTo>
                    <a:lnTo>
                      <a:pt x="104" y="61"/>
                    </a:lnTo>
                    <a:lnTo>
                      <a:pt x="109" y="57"/>
                    </a:lnTo>
                    <a:lnTo>
                      <a:pt x="113" y="52"/>
                    </a:lnTo>
                    <a:lnTo>
                      <a:pt x="117" y="52"/>
                    </a:lnTo>
                    <a:lnTo>
                      <a:pt x="126" y="57"/>
                    </a:lnTo>
                    <a:lnTo>
                      <a:pt x="135" y="57"/>
                    </a:lnTo>
                    <a:lnTo>
                      <a:pt x="135" y="57"/>
                    </a:lnTo>
                    <a:lnTo>
                      <a:pt x="135" y="61"/>
                    </a:lnTo>
                    <a:lnTo>
                      <a:pt x="139" y="61"/>
                    </a:lnTo>
                    <a:lnTo>
                      <a:pt x="139" y="57"/>
                    </a:lnTo>
                    <a:lnTo>
                      <a:pt x="143" y="57"/>
                    </a:lnTo>
                    <a:lnTo>
                      <a:pt x="143" y="57"/>
                    </a:lnTo>
                    <a:lnTo>
                      <a:pt x="143" y="52"/>
                    </a:lnTo>
                    <a:lnTo>
                      <a:pt x="148" y="48"/>
                    </a:lnTo>
                    <a:lnTo>
                      <a:pt x="148" y="48"/>
                    </a:lnTo>
                    <a:lnTo>
                      <a:pt x="148" y="43"/>
                    </a:lnTo>
                    <a:lnTo>
                      <a:pt x="152" y="43"/>
                    </a:lnTo>
                    <a:lnTo>
                      <a:pt x="156" y="39"/>
                    </a:lnTo>
                    <a:lnTo>
                      <a:pt x="156" y="39"/>
                    </a:lnTo>
                    <a:lnTo>
                      <a:pt x="161" y="35"/>
                    </a:lnTo>
                    <a:lnTo>
                      <a:pt x="165" y="35"/>
                    </a:lnTo>
                    <a:lnTo>
                      <a:pt x="165" y="35"/>
                    </a:lnTo>
                    <a:lnTo>
                      <a:pt x="170" y="35"/>
                    </a:lnTo>
                    <a:lnTo>
                      <a:pt x="170" y="39"/>
                    </a:lnTo>
                    <a:lnTo>
                      <a:pt x="170" y="39"/>
                    </a:lnTo>
                    <a:lnTo>
                      <a:pt x="174" y="43"/>
                    </a:lnTo>
                    <a:lnTo>
                      <a:pt x="174" y="43"/>
                    </a:lnTo>
                    <a:lnTo>
                      <a:pt x="174" y="43"/>
                    </a:lnTo>
                    <a:lnTo>
                      <a:pt x="178" y="43"/>
                    </a:lnTo>
                    <a:lnTo>
                      <a:pt x="178" y="43"/>
                    </a:lnTo>
                    <a:lnTo>
                      <a:pt x="183" y="43"/>
                    </a:lnTo>
                    <a:lnTo>
                      <a:pt x="187" y="43"/>
                    </a:lnTo>
                    <a:lnTo>
                      <a:pt x="187" y="39"/>
                    </a:lnTo>
                    <a:lnTo>
                      <a:pt x="191" y="39"/>
                    </a:lnTo>
                    <a:lnTo>
                      <a:pt x="191" y="35"/>
                    </a:lnTo>
                    <a:lnTo>
                      <a:pt x="196" y="35"/>
                    </a:lnTo>
                    <a:lnTo>
                      <a:pt x="196" y="30"/>
                    </a:lnTo>
                    <a:lnTo>
                      <a:pt x="200" y="30"/>
                    </a:lnTo>
                    <a:lnTo>
                      <a:pt x="209" y="30"/>
                    </a:lnTo>
                    <a:lnTo>
                      <a:pt x="222" y="26"/>
                    </a:lnTo>
                    <a:lnTo>
                      <a:pt x="222" y="22"/>
                    </a:lnTo>
                    <a:lnTo>
                      <a:pt x="222" y="22"/>
                    </a:lnTo>
                    <a:lnTo>
                      <a:pt x="222" y="22"/>
                    </a:lnTo>
                    <a:lnTo>
                      <a:pt x="222" y="17"/>
                    </a:lnTo>
                    <a:lnTo>
                      <a:pt x="217" y="17"/>
                    </a:lnTo>
                    <a:lnTo>
                      <a:pt x="217" y="13"/>
                    </a:lnTo>
                    <a:lnTo>
                      <a:pt x="217" y="13"/>
                    </a:lnTo>
                    <a:lnTo>
                      <a:pt x="217" y="9"/>
                    </a:lnTo>
                    <a:lnTo>
                      <a:pt x="222" y="9"/>
                    </a:lnTo>
                    <a:lnTo>
                      <a:pt x="222" y="4"/>
                    </a:lnTo>
                    <a:lnTo>
                      <a:pt x="226" y="0"/>
                    </a:lnTo>
                    <a:lnTo>
                      <a:pt x="226" y="9"/>
                    </a:lnTo>
                    <a:lnTo>
                      <a:pt x="226" y="9"/>
                    </a:lnTo>
                    <a:lnTo>
                      <a:pt x="226" y="9"/>
                    </a:lnTo>
                    <a:lnTo>
                      <a:pt x="230" y="13"/>
                    </a:lnTo>
                    <a:lnTo>
                      <a:pt x="230" y="13"/>
                    </a:lnTo>
                    <a:lnTo>
                      <a:pt x="230" y="13"/>
                    </a:lnTo>
                    <a:lnTo>
                      <a:pt x="235" y="17"/>
                    </a:lnTo>
                    <a:lnTo>
                      <a:pt x="235" y="22"/>
                    </a:lnTo>
                    <a:lnTo>
                      <a:pt x="235" y="22"/>
                    </a:lnTo>
                    <a:lnTo>
                      <a:pt x="235" y="30"/>
                    </a:lnTo>
                    <a:lnTo>
                      <a:pt x="239" y="39"/>
                    </a:lnTo>
                    <a:lnTo>
                      <a:pt x="239" y="39"/>
                    </a:lnTo>
                    <a:lnTo>
                      <a:pt x="239" y="43"/>
                    </a:lnTo>
                    <a:lnTo>
                      <a:pt x="239" y="43"/>
                    </a:lnTo>
                    <a:lnTo>
                      <a:pt x="235" y="48"/>
                    </a:lnTo>
                    <a:lnTo>
                      <a:pt x="230" y="48"/>
                    </a:lnTo>
                    <a:lnTo>
                      <a:pt x="226" y="52"/>
                    </a:lnTo>
                    <a:lnTo>
                      <a:pt x="217" y="61"/>
                    </a:lnTo>
                    <a:lnTo>
                      <a:pt x="217" y="65"/>
                    </a:lnTo>
                    <a:lnTo>
                      <a:pt x="217" y="65"/>
                    </a:lnTo>
                    <a:lnTo>
                      <a:pt x="226" y="74"/>
                    </a:lnTo>
                    <a:lnTo>
                      <a:pt x="239" y="74"/>
                    </a:lnTo>
                    <a:lnTo>
                      <a:pt x="243" y="74"/>
                    </a:lnTo>
                    <a:lnTo>
                      <a:pt x="248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52" y="87"/>
                    </a:lnTo>
                    <a:lnTo>
                      <a:pt x="252" y="87"/>
                    </a:lnTo>
                    <a:lnTo>
                      <a:pt x="252" y="91"/>
                    </a:lnTo>
                    <a:lnTo>
                      <a:pt x="252" y="96"/>
                    </a:lnTo>
                    <a:lnTo>
                      <a:pt x="256" y="96"/>
                    </a:lnTo>
                    <a:lnTo>
                      <a:pt x="261" y="100"/>
                    </a:lnTo>
                    <a:lnTo>
                      <a:pt x="261" y="104"/>
                    </a:lnTo>
                    <a:lnTo>
                      <a:pt x="261" y="109"/>
                    </a:lnTo>
                    <a:lnTo>
                      <a:pt x="261" y="109"/>
                    </a:lnTo>
                    <a:lnTo>
                      <a:pt x="256" y="117"/>
                    </a:lnTo>
                    <a:lnTo>
                      <a:pt x="256" y="122"/>
                    </a:lnTo>
                    <a:lnTo>
                      <a:pt x="256" y="126"/>
                    </a:lnTo>
                    <a:lnTo>
                      <a:pt x="256" y="130"/>
                    </a:lnTo>
                    <a:lnTo>
                      <a:pt x="256" y="130"/>
                    </a:lnTo>
                    <a:lnTo>
                      <a:pt x="256" y="135"/>
                    </a:lnTo>
                    <a:lnTo>
                      <a:pt x="248" y="143"/>
                    </a:lnTo>
                    <a:lnTo>
                      <a:pt x="248" y="143"/>
                    </a:lnTo>
                    <a:lnTo>
                      <a:pt x="243" y="143"/>
                    </a:lnTo>
                    <a:lnTo>
                      <a:pt x="235" y="148"/>
                    </a:lnTo>
                    <a:lnTo>
                      <a:pt x="230" y="143"/>
                    </a:lnTo>
                    <a:lnTo>
                      <a:pt x="222" y="143"/>
                    </a:lnTo>
                    <a:lnTo>
                      <a:pt x="222" y="148"/>
                    </a:lnTo>
                    <a:lnTo>
                      <a:pt x="222" y="148"/>
                    </a:lnTo>
                    <a:lnTo>
                      <a:pt x="213" y="157"/>
                    </a:lnTo>
                    <a:lnTo>
                      <a:pt x="217" y="161"/>
                    </a:lnTo>
                    <a:lnTo>
                      <a:pt x="217" y="165"/>
                    </a:lnTo>
                    <a:lnTo>
                      <a:pt x="222" y="170"/>
                    </a:lnTo>
                    <a:lnTo>
                      <a:pt x="217" y="183"/>
                    </a:lnTo>
                    <a:lnTo>
                      <a:pt x="217" y="183"/>
                    </a:lnTo>
                    <a:lnTo>
                      <a:pt x="213" y="183"/>
                    </a:lnTo>
                    <a:lnTo>
                      <a:pt x="209" y="183"/>
                    </a:lnTo>
                    <a:lnTo>
                      <a:pt x="204" y="191"/>
                    </a:lnTo>
                    <a:lnTo>
                      <a:pt x="204" y="196"/>
                    </a:lnTo>
                    <a:lnTo>
                      <a:pt x="204" y="200"/>
                    </a:lnTo>
                    <a:lnTo>
                      <a:pt x="204" y="209"/>
                    </a:lnTo>
                    <a:lnTo>
                      <a:pt x="204" y="217"/>
                    </a:lnTo>
                    <a:lnTo>
                      <a:pt x="209" y="217"/>
                    </a:lnTo>
                    <a:lnTo>
                      <a:pt x="209" y="222"/>
                    </a:lnTo>
                    <a:lnTo>
                      <a:pt x="213" y="222"/>
                    </a:lnTo>
                    <a:lnTo>
                      <a:pt x="217" y="222"/>
                    </a:lnTo>
                    <a:lnTo>
                      <a:pt x="226" y="226"/>
                    </a:lnTo>
                    <a:lnTo>
                      <a:pt x="230" y="230"/>
                    </a:lnTo>
                    <a:lnTo>
                      <a:pt x="235" y="243"/>
                    </a:lnTo>
                    <a:lnTo>
                      <a:pt x="243" y="252"/>
                    </a:lnTo>
                    <a:lnTo>
                      <a:pt x="248" y="261"/>
                    </a:lnTo>
                    <a:lnTo>
                      <a:pt x="252" y="265"/>
                    </a:lnTo>
                    <a:lnTo>
                      <a:pt x="252" y="274"/>
                    </a:lnTo>
                    <a:lnTo>
                      <a:pt x="248" y="278"/>
                    </a:lnTo>
                    <a:lnTo>
                      <a:pt x="248" y="283"/>
                    </a:lnTo>
                    <a:lnTo>
                      <a:pt x="243" y="287"/>
                    </a:lnTo>
                    <a:lnTo>
                      <a:pt x="243" y="287"/>
                    </a:lnTo>
                    <a:lnTo>
                      <a:pt x="239" y="296"/>
                    </a:lnTo>
                    <a:lnTo>
                      <a:pt x="239" y="300"/>
                    </a:lnTo>
                    <a:lnTo>
                      <a:pt x="239" y="304"/>
                    </a:lnTo>
                    <a:lnTo>
                      <a:pt x="239" y="304"/>
                    </a:lnTo>
                    <a:lnTo>
                      <a:pt x="235" y="309"/>
                    </a:lnTo>
                    <a:lnTo>
                      <a:pt x="230" y="313"/>
                    </a:lnTo>
                    <a:lnTo>
                      <a:pt x="230" y="313"/>
                    </a:lnTo>
                    <a:lnTo>
                      <a:pt x="230" y="317"/>
                    </a:lnTo>
                    <a:lnTo>
                      <a:pt x="230" y="322"/>
                    </a:lnTo>
                    <a:lnTo>
                      <a:pt x="230" y="322"/>
                    </a:lnTo>
                    <a:lnTo>
                      <a:pt x="235" y="326"/>
                    </a:lnTo>
                    <a:lnTo>
                      <a:pt x="235" y="335"/>
                    </a:lnTo>
                    <a:lnTo>
                      <a:pt x="226" y="343"/>
                    </a:lnTo>
                    <a:lnTo>
                      <a:pt x="217" y="348"/>
                    </a:lnTo>
                    <a:lnTo>
                      <a:pt x="213" y="348"/>
                    </a:lnTo>
                    <a:lnTo>
                      <a:pt x="213" y="348"/>
                    </a:lnTo>
                    <a:lnTo>
                      <a:pt x="213" y="356"/>
                    </a:lnTo>
                    <a:lnTo>
                      <a:pt x="217" y="361"/>
                    </a:lnTo>
                    <a:lnTo>
                      <a:pt x="222" y="365"/>
                    </a:lnTo>
                    <a:lnTo>
                      <a:pt x="222" y="370"/>
                    </a:lnTo>
                    <a:lnTo>
                      <a:pt x="222" y="370"/>
                    </a:lnTo>
                    <a:lnTo>
                      <a:pt x="222" y="374"/>
                    </a:lnTo>
                    <a:lnTo>
                      <a:pt x="226" y="374"/>
                    </a:lnTo>
                    <a:lnTo>
                      <a:pt x="230" y="374"/>
                    </a:lnTo>
                    <a:lnTo>
                      <a:pt x="235" y="378"/>
                    </a:lnTo>
                    <a:lnTo>
                      <a:pt x="235" y="378"/>
                    </a:lnTo>
                    <a:lnTo>
                      <a:pt x="235" y="378"/>
                    </a:lnTo>
                    <a:lnTo>
                      <a:pt x="235" y="383"/>
                    </a:lnTo>
                    <a:lnTo>
                      <a:pt x="235" y="396"/>
                    </a:lnTo>
                    <a:lnTo>
                      <a:pt x="235" y="413"/>
                    </a:lnTo>
                    <a:lnTo>
                      <a:pt x="235" y="417"/>
                    </a:lnTo>
                    <a:lnTo>
                      <a:pt x="230" y="430"/>
                    </a:lnTo>
                    <a:lnTo>
                      <a:pt x="230" y="439"/>
                    </a:lnTo>
                    <a:lnTo>
                      <a:pt x="230" y="448"/>
                    </a:lnTo>
                    <a:lnTo>
                      <a:pt x="226" y="452"/>
                    </a:lnTo>
                    <a:lnTo>
                      <a:pt x="226" y="456"/>
                    </a:lnTo>
                    <a:lnTo>
                      <a:pt x="222" y="456"/>
                    </a:lnTo>
                    <a:lnTo>
                      <a:pt x="217" y="456"/>
                    </a:lnTo>
                    <a:lnTo>
                      <a:pt x="200" y="470"/>
                    </a:lnTo>
                    <a:lnTo>
                      <a:pt x="191" y="478"/>
                    </a:lnTo>
                    <a:lnTo>
                      <a:pt x="187" y="483"/>
                    </a:lnTo>
                    <a:lnTo>
                      <a:pt x="183" y="483"/>
                    </a:lnTo>
                    <a:lnTo>
                      <a:pt x="178" y="483"/>
                    </a:lnTo>
                    <a:lnTo>
                      <a:pt x="174" y="478"/>
                    </a:lnTo>
                    <a:lnTo>
                      <a:pt x="174" y="478"/>
                    </a:lnTo>
                    <a:lnTo>
                      <a:pt x="165" y="483"/>
                    </a:lnTo>
                    <a:lnTo>
                      <a:pt x="165" y="483"/>
                    </a:lnTo>
                    <a:lnTo>
                      <a:pt x="165" y="483"/>
                    </a:lnTo>
                    <a:lnTo>
                      <a:pt x="161" y="487"/>
                    </a:lnTo>
                    <a:lnTo>
                      <a:pt x="161" y="487"/>
                    </a:lnTo>
                    <a:lnTo>
                      <a:pt x="148" y="487"/>
                    </a:lnTo>
                    <a:lnTo>
                      <a:pt x="139" y="487"/>
                    </a:lnTo>
                    <a:lnTo>
                      <a:pt x="130" y="487"/>
                    </a:lnTo>
                    <a:lnTo>
                      <a:pt x="130" y="491"/>
                    </a:lnTo>
                    <a:lnTo>
                      <a:pt x="126" y="504"/>
                    </a:lnTo>
                    <a:lnTo>
                      <a:pt x="126" y="500"/>
                    </a:lnTo>
                    <a:lnTo>
                      <a:pt x="122" y="500"/>
                    </a:lnTo>
                    <a:lnTo>
                      <a:pt x="117" y="500"/>
                    </a:lnTo>
                    <a:lnTo>
                      <a:pt x="113" y="500"/>
                    </a:lnTo>
                    <a:lnTo>
                      <a:pt x="104" y="509"/>
                    </a:lnTo>
                    <a:lnTo>
                      <a:pt x="100" y="513"/>
                    </a:lnTo>
                    <a:lnTo>
                      <a:pt x="96" y="517"/>
                    </a:lnTo>
                    <a:lnTo>
                      <a:pt x="96" y="522"/>
                    </a:lnTo>
                    <a:lnTo>
                      <a:pt x="91" y="522"/>
                    </a:lnTo>
                    <a:lnTo>
                      <a:pt x="83" y="526"/>
                    </a:lnTo>
                    <a:lnTo>
                      <a:pt x="74" y="526"/>
                    </a:lnTo>
                    <a:lnTo>
                      <a:pt x="70" y="526"/>
                    </a:lnTo>
                    <a:lnTo>
                      <a:pt x="56" y="535"/>
                    </a:lnTo>
                    <a:lnTo>
                      <a:pt x="52" y="535"/>
                    </a:lnTo>
                    <a:lnTo>
                      <a:pt x="48" y="543"/>
                    </a:lnTo>
                    <a:lnTo>
                      <a:pt x="35" y="548"/>
                    </a:lnTo>
                    <a:lnTo>
                      <a:pt x="26" y="548"/>
                    </a:lnTo>
                    <a:lnTo>
                      <a:pt x="22" y="548"/>
                    </a:lnTo>
                    <a:lnTo>
                      <a:pt x="17" y="548"/>
                    </a:lnTo>
                    <a:lnTo>
                      <a:pt x="9" y="548"/>
                    </a:lnTo>
                    <a:lnTo>
                      <a:pt x="9" y="548"/>
                    </a:lnTo>
                    <a:lnTo>
                      <a:pt x="4" y="548"/>
                    </a:lnTo>
                    <a:lnTo>
                      <a:pt x="4" y="543"/>
                    </a:lnTo>
                    <a:lnTo>
                      <a:pt x="4" y="539"/>
                    </a:lnTo>
                    <a:lnTo>
                      <a:pt x="4" y="530"/>
                    </a:lnTo>
                    <a:lnTo>
                      <a:pt x="4" y="517"/>
                    </a:lnTo>
                    <a:lnTo>
                      <a:pt x="4" y="504"/>
                    </a:lnTo>
                    <a:lnTo>
                      <a:pt x="9" y="500"/>
                    </a:lnTo>
                    <a:lnTo>
                      <a:pt x="9" y="496"/>
                    </a:lnTo>
                    <a:lnTo>
                      <a:pt x="9" y="496"/>
                    </a:lnTo>
                    <a:lnTo>
                      <a:pt x="13" y="491"/>
                    </a:lnTo>
                    <a:lnTo>
                      <a:pt x="13" y="487"/>
                    </a:lnTo>
                    <a:lnTo>
                      <a:pt x="17" y="483"/>
                    </a:lnTo>
                    <a:lnTo>
                      <a:pt x="17" y="478"/>
                    </a:lnTo>
                    <a:lnTo>
                      <a:pt x="17" y="478"/>
                    </a:lnTo>
                    <a:lnTo>
                      <a:pt x="17" y="478"/>
                    </a:lnTo>
                    <a:lnTo>
                      <a:pt x="22" y="478"/>
                    </a:lnTo>
                    <a:lnTo>
                      <a:pt x="26" y="465"/>
                    </a:lnTo>
                    <a:lnTo>
                      <a:pt x="26" y="461"/>
                    </a:lnTo>
                    <a:lnTo>
                      <a:pt x="22" y="456"/>
                    </a:lnTo>
                    <a:lnTo>
                      <a:pt x="22" y="452"/>
                    </a:lnTo>
                    <a:lnTo>
                      <a:pt x="17" y="439"/>
                    </a:lnTo>
                    <a:lnTo>
                      <a:pt x="13" y="430"/>
                    </a:lnTo>
                    <a:lnTo>
                      <a:pt x="9" y="422"/>
                    </a:lnTo>
                    <a:lnTo>
                      <a:pt x="9" y="417"/>
                    </a:lnTo>
                    <a:lnTo>
                      <a:pt x="9" y="417"/>
                    </a:lnTo>
                    <a:lnTo>
                      <a:pt x="9" y="413"/>
                    </a:lnTo>
                    <a:lnTo>
                      <a:pt x="9" y="400"/>
                    </a:lnTo>
                    <a:lnTo>
                      <a:pt x="9" y="396"/>
                    </a:lnTo>
                    <a:lnTo>
                      <a:pt x="9" y="396"/>
                    </a:lnTo>
                    <a:lnTo>
                      <a:pt x="9" y="387"/>
                    </a:lnTo>
                    <a:lnTo>
                      <a:pt x="13" y="387"/>
                    </a:lnTo>
                    <a:lnTo>
                      <a:pt x="9" y="383"/>
                    </a:lnTo>
                    <a:lnTo>
                      <a:pt x="9" y="378"/>
                    </a:lnTo>
                    <a:lnTo>
                      <a:pt x="9" y="378"/>
                    </a:lnTo>
                    <a:lnTo>
                      <a:pt x="4" y="374"/>
                    </a:lnTo>
                    <a:lnTo>
                      <a:pt x="4" y="370"/>
                    </a:lnTo>
                    <a:lnTo>
                      <a:pt x="4" y="361"/>
                    </a:lnTo>
                    <a:lnTo>
                      <a:pt x="0" y="343"/>
                    </a:lnTo>
                    <a:lnTo>
                      <a:pt x="4" y="343"/>
                    </a:lnTo>
                    <a:lnTo>
                      <a:pt x="9" y="330"/>
                    </a:lnTo>
                    <a:lnTo>
                      <a:pt x="13" y="326"/>
                    </a:lnTo>
                    <a:lnTo>
                      <a:pt x="17" y="317"/>
                    </a:lnTo>
                    <a:lnTo>
                      <a:pt x="17" y="313"/>
                    </a:lnTo>
                    <a:lnTo>
                      <a:pt x="17" y="309"/>
                    </a:lnTo>
                    <a:lnTo>
                      <a:pt x="13" y="309"/>
                    </a:lnTo>
                    <a:lnTo>
                      <a:pt x="17" y="304"/>
                    </a:lnTo>
                    <a:lnTo>
                      <a:pt x="17" y="304"/>
                    </a:lnTo>
                    <a:lnTo>
                      <a:pt x="22" y="304"/>
                    </a:lnTo>
                    <a:lnTo>
                      <a:pt x="22" y="304"/>
                    </a:lnTo>
                    <a:lnTo>
                      <a:pt x="26" y="296"/>
                    </a:lnTo>
                    <a:lnTo>
                      <a:pt x="26" y="287"/>
                    </a:lnTo>
                    <a:lnTo>
                      <a:pt x="22" y="278"/>
                    </a:lnTo>
                    <a:lnTo>
                      <a:pt x="9" y="265"/>
                    </a:lnTo>
                    <a:lnTo>
                      <a:pt x="9" y="261"/>
                    </a:lnTo>
                    <a:lnTo>
                      <a:pt x="4" y="261"/>
                    </a:lnTo>
                    <a:lnTo>
                      <a:pt x="4" y="261"/>
                    </a:lnTo>
                    <a:lnTo>
                      <a:pt x="4" y="256"/>
                    </a:lnTo>
                    <a:lnTo>
                      <a:pt x="0" y="252"/>
                    </a:lnTo>
                    <a:lnTo>
                      <a:pt x="0" y="243"/>
                    </a:lnTo>
                    <a:lnTo>
                      <a:pt x="4" y="230"/>
                    </a:lnTo>
                    <a:lnTo>
                      <a:pt x="9" y="230"/>
                    </a:lnTo>
                    <a:lnTo>
                      <a:pt x="13" y="230"/>
                    </a:lnTo>
                    <a:lnTo>
                      <a:pt x="13" y="230"/>
                    </a:lnTo>
                    <a:lnTo>
                      <a:pt x="26" y="217"/>
                    </a:lnTo>
                    <a:lnTo>
                      <a:pt x="26" y="209"/>
                    </a:lnTo>
                    <a:lnTo>
                      <a:pt x="26" y="204"/>
                    </a:lnTo>
                    <a:lnTo>
                      <a:pt x="26" y="204"/>
                    </a:lnTo>
                    <a:lnTo>
                      <a:pt x="26" y="204"/>
                    </a:lnTo>
                    <a:lnTo>
                      <a:pt x="26" y="196"/>
                    </a:lnTo>
                    <a:lnTo>
                      <a:pt x="30" y="191"/>
                    </a:lnTo>
                    <a:lnTo>
                      <a:pt x="30" y="187"/>
                    </a:lnTo>
                    <a:lnTo>
                      <a:pt x="30" y="183"/>
                    </a:lnTo>
                    <a:lnTo>
                      <a:pt x="30" y="178"/>
                    </a:lnTo>
                    <a:lnTo>
                      <a:pt x="30" y="174"/>
                    </a:lnTo>
                    <a:lnTo>
                      <a:pt x="30" y="170"/>
                    </a:lnTo>
                    <a:lnTo>
                      <a:pt x="30" y="170"/>
                    </a:lnTo>
                    <a:lnTo>
                      <a:pt x="30" y="170"/>
                    </a:lnTo>
                    <a:lnTo>
                      <a:pt x="35" y="165"/>
                    </a:lnTo>
                    <a:lnTo>
                      <a:pt x="39" y="165"/>
                    </a:lnTo>
                    <a:lnTo>
                      <a:pt x="39" y="161"/>
                    </a:lnTo>
                    <a:lnTo>
                      <a:pt x="43" y="143"/>
                    </a:lnTo>
                    <a:lnTo>
                      <a:pt x="39" y="139"/>
                    </a:lnTo>
                    <a:lnTo>
                      <a:pt x="35" y="13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37">
                <a:extLst>
                  <a:ext uri="{FF2B5EF4-FFF2-40B4-BE49-F238E27FC236}">
                    <a16:creationId xmlns:a16="http://schemas.microsoft.com/office/drawing/2014/main" id="{F8F639C4-C15D-8E18-D7F7-288ACCCA083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35425" y="3298158"/>
                <a:ext cx="662214" cy="1139825"/>
              </a:xfrm>
              <a:custGeom>
                <a:avLst/>
                <a:gdLst>
                  <a:gd name="T0" fmla="*/ 53 w 383"/>
                  <a:gd name="T1" fmla="*/ 418 h 687"/>
                  <a:gd name="T2" fmla="*/ 92 w 383"/>
                  <a:gd name="T3" fmla="*/ 405 h 687"/>
                  <a:gd name="T4" fmla="*/ 140 w 383"/>
                  <a:gd name="T5" fmla="*/ 409 h 687"/>
                  <a:gd name="T6" fmla="*/ 140 w 383"/>
                  <a:gd name="T7" fmla="*/ 383 h 687"/>
                  <a:gd name="T8" fmla="*/ 174 w 383"/>
                  <a:gd name="T9" fmla="*/ 383 h 687"/>
                  <a:gd name="T10" fmla="*/ 201 w 383"/>
                  <a:gd name="T11" fmla="*/ 353 h 687"/>
                  <a:gd name="T12" fmla="*/ 192 w 383"/>
                  <a:gd name="T13" fmla="*/ 326 h 687"/>
                  <a:gd name="T14" fmla="*/ 192 w 383"/>
                  <a:gd name="T15" fmla="*/ 279 h 687"/>
                  <a:gd name="T16" fmla="*/ 166 w 383"/>
                  <a:gd name="T17" fmla="*/ 270 h 687"/>
                  <a:gd name="T18" fmla="*/ 105 w 383"/>
                  <a:gd name="T19" fmla="*/ 244 h 687"/>
                  <a:gd name="T20" fmla="*/ 105 w 383"/>
                  <a:gd name="T21" fmla="*/ 213 h 687"/>
                  <a:gd name="T22" fmla="*/ 131 w 383"/>
                  <a:gd name="T23" fmla="*/ 170 h 687"/>
                  <a:gd name="T24" fmla="*/ 170 w 383"/>
                  <a:gd name="T25" fmla="*/ 174 h 687"/>
                  <a:gd name="T26" fmla="*/ 201 w 383"/>
                  <a:gd name="T27" fmla="*/ 166 h 687"/>
                  <a:gd name="T28" fmla="*/ 227 w 383"/>
                  <a:gd name="T29" fmla="*/ 126 h 687"/>
                  <a:gd name="T30" fmla="*/ 244 w 383"/>
                  <a:gd name="T31" fmla="*/ 100 h 687"/>
                  <a:gd name="T32" fmla="*/ 274 w 383"/>
                  <a:gd name="T33" fmla="*/ 83 h 687"/>
                  <a:gd name="T34" fmla="*/ 274 w 383"/>
                  <a:gd name="T35" fmla="*/ 44 h 687"/>
                  <a:gd name="T36" fmla="*/ 322 w 383"/>
                  <a:gd name="T37" fmla="*/ 31 h 687"/>
                  <a:gd name="T38" fmla="*/ 344 w 383"/>
                  <a:gd name="T39" fmla="*/ 5 h 687"/>
                  <a:gd name="T40" fmla="*/ 357 w 383"/>
                  <a:gd name="T41" fmla="*/ 22 h 687"/>
                  <a:gd name="T42" fmla="*/ 348 w 383"/>
                  <a:gd name="T43" fmla="*/ 61 h 687"/>
                  <a:gd name="T44" fmla="*/ 344 w 383"/>
                  <a:gd name="T45" fmla="*/ 100 h 687"/>
                  <a:gd name="T46" fmla="*/ 322 w 383"/>
                  <a:gd name="T47" fmla="*/ 144 h 687"/>
                  <a:gd name="T48" fmla="*/ 335 w 383"/>
                  <a:gd name="T49" fmla="*/ 187 h 687"/>
                  <a:gd name="T50" fmla="*/ 322 w 383"/>
                  <a:gd name="T51" fmla="*/ 226 h 687"/>
                  <a:gd name="T52" fmla="*/ 331 w 383"/>
                  <a:gd name="T53" fmla="*/ 270 h 687"/>
                  <a:gd name="T54" fmla="*/ 331 w 383"/>
                  <a:gd name="T55" fmla="*/ 313 h 687"/>
                  <a:gd name="T56" fmla="*/ 335 w 383"/>
                  <a:gd name="T57" fmla="*/ 361 h 687"/>
                  <a:gd name="T58" fmla="*/ 322 w 383"/>
                  <a:gd name="T59" fmla="*/ 400 h 687"/>
                  <a:gd name="T60" fmla="*/ 331 w 383"/>
                  <a:gd name="T61" fmla="*/ 439 h 687"/>
                  <a:gd name="T62" fmla="*/ 353 w 383"/>
                  <a:gd name="T63" fmla="*/ 483 h 687"/>
                  <a:gd name="T64" fmla="*/ 366 w 383"/>
                  <a:gd name="T65" fmla="*/ 509 h 687"/>
                  <a:gd name="T66" fmla="*/ 383 w 383"/>
                  <a:gd name="T67" fmla="*/ 544 h 687"/>
                  <a:gd name="T68" fmla="*/ 353 w 383"/>
                  <a:gd name="T69" fmla="*/ 553 h 687"/>
                  <a:gd name="T70" fmla="*/ 331 w 383"/>
                  <a:gd name="T71" fmla="*/ 557 h 687"/>
                  <a:gd name="T72" fmla="*/ 279 w 383"/>
                  <a:gd name="T73" fmla="*/ 553 h 687"/>
                  <a:gd name="T74" fmla="*/ 292 w 383"/>
                  <a:gd name="T75" fmla="*/ 566 h 687"/>
                  <a:gd name="T76" fmla="*/ 314 w 383"/>
                  <a:gd name="T77" fmla="*/ 583 h 687"/>
                  <a:gd name="T78" fmla="*/ 322 w 383"/>
                  <a:gd name="T79" fmla="*/ 605 h 687"/>
                  <a:gd name="T80" fmla="*/ 296 w 383"/>
                  <a:gd name="T81" fmla="*/ 609 h 687"/>
                  <a:gd name="T82" fmla="*/ 279 w 383"/>
                  <a:gd name="T83" fmla="*/ 631 h 687"/>
                  <a:gd name="T84" fmla="*/ 274 w 383"/>
                  <a:gd name="T85" fmla="*/ 687 h 687"/>
                  <a:gd name="T86" fmla="*/ 253 w 383"/>
                  <a:gd name="T87" fmla="*/ 670 h 687"/>
                  <a:gd name="T88" fmla="*/ 218 w 383"/>
                  <a:gd name="T89" fmla="*/ 657 h 687"/>
                  <a:gd name="T90" fmla="*/ 170 w 383"/>
                  <a:gd name="T91" fmla="*/ 648 h 687"/>
                  <a:gd name="T92" fmla="*/ 140 w 383"/>
                  <a:gd name="T93" fmla="*/ 631 h 687"/>
                  <a:gd name="T94" fmla="*/ 114 w 383"/>
                  <a:gd name="T95" fmla="*/ 626 h 687"/>
                  <a:gd name="T96" fmla="*/ 96 w 383"/>
                  <a:gd name="T97" fmla="*/ 605 h 687"/>
                  <a:gd name="T98" fmla="*/ 66 w 383"/>
                  <a:gd name="T99" fmla="*/ 609 h 687"/>
                  <a:gd name="T100" fmla="*/ 35 w 383"/>
                  <a:gd name="T101" fmla="*/ 618 h 687"/>
                  <a:gd name="T102" fmla="*/ 27 w 383"/>
                  <a:gd name="T103" fmla="*/ 596 h 687"/>
                  <a:gd name="T104" fmla="*/ 5 w 383"/>
                  <a:gd name="T105" fmla="*/ 592 h 687"/>
                  <a:gd name="T106" fmla="*/ 9 w 383"/>
                  <a:gd name="T107" fmla="*/ 561 h 687"/>
                  <a:gd name="T108" fmla="*/ 35 w 383"/>
                  <a:gd name="T109" fmla="*/ 531 h 687"/>
                  <a:gd name="T110" fmla="*/ 61 w 383"/>
                  <a:gd name="T111" fmla="*/ 531 h 687"/>
                  <a:gd name="T112" fmla="*/ 57 w 383"/>
                  <a:gd name="T113" fmla="*/ 492 h 687"/>
                  <a:gd name="T114" fmla="*/ 66 w 383"/>
                  <a:gd name="T115" fmla="*/ 461 h 687"/>
                  <a:gd name="T116" fmla="*/ 40 w 383"/>
                  <a:gd name="T117" fmla="*/ 448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83" h="687">
                    <a:moveTo>
                      <a:pt x="44" y="439"/>
                    </a:moveTo>
                    <a:lnTo>
                      <a:pt x="48" y="435"/>
                    </a:lnTo>
                    <a:lnTo>
                      <a:pt x="53" y="435"/>
                    </a:lnTo>
                    <a:lnTo>
                      <a:pt x="53" y="431"/>
                    </a:lnTo>
                    <a:lnTo>
                      <a:pt x="57" y="426"/>
                    </a:lnTo>
                    <a:lnTo>
                      <a:pt x="57" y="422"/>
                    </a:lnTo>
                    <a:lnTo>
                      <a:pt x="53" y="418"/>
                    </a:lnTo>
                    <a:lnTo>
                      <a:pt x="53" y="413"/>
                    </a:lnTo>
                    <a:lnTo>
                      <a:pt x="53" y="405"/>
                    </a:lnTo>
                    <a:lnTo>
                      <a:pt x="57" y="400"/>
                    </a:lnTo>
                    <a:lnTo>
                      <a:pt x="70" y="400"/>
                    </a:lnTo>
                    <a:lnTo>
                      <a:pt x="74" y="400"/>
                    </a:lnTo>
                    <a:lnTo>
                      <a:pt x="79" y="400"/>
                    </a:lnTo>
                    <a:lnTo>
                      <a:pt x="92" y="405"/>
                    </a:lnTo>
                    <a:lnTo>
                      <a:pt x="100" y="413"/>
                    </a:lnTo>
                    <a:lnTo>
                      <a:pt x="105" y="418"/>
                    </a:lnTo>
                    <a:lnTo>
                      <a:pt x="109" y="413"/>
                    </a:lnTo>
                    <a:lnTo>
                      <a:pt x="118" y="413"/>
                    </a:lnTo>
                    <a:lnTo>
                      <a:pt x="131" y="409"/>
                    </a:lnTo>
                    <a:lnTo>
                      <a:pt x="140" y="413"/>
                    </a:lnTo>
                    <a:lnTo>
                      <a:pt x="140" y="409"/>
                    </a:lnTo>
                    <a:lnTo>
                      <a:pt x="148" y="409"/>
                    </a:lnTo>
                    <a:lnTo>
                      <a:pt x="148" y="405"/>
                    </a:lnTo>
                    <a:lnTo>
                      <a:pt x="144" y="405"/>
                    </a:lnTo>
                    <a:lnTo>
                      <a:pt x="144" y="400"/>
                    </a:lnTo>
                    <a:lnTo>
                      <a:pt x="140" y="400"/>
                    </a:lnTo>
                    <a:lnTo>
                      <a:pt x="135" y="387"/>
                    </a:lnTo>
                    <a:lnTo>
                      <a:pt x="140" y="383"/>
                    </a:lnTo>
                    <a:lnTo>
                      <a:pt x="144" y="383"/>
                    </a:lnTo>
                    <a:lnTo>
                      <a:pt x="157" y="387"/>
                    </a:lnTo>
                    <a:lnTo>
                      <a:pt x="161" y="383"/>
                    </a:lnTo>
                    <a:lnTo>
                      <a:pt x="166" y="383"/>
                    </a:lnTo>
                    <a:lnTo>
                      <a:pt x="170" y="383"/>
                    </a:lnTo>
                    <a:lnTo>
                      <a:pt x="170" y="379"/>
                    </a:lnTo>
                    <a:lnTo>
                      <a:pt x="174" y="383"/>
                    </a:lnTo>
                    <a:lnTo>
                      <a:pt x="187" y="383"/>
                    </a:lnTo>
                    <a:lnTo>
                      <a:pt x="192" y="383"/>
                    </a:lnTo>
                    <a:lnTo>
                      <a:pt x="196" y="383"/>
                    </a:lnTo>
                    <a:lnTo>
                      <a:pt x="196" y="379"/>
                    </a:lnTo>
                    <a:lnTo>
                      <a:pt x="201" y="370"/>
                    </a:lnTo>
                    <a:lnTo>
                      <a:pt x="201" y="357"/>
                    </a:lnTo>
                    <a:lnTo>
                      <a:pt x="201" y="353"/>
                    </a:lnTo>
                    <a:lnTo>
                      <a:pt x="196" y="353"/>
                    </a:lnTo>
                    <a:lnTo>
                      <a:pt x="196" y="348"/>
                    </a:lnTo>
                    <a:lnTo>
                      <a:pt x="192" y="344"/>
                    </a:lnTo>
                    <a:lnTo>
                      <a:pt x="196" y="339"/>
                    </a:lnTo>
                    <a:lnTo>
                      <a:pt x="192" y="335"/>
                    </a:lnTo>
                    <a:lnTo>
                      <a:pt x="192" y="331"/>
                    </a:lnTo>
                    <a:lnTo>
                      <a:pt x="192" y="326"/>
                    </a:lnTo>
                    <a:lnTo>
                      <a:pt x="201" y="322"/>
                    </a:lnTo>
                    <a:lnTo>
                      <a:pt x="205" y="318"/>
                    </a:lnTo>
                    <a:lnTo>
                      <a:pt x="205" y="313"/>
                    </a:lnTo>
                    <a:lnTo>
                      <a:pt x="205" y="309"/>
                    </a:lnTo>
                    <a:lnTo>
                      <a:pt x="205" y="287"/>
                    </a:lnTo>
                    <a:lnTo>
                      <a:pt x="201" y="283"/>
                    </a:lnTo>
                    <a:lnTo>
                      <a:pt x="192" y="279"/>
                    </a:lnTo>
                    <a:lnTo>
                      <a:pt x="187" y="279"/>
                    </a:lnTo>
                    <a:lnTo>
                      <a:pt x="183" y="279"/>
                    </a:lnTo>
                    <a:lnTo>
                      <a:pt x="183" y="274"/>
                    </a:lnTo>
                    <a:lnTo>
                      <a:pt x="179" y="274"/>
                    </a:lnTo>
                    <a:lnTo>
                      <a:pt x="179" y="270"/>
                    </a:lnTo>
                    <a:lnTo>
                      <a:pt x="170" y="270"/>
                    </a:lnTo>
                    <a:lnTo>
                      <a:pt x="166" y="270"/>
                    </a:lnTo>
                    <a:lnTo>
                      <a:pt x="157" y="270"/>
                    </a:lnTo>
                    <a:lnTo>
                      <a:pt x="153" y="261"/>
                    </a:lnTo>
                    <a:lnTo>
                      <a:pt x="148" y="261"/>
                    </a:lnTo>
                    <a:lnTo>
                      <a:pt x="148" y="257"/>
                    </a:lnTo>
                    <a:lnTo>
                      <a:pt x="144" y="253"/>
                    </a:lnTo>
                    <a:lnTo>
                      <a:pt x="122" y="248"/>
                    </a:lnTo>
                    <a:lnTo>
                      <a:pt x="105" y="244"/>
                    </a:lnTo>
                    <a:lnTo>
                      <a:pt x="105" y="239"/>
                    </a:lnTo>
                    <a:lnTo>
                      <a:pt x="105" y="235"/>
                    </a:lnTo>
                    <a:lnTo>
                      <a:pt x="105" y="231"/>
                    </a:lnTo>
                    <a:lnTo>
                      <a:pt x="100" y="226"/>
                    </a:lnTo>
                    <a:lnTo>
                      <a:pt x="105" y="226"/>
                    </a:lnTo>
                    <a:lnTo>
                      <a:pt x="109" y="222"/>
                    </a:lnTo>
                    <a:lnTo>
                      <a:pt x="105" y="213"/>
                    </a:lnTo>
                    <a:lnTo>
                      <a:pt x="100" y="209"/>
                    </a:lnTo>
                    <a:lnTo>
                      <a:pt x="105" y="200"/>
                    </a:lnTo>
                    <a:lnTo>
                      <a:pt x="109" y="183"/>
                    </a:lnTo>
                    <a:lnTo>
                      <a:pt x="118" y="170"/>
                    </a:lnTo>
                    <a:lnTo>
                      <a:pt x="122" y="170"/>
                    </a:lnTo>
                    <a:lnTo>
                      <a:pt x="127" y="170"/>
                    </a:lnTo>
                    <a:lnTo>
                      <a:pt x="131" y="170"/>
                    </a:lnTo>
                    <a:lnTo>
                      <a:pt x="148" y="170"/>
                    </a:lnTo>
                    <a:lnTo>
                      <a:pt x="153" y="170"/>
                    </a:lnTo>
                    <a:lnTo>
                      <a:pt x="157" y="166"/>
                    </a:lnTo>
                    <a:lnTo>
                      <a:pt x="161" y="166"/>
                    </a:lnTo>
                    <a:lnTo>
                      <a:pt x="166" y="166"/>
                    </a:lnTo>
                    <a:lnTo>
                      <a:pt x="170" y="170"/>
                    </a:lnTo>
                    <a:lnTo>
                      <a:pt x="170" y="174"/>
                    </a:lnTo>
                    <a:lnTo>
                      <a:pt x="174" y="179"/>
                    </a:lnTo>
                    <a:lnTo>
                      <a:pt x="179" y="179"/>
                    </a:lnTo>
                    <a:lnTo>
                      <a:pt x="183" y="179"/>
                    </a:lnTo>
                    <a:lnTo>
                      <a:pt x="192" y="179"/>
                    </a:lnTo>
                    <a:lnTo>
                      <a:pt x="196" y="179"/>
                    </a:lnTo>
                    <a:lnTo>
                      <a:pt x="201" y="170"/>
                    </a:lnTo>
                    <a:lnTo>
                      <a:pt x="201" y="166"/>
                    </a:lnTo>
                    <a:lnTo>
                      <a:pt x="201" y="161"/>
                    </a:lnTo>
                    <a:lnTo>
                      <a:pt x="205" y="157"/>
                    </a:lnTo>
                    <a:lnTo>
                      <a:pt x="209" y="144"/>
                    </a:lnTo>
                    <a:lnTo>
                      <a:pt x="214" y="139"/>
                    </a:lnTo>
                    <a:lnTo>
                      <a:pt x="218" y="135"/>
                    </a:lnTo>
                    <a:lnTo>
                      <a:pt x="222" y="131"/>
                    </a:lnTo>
                    <a:lnTo>
                      <a:pt x="227" y="126"/>
                    </a:lnTo>
                    <a:lnTo>
                      <a:pt x="231" y="122"/>
                    </a:lnTo>
                    <a:lnTo>
                      <a:pt x="235" y="118"/>
                    </a:lnTo>
                    <a:lnTo>
                      <a:pt x="235" y="113"/>
                    </a:lnTo>
                    <a:lnTo>
                      <a:pt x="240" y="113"/>
                    </a:lnTo>
                    <a:lnTo>
                      <a:pt x="240" y="109"/>
                    </a:lnTo>
                    <a:lnTo>
                      <a:pt x="244" y="105"/>
                    </a:lnTo>
                    <a:lnTo>
                      <a:pt x="244" y="100"/>
                    </a:lnTo>
                    <a:lnTo>
                      <a:pt x="248" y="96"/>
                    </a:lnTo>
                    <a:lnTo>
                      <a:pt x="248" y="92"/>
                    </a:lnTo>
                    <a:lnTo>
                      <a:pt x="253" y="92"/>
                    </a:lnTo>
                    <a:lnTo>
                      <a:pt x="261" y="87"/>
                    </a:lnTo>
                    <a:lnTo>
                      <a:pt x="266" y="87"/>
                    </a:lnTo>
                    <a:lnTo>
                      <a:pt x="270" y="87"/>
                    </a:lnTo>
                    <a:lnTo>
                      <a:pt x="274" y="83"/>
                    </a:lnTo>
                    <a:lnTo>
                      <a:pt x="270" y="79"/>
                    </a:lnTo>
                    <a:lnTo>
                      <a:pt x="270" y="74"/>
                    </a:lnTo>
                    <a:lnTo>
                      <a:pt x="266" y="70"/>
                    </a:lnTo>
                    <a:lnTo>
                      <a:pt x="266" y="66"/>
                    </a:lnTo>
                    <a:lnTo>
                      <a:pt x="270" y="48"/>
                    </a:lnTo>
                    <a:lnTo>
                      <a:pt x="274" y="48"/>
                    </a:lnTo>
                    <a:lnTo>
                      <a:pt x="274" y="44"/>
                    </a:lnTo>
                    <a:lnTo>
                      <a:pt x="279" y="44"/>
                    </a:lnTo>
                    <a:lnTo>
                      <a:pt x="279" y="40"/>
                    </a:lnTo>
                    <a:lnTo>
                      <a:pt x="292" y="31"/>
                    </a:lnTo>
                    <a:lnTo>
                      <a:pt x="314" y="22"/>
                    </a:lnTo>
                    <a:lnTo>
                      <a:pt x="318" y="26"/>
                    </a:lnTo>
                    <a:lnTo>
                      <a:pt x="318" y="31"/>
                    </a:lnTo>
                    <a:lnTo>
                      <a:pt x="322" y="31"/>
                    </a:lnTo>
                    <a:lnTo>
                      <a:pt x="327" y="31"/>
                    </a:lnTo>
                    <a:lnTo>
                      <a:pt x="327" y="26"/>
                    </a:lnTo>
                    <a:lnTo>
                      <a:pt x="331" y="22"/>
                    </a:lnTo>
                    <a:lnTo>
                      <a:pt x="331" y="18"/>
                    </a:lnTo>
                    <a:lnTo>
                      <a:pt x="335" y="13"/>
                    </a:lnTo>
                    <a:lnTo>
                      <a:pt x="340" y="9"/>
                    </a:lnTo>
                    <a:lnTo>
                      <a:pt x="344" y="5"/>
                    </a:lnTo>
                    <a:lnTo>
                      <a:pt x="353" y="0"/>
                    </a:lnTo>
                    <a:lnTo>
                      <a:pt x="353" y="5"/>
                    </a:lnTo>
                    <a:lnTo>
                      <a:pt x="353" y="9"/>
                    </a:lnTo>
                    <a:lnTo>
                      <a:pt x="353" y="13"/>
                    </a:lnTo>
                    <a:lnTo>
                      <a:pt x="348" y="18"/>
                    </a:lnTo>
                    <a:lnTo>
                      <a:pt x="353" y="18"/>
                    </a:lnTo>
                    <a:lnTo>
                      <a:pt x="357" y="22"/>
                    </a:lnTo>
                    <a:lnTo>
                      <a:pt x="361" y="26"/>
                    </a:lnTo>
                    <a:lnTo>
                      <a:pt x="357" y="44"/>
                    </a:lnTo>
                    <a:lnTo>
                      <a:pt x="357" y="48"/>
                    </a:lnTo>
                    <a:lnTo>
                      <a:pt x="353" y="48"/>
                    </a:lnTo>
                    <a:lnTo>
                      <a:pt x="348" y="53"/>
                    </a:lnTo>
                    <a:lnTo>
                      <a:pt x="348" y="57"/>
                    </a:lnTo>
                    <a:lnTo>
                      <a:pt x="348" y="61"/>
                    </a:lnTo>
                    <a:lnTo>
                      <a:pt x="348" y="66"/>
                    </a:lnTo>
                    <a:lnTo>
                      <a:pt x="348" y="70"/>
                    </a:lnTo>
                    <a:lnTo>
                      <a:pt x="348" y="74"/>
                    </a:lnTo>
                    <a:lnTo>
                      <a:pt x="344" y="79"/>
                    </a:lnTo>
                    <a:lnTo>
                      <a:pt x="344" y="87"/>
                    </a:lnTo>
                    <a:lnTo>
                      <a:pt x="344" y="92"/>
                    </a:lnTo>
                    <a:lnTo>
                      <a:pt x="344" y="100"/>
                    </a:lnTo>
                    <a:lnTo>
                      <a:pt x="331" y="113"/>
                    </a:lnTo>
                    <a:lnTo>
                      <a:pt x="327" y="113"/>
                    </a:lnTo>
                    <a:lnTo>
                      <a:pt x="322" y="113"/>
                    </a:lnTo>
                    <a:lnTo>
                      <a:pt x="318" y="126"/>
                    </a:lnTo>
                    <a:lnTo>
                      <a:pt x="318" y="135"/>
                    </a:lnTo>
                    <a:lnTo>
                      <a:pt x="322" y="139"/>
                    </a:lnTo>
                    <a:lnTo>
                      <a:pt x="322" y="144"/>
                    </a:lnTo>
                    <a:lnTo>
                      <a:pt x="327" y="144"/>
                    </a:lnTo>
                    <a:lnTo>
                      <a:pt x="327" y="148"/>
                    </a:lnTo>
                    <a:lnTo>
                      <a:pt x="340" y="161"/>
                    </a:lnTo>
                    <a:lnTo>
                      <a:pt x="344" y="170"/>
                    </a:lnTo>
                    <a:lnTo>
                      <a:pt x="344" y="179"/>
                    </a:lnTo>
                    <a:lnTo>
                      <a:pt x="340" y="187"/>
                    </a:lnTo>
                    <a:lnTo>
                      <a:pt x="335" y="187"/>
                    </a:lnTo>
                    <a:lnTo>
                      <a:pt x="331" y="192"/>
                    </a:lnTo>
                    <a:lnTo>
                      <a:pt x="335" y="192"/>
                    </a:lnTo>
                    <a:lnTo>
                      <a:pt x="335" y="196"/>
                    </a:lnTo>
                    <a:lnTo>
                      <a:pt x="335" y="200"/>
                    </a:lnTo>
                    <a:lnTo>
                      <a:pt x="331" y="209"/>
                    </a:lnTo>
                    <a:lnTo>
                      <a:pt x="327" y="213"/>
                    </a:lnTo>
                    <a:lnTo>
                      <a:pt x="322" y="226"/>
                    </a:lnTo>
                    <a:lnTo>
                      <a:pt x="318" y="226"/>
                    </a:lnTo>
                    <a:lnTo>
                      <a:pt x="322" y="244"/>
                    </a:lnTo>
                    <a:lnTo>
                      <a:pt x="322" y="253"/>
                    </a:lnTo>
                    <a:lnTo>
                      <a:pt x="322" y="257"/>
                    </a:lnTo>
                    <a:lnTo>
                      <a:pt x="327" y="261"/>
                    </a:lnTo>
                    <a:lnTo>
                      <a:pt x="327" y="266"/>
                    </a:lnTo>
                    <a:lnTo>
                      <a:pt x="331" y="270"/>
                    </a:lnTo>
                    <a:lnTo>
                      <a:pt x="327" y="270"/>
                    </a:lnTo>
                    <a:lnTo>
                      <a:pt x="327" y="279"/>
                    </a:lnTo>
                    <a:lnTo>
                      <a:pt x="327" y="283"/>
                    </a:lnTo>
                    <a:lnTo>
                      <a:pt x="327" y="296"/>
                    </a:lnTo>
                    <a:lnTo>
                      <a:pt x="327" y="300"/>
                    </a:lnTo>
                    <a:lnTo>
                      <a:pt x="327" y="305"/>
                    </a:lnTo>
                    <a:lnTo>
                      <a:pt x="331" y="313"/>
                    </a:lnTo>
                    <a:lnTo>
                      <a:pt x="335" y="322"/>
                    </a:lnTo>
                    <a:lnTo>
                      <a:pt x="340" y="335"/>
                    </a:lnTo>
                    <a:lnTo>
                      <a:pt x="340" y="339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61"/>
                    </a:lnTo>
                    <a:lnTo>
                      <a:pt x="335" y="361"/>
                    </a:lnTo>
                    <a:lnTo>
                      <a:pt x="335" y="366"/>
                    </a:lnTo>
                    <a:lnTo>
                      <a:pt x="331" y="370"/>
                    </a:lnTo>
                    <a:lnTo>
                      <a:pt x="331" y="374"/>
                    </a:lnTo>
                    <a:lnTo>
                      <a:pt x="327" y="379"/>
                    </a:lnTo>
                    <a:lnTo>
                      <a:pt x="327" y="383"/>
                    </a:lnTo>
                    <a:lnTo>
                      <a:pt x="322" y="387"/>
                    </a:lnTo>
                    <a:lnTo>
                      <a:pt x="322" y="400"/>
                    </a:lnTo>
                    <a:lnTo>
                      <a:pt x="322" y="413"/>
                    </a:lnTo>
                    <a:lnTo>
                      <a:pt x="322" y="422"/>
                    </a:lnTo>
                    <a:lnTo>
                      <a:pt x="322" y="426"/>
                    </a:lnTo>
                    <a:lnTo>
                      <a:pt x="322" y="431"/>
                    </a:lnTo>
                    <a:lnTo>
                      <a:pt x="327" y="431"/>
                    </a:lnTo>
                    <a:lnTo>
                      <a:pt x="327" y="435"/>
                    </a:lnTo>
                    <a:lnTo>
                      <a:pt x="331" y="439"/>
                    </a:lnTo>
                    <a:lnTo>
                      <a:pt x="331" y="448"/>
                    </a:lnTo>
                    <a:lnTo>
                      <a:pt x="335" y="461"/>
                    </a:lnTo>
                    <a:lnTo>
                      <a:pt x="340" y="466"/>
                    </a:lnTo>
                    <a:lnTo>
                      <a:pt x="344" y="466"/>
                    </a:lnTo>
                    <a:lnTo>
                      <a:pt x="348" y="470"/>
                    </a:lnTo>
                    <a:lnTo>
                      <a:pt x="353" y="470"/>
                    </a:lnTo>
                    <a:lnTo>
                      <a:pt x="353" y="483"/>
                    </a:lnTo>
                    <a:lnTo>
                      <a:pt x="348" y="492"/>
                    </a:lnTo>
                    <a:lnTo>
                      <a:pt x="353" y="496"/>
                    </a:lnTo>
                    <a:lnTo>
                      <a:pt x="357" y="496"/>
                    </a:lnTo>
                    <a:lnTo>
                      <a:pt x="361" y="500"/>
                    </a:lnTo>
                    <a:lnTo>
                      <a:pt x="366" y="500"/>
                    </a:lnTo>
                    <a:lnTo>
                      <a:pt x="366" y="505"/>
                    </a:lnTo>
                    <a:lnTo>
                      <a:pt x="366" y="509"/>
                    </a:lnTo>
                    <a:lnTo>
                      <a:pt x="370" y="513"/>
                    </a:lnTo>
                    <a:lnTo>
                      <a:pt x="374" y="513"/>
                    </a:lnTo>
                    <a:lnTo>
                      <a:pt x="379" y="513"/>
                    </a:lnTo>
                    <a:lnTo>
                      <a:pt x="379" y="518"/>
                    </a:lnTo>
                    <a:lnTo>
                      <a:pt x="383" y="526"/>
                    </a:lnTo>
                    <a:lnTo>
                      <a:pt x="383" y="535"/>
                    </a:lnTo>
                    <a:lnTo>
                      <a:pt x="383" y="544"/>
                    </a:lnTo>
                    <a:lnTo>
                      <a:pt x="379" y="548"/>
                    </a:lnTo>
                    <a:lnTo>
                      <a:pt x="374" y="553"/>
                    </a:lnTo>
                    <a:lnTo>
                      <a:pt x="370" y="553"/>
                    </a:lnTo>
                    <a:lnTo>
                      <a:pt x="366" y="557"/>
                    </a:lnTo>
                    <a:lnTo>
                      <a:pt x="361" y="557"/>
                    </a:lnTo>
                    <a:lnTo>
                      <a:pt x="357" y="557"/>
                    </a:lnTo>
                    <a:lnTo>
                      <a:pt x="353" y="553"/>
                    </a:lnTo>
                    <a:lnTo>
                      <a:pt x="353" y="548"/>
                    </a:lnTo>
                    <a:lnTo>
                      <a:pt x="348" y="548"/>
                    </a:lnTo>
                    <a:lnTo>
                      <a:pt x="348" y="553"/>
                    </a:lnTo>
                    <a:lnTo>
                      <a:pt x="344" y="553"/>
                    </a:lnTo>
                    <a:lnTo>
                      <a:pt x="344" y="557"/>
                    </a:lnTo>
                    <a:lnTo>
                      <a:pt x="340" y="557"/>
                    </a:lnTo>
                    <a:lnTo>
                      <a:pt x="331" y="557"/>
                    </a:lnTo>
                    <a:lnTo>
                      <a:pt x="327" y="557"/>
                    </a:lnTo>
                    <a:lnTo>
                      <a:pt x="322" y="557"/>
                    </a:lnTo>
                    <a:lnTo>
                      <a:pt x="318" y="553"/>
                    </a:lnTo>
                    <a:lnTo>
                      <a:pt x="305" y="553"/>
                    </a:lnTo>
                    <a:lnTo>
                      <a:pt x="301" y="553"/>
                    </a:lnTo>
                    <a:lnTo>
                      <a:pt x="283" y="553"/>
                    </a:lnTo>
                    <a:lnTo>
                      <a:pt x="279" y="553"/>
                    </a:lnTo>
                    <a:lnTo>
                      <a:pt x="274" y="553"/>
                    </a:lnTo>
                    <a:lnTo>
                      <a:pt x="270" y="557"/>
                    </a:lnTo>
                    <a:lnTo>
                      <a:pt x="270" y="561"/>
                    </a:lnTo>
                    <a:lnTo>
                      <a:pt x="279" y="566"/>
                    </a:lnTo>
                    <a:lnTo>
                      <a:pt x="283" y="566"/>
                    </a:lnTo>
                    <a:lnTo>
                      <a:pt x="287" y="566"/>
                    </a:lnTo>
                    <a:lnTo>
                      <a:pt x="292" y="566"/>
                    </a:lnTo>
                    <a:lnTo>
                      <a:pt x="296" y="570"/>
                    </a:lnTo>
                    <a:lnTo>
                      <a:pt x="296" y="574"/>
                    </a:lnTo>
                    <a:lnTo>
                      <a:pt x="292" y="579"/>
                    </a:lnTo>
                    <a:lnTo>
                      <a:pt x="296" y="583"/>
                    </a:lnTo>
                    <a:lnTo>
                      <a:pt x="301" y="583"/>
                    </a:lnTo>
                    <a:lnTo>
                      <a:pt x="305" y="579"/>
                    </a:lnTo>
                    <a:lnTo>
                      <a:pt x="314" y="583"/>
                    </a:lnTo>
                    <a:lnTo>
                      <a:pt x="318" y="583"/>
                    </a:lnTo>
                    <a:lnTo>
                      <a:pt x="318" y="587"/>
                    </a:lnTo>
                    <a:lnTo>
                      <a:pt x="322" y="592"/>
                    </a:lnTo>
                    <a:lnTo>
                      <a:pt x="322" y="596"/>
                    </a:lnTo>
                    <a:lnTo>
                      <a:pt x="327" y="596"/>
                    </a:lnTo>
                    <a:lnTo>
                      <a:pt x="327" y="600"/>
                    </a:lnTo>
                    <a:lnTo>
                      <a:pt x="322" y="605"/>
                    </a:lnTo>
                    <a:lnTo>
                      <a:pt x="318" y="605"/>
                    </a:lnTo>
                    <a:lnTo>
                      <a:pt x="314" y="605"/>
                    </a:lnTo>
                    <a:lnTo>
                      <a:pt x="309" y="605"/>
                    </a:lnTo>
                    <a:lnTo>
                      <a:pt x="305" y="605"/>
                    </a:lnTo>
                    <a:lnTo>
                      <a:pt x="305" y="609"/>
                    </a:lnTo>
                    <a:lnTo>
                      <a:pt x="301" y="609"/>
                    </a:lnTo>
                    <a:lnTo>
                      <a:pt x="296" y="609"/>
                    </a:lnTo>
                    <a:lnTo>
                      <a:pt x="287" y="609"/>
                    </a:lnTo>
                    <a:lnTo>
                      <a:pt x="283" y="613"/>
                    </a:lnTo>
                    <a:lnTo>
                      <a:pt x="283" y="618"/>
                    </a:lnTo>
                    <a:lnTo>
                      <a:pt x="283" y="622"/>
                    </a:lnTo>
                    <a:lnTo>
                      <a:pt x="283" y="626"/>
                    </a:lnTo>
                    <a:lnTo>
                      <a:pt x="279" y="626"/>
                    </a:lnTo>
                    <a:lnTo>
                      <a:pt x="279" y="631"/>
                    </a:lnTo>
                    <a:lnTo>
                      <a:pt x="283" y="639"/>
                    </a:lnTo>
                    <a:lnTo>
                      <a:pt x="287" y="644"/>
                    </a:lnTo>
                    <a:lnTo>
                      <a:pt x="292" y="657"/>
                    </a:lnTo>
                    <a:lnTo>
                      <a:pt x="292" y="661"/>
                    </a:lnTo>
                    <a:lnTo>
                      <a:pt x="287" y="666"/>
                    </a:lnTo>
                    <a:lnTo>
                      <a:pt x="287" y="683"/>
                    </a:lnTo>
                    <a:lnTo>
                      <a:pt x="274" y="687"/>
                    </a:lnTo>
                    <a:lnTo>
                      <a:pt x="270" y="687"/>
                    </a:lnTo>
                    <a:lnTo>
                      <a:pt x="266" y="687"/>
                    </a:lnTo>
                    <a:lnTo>
                      <a:pt x="261" y="683"/>
                    </a:lnTo>
                    <a:lnTo>
                      <a:pt x="261" y="679"/>
                    </a:lnTo>
                    <a:lnTo>
                      <a:pt x="257" y="679"/>
                    </a:lnTo>
                    <a:lnTo>
                      <a:pt x="257" y="674"/>
                    </a:lnTo>
                    <a:lnTo>
                      <a:pt x="253" y="670"/>
                    </a:lnTo>
                    <a:lnTo>
                      <a:pt x="248" y="670"/>
                    </a:lnTo>
                    <a:lnTo>
                      <a:pt x="248" y="666"/>
                    </a:lnTo>
                    <a:lnTo>
                      <a:pt x="244" y="666"/>
                    </a:lnTo>
                    <a:lnTo>
                      <a:pt x="240" y="666"/>
                    </a:lnTo>
                    <a:lnTo>
                      <a:pt x="235" y="661"/>
                    </a:lnTo>
                    <a:lnTo>
                      <a:pt x="227" y="661"/>
                    </a:lnTo>
                    <a:lnTo>
                      <a:pt x="218" y="657"/>
                    </a:lnTo>
                    <a:lnTo>
                      <a:pt x="218" y="653"/>
                    </a:lnTo>
                    <a:lnTo>
                      <a:pt x="209" y="648"/>
                    </a:lnTo>
                    <a:lnTo>
                      <a:pt x="201" y="644"/>
                    </a:lnTo>
                    <a:lnTo>
                      <a:pt x="196" y="639"/>
                    </a:lnTo>
                    <a:lnTo>
                      <a:pt x="187" y="639"/>
                    </a:lnTo>
                    <a:lnTo>
                      <a:pt x="174" y="644"/>
                    </a:lnTo>
                    <a:lnTo>
                      <a:pt x="170" y="648"/>
                    </a:lnTo>
                    <a:lnTo>
                      <a:pt x="170" y="653"/>
                    </a:lnTo>
                    <a:lnTo>
                      <a:pt x="166" y="653"/>
                    </a:lnTo>
                    <a:lnTo>
                      <a:pt x="157" y="648"/>
                    </a:lnTo>
                    <a:lnTo>
                      <a:pt x="157" y="644"/>
                    </a:lnTo>
                    <a:lnTo>
                      <a:pt x="153" y="639"/>
                    </a:lnTo>
                    <a:lnTo>
                      <a:pt x="144" y="631"/>
                    </a:lnTo>
                    <a:lnTo>
                      <a:pt x="140" y="631"/>
                    </a:lnTo>
                    <a:lnTo>
                      <a:pt x="135" y="635"/>
                    </a:lnTo>
                    <a:lnTo>
                      <a:pt x="131" y="635"/>
                    </a:lnTo>
                    <a:lnTo>
                      <a:pt x="127" y="631"/>
                    </a:lnTo>
                    <a:lnTo>
                      <a:pt x="127" y="622"/>
                    </a:lnTo>
                    <a:lnTo>
                      <a:pt x="122" y="622"/>
                    </a:lnTo>
                    <a:lnTo>
                      <a:pt x="118" y="626"/>
                    </a:lnTo>
                    <a:lnTo>
                      <a:pt x="114" y="626"/>
                    </a:lnTo>
                    <a:lnTo>
                      <a:pt x="114" y="631"/>
                    </a:lnTo>
                    <a:lnTo>
                      <a:pt x="109" y="631"/>
                    </a:lnTo>
                    <a:lnTo>
                      <a:pt x="100" y="622"/>
                    </a:lnTo>
                    <a:lnTo>
                      <a:pt x="100" y="618"/>
                    </a:lnTo>
                    <a:lnTo>
                      <a:pt x="100" y="609"/>
                    </a:lnTo>
                    <a:lnTo>
                      <a:pt x="100" y="605"/>
                    </a:lnTo>
                    <a:lnTo>
                      <a:pt x="96" y="605"/>
                    </a:lnTo>
                    <a:lnTo>
                      <a:pt x="92" y="605"/>
                    </a:lnTo>
                    <a:lnTo>
                      <a:pt x="87" y="605"/>
                    </a:lnTo>
                    <a:lnTo>
                      <a:pt x="83" y="605"/>
                    </a:lnTo>
                    <a:lnTo>
                      <a:pt x="79" y="605"/>
                    </a:lnTo>
                    <a:lnTo>
                      <a:pt x="74" y="605"/>
                    </a:lnTo>
                    <a:lnTo>
                      <a:pt x="70" y="609"/>
                    </a:lnTo>
                    <a:lnTo>
                      <a:pt x="66" y="609"/>
                    </a:lnTo>
                    <a:lnTo>
                      <a:pt x="61" y="609"/>
                    </a:lnTo>
                    <a:lnTo>
                      <a:pt x="57" y="609"/>
                    </a:lnTo>
                    <a:lnTo>
                      <a:pt x="48" y="613"/>
                    </a:lnTo>
                    <a:lnTo>
                      <a:pt x="44" y="613"/>
                    </a:lnTo>
                    <a:lnTo>
                      <a:pt x="44" y="618"/>
                    </a:lnTo>
                    <a:lnTo>
                      <a:pt x="40" y="618"/>
                    </a:lnTo>
                    <a:lnTo>
                      <a:pt x="35" y="618"/>
                    </a:lnTo>
                    <a:lnTo>
                      <a:pt x="31" y="613"/>
                    </a:lnTo>
                    <a:lnTo>
                      <a:pt x="27" y="613"/>
                    </a:lnTo>
                    <a:lnTo>
                      <a:pt x="27" y="609"/>
                    </a:lnTo>
                    <a:lnTo>
                      <a:pt x="22" y="605"/>
                    </a:lnTo>
                    <a:lnTo>
                      <a:pt x="27" y="605"/>
                    </a:lnTo>
                    <a:lnTo>
                      <a:pt x="27" y="600"/>
                    </a:lnTo>
                    <a:lnTo>
                      <a:pt x="27" y="596"/>
                    </a:lnTo>
                    <a:lnTo>
                      <a:pt x="27" y="592"/>
                    </a:lnTo>
                    <a:lnTo>
                      <a:pt x="22" y="592"/>
                    </a:lnTo>
                    <a:lnTo>
                      <a:pt x="22" y="596"/>
                    </a:lnTo>
                    <a:lnTo>
                      <a:pt x="14" y="596"/>
                    </a:lnTo>
                    <a:lnTo>
                      <a:pt x="9" y="596"/>
                    </a:lnTo>
                    <a:lnTo>
                      <a:pt x="5" y="596"/>
                    </a:lnTo>
                    <a:lnTo>
                      <a:pt x="5" y="592"/>
                    </a:lnTo>
                    <a:lnTo>
                      <a:pt x="0" y="592"/>
                    </a:lnTo>
                    <a:lnTo>
                      <a:pt x="5" y="587"/>
                    </a:lnTo>
                    <a:lnTo>
                      <a:pt x="9" y="587"/>
                    </a:lnTo>
                    <a:lnTo>
                      <a:pt x="14" y="583"/>
                    </a:lnTo>
                    <a:lnTo>
                      <a:pt x="14" y="579"/>
                    </a:lnTo>
                    <a:lnTo>
                      <a:pt x="14" y="566"/>
                    </a:lnTo>
                    <a:lnTo>
                      <a:pt x="9" y="561"/>
                    </a:lnTo>
                    <a:lnTo>
                      <a:pt x="0" y="557"/>
                    </a:lnTo>
                    <a:lnTo>
                      <a:pt x="0" y="553"/>
                    </a:lnTo>
                    <a:lnTo>
                      <a:pt x="0" y="548"/>
                    </a:lnTo>
                    <a:lnTo>
                      <a:pt x="9" y="539"/>
                    </a:lnTo>
                    <a:lnTo>
                      <a:pt x="18" y="531"/>
                    </a:lnTo>
                    <a:lnTo>
                      <a:pt x="27" y="531"/>
                    </a:lnTo>
                    <a:lnTo>
                      <a:pt x="35" y="531"/>
                    </a:lnTo>
                    <a:lnTo>
                      <a:pt x="40" y="531"/>
                    </a:lnTo>
                    <a:lnTo>
                      <a:pt x="48" y="526"/>
                    </a:lnTo>
                    <a:lnTo>
                      <a:pt x="48" y="531"/>
                    </a:lnTo>
                    <a:lnTo>
                      <a:pt x="53" y="531"/>
                    </a:lnTo>
                    <a:lnTo>
                      <a:pt x="53" y="535"/>
                    </a:lnTo>
                    <a:lnTo>
                      <a:pt x="57" y="535"/>
                    </a:lnTo>
                    <a:lnTo>
                      <a:pt x="61" y="531"/>
                    </a:lnTo>
                    <a:lnTo>
                      <a:pt x="61" y="526"/>
                    </a:lnTo>
                    <a:lnTo>
                      <a:pt x="57" y="526"/>
                    </a:lnTo>
                    <a:lnTo>
                      <a:pt x="57" y="522"/>
                    </a:lnTo>
                    <a:lnTo>
                      <a:pt x="53" y="522"/>
                    </a:lnTo>
                    <a:lnTo>
                      <a:pt x="48" y="505"/>
                    </a:lnTo>
                    <a:lnTo>
                      <a:pt x="48" y="500"/>
                    </a:lnTo>
                    <a:lnTo>
                      <a:pt x="57" y="492"/>
                    </a:lnTo>
                    <a:lnTo>
                      <a:pt x="61" y="483"/>
                    </a:lnTo>
                    <a:lnTo>
                      <a:pt x="61" y="479"/>
                    </a:lnTo>
                    <a:lnTo>
                      <a:pt x="57" y="474"/>
                    </a:lnTo>
                    <a:lnTo>
                      <a:pt x="66" y="474"/>
                    </a:lnTo>
                    <a:lnTo>
                      <a:pt x="70" y="474"/>
                    </a:lnTo>
                    <a:lnTo>
                      <a:pt x="70" y="470"/>
                    </a:lnTo>
                    <a:lnTo>
                      <a:pt x="66" y="461"/>
                    </a:lnTo>
                    <a:lnTo>
                      <a:pt x="61" y="457"/>
                    </a:lnTo>
                    <a:lnTo>
                      <a:pt x="57" y="453"/>
                    </a:lnTo>
                    <a:lnTo>
                      <a:pt x="53" y="453"/>
                    </a:lnTo>
                    <a:lnTo>
                      <a:pt x="48" y="453"/>
                    </a:lnTo>
                    <a:lnTo>
                      <a:pt x="44" y="453"/>
                    </a:lnTo>
                    <a:lnTo>
                      <a:pt x="44" y="448"/>
                    </a:lnTo>
                    <a:lnTo>
                      <a:pt x="40" y="448"/>
                    </a:lnTo>
                    <a:lnTo>
                      <a:pt x="40" y="444"/>
                    </a:lnTo>
                    <a:lnTo>
                      <a:pt x="44" y="444"/>
                    </a:lnTo>
                    <a:lnTo>
                      <a:pt x="44" y="43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0" name="Freeform 38">
                <a:extLst>
                  <a:ext uri="{FF2B5EF4-FFF2-40B4-BE49-F238E27FC236}">
                    <a16:creationId xmlns:a16="http://schemas.microsoft.com/office/drawing/2014/main" id="{80C66BC7-1025-7617-5D95-485706D44E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00122" y="3732297"/>
                <a:ext cx="792238" cy="681038"/>
              </a:xfrm>
              <a:custGeom>
                <a:avLst/>
                <a:gdLst>
                  <a:gd name="T0" fmla="*/ 448 w 456"/>
                  <a:gd name="T1" fmla="*/ 157 h 413"/>
                  <a:gd name="T2" fmla="*/ 443 w 456"/>
                  <a:gd name="T3" fmla="*/ 192 h 413"/>
                  <a:gd name="T4" fmla="*/ 417 w 456"/>
                  <a:gd name="T5" fmla="*/ 205 h 413"/>
                  <a:gd name="T6" fmla="*/ 378 w 456"/>
                  <a:gd name="T7" fmla="*/ 196 h 413"/>
                  <a:gd name="T8" fmla="*/ 382 w 456"/>
                  <a:gd name="T9" fmla="*/ 226 h 413"/>
                  <a:gd name="T10" fmla="*/ 369 w 456"/>
                  <a:gd name="T11" fmla="*/ 244 h 413"/>
                  <a:gd name="T12" fmla="*/ 352 w 456"/>
                  <a:gd name="T13" fmla="*/ 274 h 413"/>
                  <a:gd name="T14" fmla="*/ 343 w 456"/>
                  <a:gd name="T15" fmla="*/ 283 h 413"/>
                  <a:gd name="T16" fmla="*/ 365 w 456"/>
                  <a:gd name="T17" fmla="*/ 305 h 413"/>
                  <a:gd name="T18" fmla="*/ 391 w 456"/>
                  <a:gd name="T19" fmla="*/ 322 h 413"/>
                  <a:gd name="T20" fmla="*/ 404 w 456"/>
                  <a:gd name="T21" fmla="*/ 322 h 413"/>
                  <a:gd name="T22" fmla="*/ 426 w 456"/>
                  <a:gd name="T23" fmla="*/ 357 h 413"/>
                  <a:gd name="T24" fmla="*/ 426 w 456"/>
                  <a:gd name="T25" fmla="*/ 374 h 413"/>
                  <a:gd name="T26" fmla="*/ 404 w 456"/>
                  <a:gd name="T27" fmla="*/ 383 h 413"/>
                  <a:gd name="T28" fmla="*/ 391 w 456"/>
                  <a:gd name="T29" fmla="*/ 413 h 413"/>
                  <a:gd name="T30" fmla="*/ 378 w 456"/>
                  <a:gd name="T31" fmla="*/ 409 h 413"/>
                  <a:gd name="T32" fmla="*/ 369 w 456"/>
                  <a:gd name="T33" fmla="*/ 409 h 413"/>
                  <a:gd name="T34" fmla="*/ 330 w 456"/>
                  <a:gd name="T35" fmla="*/ 405 h 413"/>
                  <a:gd name="T36" fmla="*/ 321 w 456"/>
                  <a:gd name="T37" fmla="*/ 392 h 413"/>
                  <a:gd name="T38" fmla="*/ 300 w 456"/>
                  <a:gd name="T39" fmla="*/ 387 h 413"/>
                  <a:gd name="T40" fmla="*/ 287 w 456"/>
                  <a:gd name="T41" fmla="*/ 396 h 413"/>
                  <a:gd name="T42" fmla="*/ 256 w 456"/>
                  <a:gd name="T43" fmla="*/ 339 h 413"/>
                  <a:gd name="T44" fmla="*/ 239 w 456"/>
                  <a:gd name="T45" fmla="*/ 352 h 413"/>
                  <a:gd name="T46" fmla="*/ 191 w 456"/>
                  <a:gd name="T47" fmla="*/ 352 h 413"/>
                  <a:gd name="T48" fmla="*/ 169 w 456"/>
                  <a:gd name="T49" fmla="*/ 352 h 413"/>
                  <a:gd name="T50" fmla="*/ 126 w 456"/>
                  <a:gd name="T51" fmla="*/ 344 h 413"/>
                  <a:gd name="T52" fmla="*/ 104 w 456"/>
                  <a:gd name="T53" fmla="*/ 335 h 413"/>
                  <a:gd name="T54" fmla="*/ 61 w 456"/>
                  <a:gd name="T55" fmla="*/ 292 h 413"/>
                  <a:gd name="T56" fmla="*/ 47 w 456"/>
                  <a:gd name="T57" fmla="*/ 252 h 413"/>
                  <a:gd name="T58" fmla="*/ 39 w 456"/>
                  <a:gd name="T59" fmla="*/ 239 h 413"/>
                  <a:gd name="T60" fmla="*/ 26 w 456"/>
                  <a:gd name="T61" fmla="*/ 209 h 413"/>
                  <a:gd name="T62" fmla="*/ 0 w 456"/>
                  <a:gd name="T63" fmla="*/ 174 h 413"/>
                  <a:gd name="T64" fmla="*/ 43 w 456"/>
                  <a:gd name="T65" fmla="*/ 157 h 413"/>
                  <a:gd name="T66" fmla="*/ 87 w 456"/>
                  <a:gd name="T67" fmla="*/ 139 h 413"/>
                  <a:gd name="T68" fmla="*/ 117 w 456"/>
                  <a:gd name="T69" fmla="*/ 126 h 413"/>
                  <a:gd name="T70" fmla="*/ 156 w 456"/>
                  <a:gd name="T71" fmla="*/ 105 h 413"/>
                  <a:gd name="T72" fmla="*/ 178 w 456"/>
                  <a:gd name="T73" fmla="*/ 105 h 413"/>
                  <a:gd name="T74" fmla="*/ 221 w 456"/>
                  <a:gd name="T75" fmla="*/ 70 h 413"/>
                  <a:gd name="T76" fmla="*/ 226 w 456"/>
                  <a:gd name="T77" fmla="*/ 0 h 413"/>
                  <a:gd name="T78" fmla="*/ 261 w 456"/>
                  <a:gd name="T79" fmla="*/ 9 h 413"/>
                  <a:gd name="T80" fmla="*/ 291 w 456"/>
                  <a:gd name="T81" fmla="*/ 13 h 413"/>
                  <a:gd name="T82" fmla="*/ 313 w 456"/>
                  <a:gd name="T83" fmla="*/ 13 h 413"/>
                  <a:gd name="T84" fmla="*/ 334 w 456"/>
                  <a:gd name="T85" fmla="*/ 5 h 413"/>
                  <a:gd name="T86" fmla="*/ 343 w 456"/>
                  <a:gd name="T87" fmla="*/ 9 h 413"/>
                  <a:gd name="T88" fmla="*/ 348 w 456"/>
                  <a:gd name="T89" fmla="*/ 18 h 413"/>
                  <a:gd name="T90" fmla="*/ 343 w 456"/>
                  <a:gd name="T91" fmla="*/ 35 h 413"/>
                  <a:gd name="T92" fmla="*/ 356 w 456"/>
                  <a:gd name="T93" fmla="*/ 26 h 413"/>
                  <a:gd name="T94" fmla="*/ 391 w 456"/>
                  <a:gd name="T95" fmla="*/ 9 h 413"/>
                  <a:gd name="T96" fmla="*/ 382 w 456"/>
                  <a:gd name="T97" fmla="*/ 18 h 413"/>
                  <a:gd name="T98" fmla="*/ 369 w 456"/>
                  <a:gd name="T99" fmla="*/ 35 h 413"/>
                  <a:gd name="T100" fmla="*/ 352 w 456"/>
                  <a:gd name="T101" fmla="*/ 48 h 413"/>
                  <a:gd name="T102" fmla="*/ 334 w 456"/>
                  <a:gd name="T103" fmla="*/ 70 h 413"/>
                  <a:gd name="T104" fmla="*/ 321 w 456"/>
                  <a:gd name="T105" fmla="*/ 92 h 413"/>
                  <a:gd name="T106" fmla="*/ 326 w 456"/>
                  <a:gd name="T107" fmla="*/ 109 h 413"/>
                  <a:gd name="T108" fmla="*/ 361 w 456"/>
                  <a:gd name="T109" fmla="*/ 131 h 413"/>
                  <a:gd name="T110" fmla="*/ 378 w 456"/>
                  <a:gd name="T111" fmla="*/ 139 h 413"/>
                  <a:gd name="T112" fmla="*/ 413 w 456"/>
                  <a:gd name="T113" fmla="*/ 135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56" h="413">
                    <a:moveTo>
                      <a:pt x="413" y="135"/>
                    </a:moveTo>
                    <a:lnTo>
                      <a:pt x="417" y="144"/>
                    </a:lnTo>
                    <a:lnTo>
                      <a:pt x="421" y="148"/>
                    </a:lnTo>
                    <a:lnTo>
                      <a:pt x="434" y="157"/>
                    </a:lnTo>
                    <a:lnTo>
                      <a:pt x="439" y="157"/>
                    </a:lnTo>
                    <a:lnTo>
                      <a:pt x="443" y="157"/>
                    </a:lnTo>
                    <a:lnTo>
                      <a:pt x="448" y="157"/>
                    </a:lnTo>
                    <a:lnTo>
                      <a:pt x="448" y="165"/>
                    </a:lnTo>
                    <a:lnTo>
                      <a:pt x="448" y="165"/>
                    </a:lnTo>
                    <a:lnTo>
                      <a:pt x="448" y="170"/>
                    </a:lnTo>
                    <a:lnTo>
                      <a:pt x="448" y="170"/>
                    </a:lnTo>
                    <a:lnTo>
                      <a:pt x="452" y="178"/>
                    </a:lnTo>
                    <a:lnTo>
                      <a:pt x="456" y="187"/>
                    </a:lnTo>
                    <a:lnTo>
                      <a:pt x="443" y="192"/>
                    </a:lnTo>
                    <a:lnTo>
                      <a:pt x="443" y="196"/>
                    </a:lnTo>
                    <a:lnTo>
                      <a:pt x="443" y="200"/>
                    </a:lnTo>
                    <a:lnTo>
                      <a:pt x="430" y="205"/>
                    </a:lnTo>
                    <a:lnTo>
                      <a:pt x="426" y="209"/>
                    </a:lnTo>
                    <a:lnTo>
                      <a:pt x="421" y="209"/>
                    </a:lnTo>
                    <a:lnTo>
                      <a:pt x="421" y="205"/>
                    </a:lnTo>
                    <a:lnTo>
                      <a:pt x="417" y="205"/>
                    </a:lnTo>
                    <a:lnTo>
                      <a:pt x="408" y="192"/>
                    </a:lnTo>
                    <a:lnTo>
                      <a:pt x="404" y="187"/>
                    </a:lnTo>
                    <a:lnTo>
                      <a:pt x="391" y="183"/>
                    </a:lnTo>
                    <a:lnTo>
                      <a:pt x="387" y="183"/>
                    </a:lnTo>
                    <a:lnTo>
                      <a:pt x="378" y="192"/>
                    </a:lnTo>
                    <a:lnTo>
                      <a:pt x="378" y="196"/>
                    </a:lnTo>
                    <a:lnTo>
                      <a:pt x="378" y="196"/>
                    </a:lnTo>
                    <a:lnTo>
                      <a:pt x="378" y="200"/>
                    </a:lnTo>
                    <a:lnTo>
                      <a:pt x="382" y="200"/>
                    </a:lnTo>
                    <a:lnTo>
                      <a:pt x="387" y="200"/>
                    </a:lnTo>
                    <a:lnTo>
                      <a:pt x="387" y="222"/>
                    </a:lnTo>
                    <a:lnTo>
                      <a:pt x="387" y="226"/>
                    </a:lnTo>
                    <a:lnTo>
                      <a:pt x="387" y="226"/>
                    </a:lnTo>
                    <a:lnTo>
                      <a:pt x="382" y="226"/>
                    </a:lnTo>
                    <a:lnTo>
                      <a:pt x="378" y="226"/>
                    </a:lnTo>
                    <a:lnTo>
                      <a:pt x="378" y="226"/>
                    </a:lnTo>
                    <a:lnTo>
                      <a:pt x="374" y="231"/>
                    </a:lnTo>
                    <a:lnTo>
                      <a:pt x="369" y="231"/>
                    </a:lnTo>
                    <a:lnTo>
                      <a:pt x="369" y="235"/>
                    </a:lnTo>
                    <a:lnTo>
                      <a:pt x="369" y="239"/>
                    </a:lnTo>
                    <a:lnTo>
                      <a:pt x="369" y="244"/>
                    </a:lnTo>
                    <a:lnTo>
                      <a:pt x="369" y="248"/>
                    </a:lnTo>
                    <a:lnTo>
                      <a:pt x="369" y="248"/>
                    </a:lnTo>
                    <a:lnTo>
                      <a:pt x="369" y="252"/>
                    </a:lnTo>
                    <a:lnTo>
                      <a:pt x="369" y="265"/>
                    </a:lnTo>
                    <a:lnTo>
                      <a:pt x="365" y="265"/>
                    </a:lnTo>
                    <a:lnTo>
                      <a:pt x="356" y="270"/>
                    </a:lnTo>
                    <a:lnTo>
                      <a:pt x="352" y="274"/>
                    </a:lnTo>
                    <a:lnTo>
                      <a:pt x="348" y="270"/>
                    </a:lnTo>
                    <a:lnTo>
                      <a:pt x="348" y="270"/>
                    </a:lnTo>
                    <a:lnTo>
                      <a:pt x="343" y="270"/>
                    </a:lnTo>
                    <a:lnTo>
                      <a:pt x="339" y="274"/>
                    </a:lnTo>
                    <a:lnTo>
                      <a:pt x="339" y="278"/>
                    </a:lnTo>
                    <a:lnTo>
                      <a:pt x="343" y="283"/>
                    </a:lnTo>
                    <a:lnTo>
                      <a:pt x="343" y="283"/>
                    </a:lnTo>
                    <a:lnTo>
                      <a:pt x="348" y="283"/>
                    </a:lnTo>
                    <a:lnTo>
                      <a:pt x="352" y="287"/>
                    </a:lnTo>
                    <a:lnTo>
                      <a:pt x="361" y="287"/>
                    </a:lnTo>
                    <a:lnTo>
                      <a:pt x="365" y="292"/>
                    </a:lnTo>
                    <a:lnTo>
                      <a:pt x="365" y="292"/>
                    </a:lnTo>
                    <a:lnTo>
                      <a:pt x="365" y="296"/>
                    </a:lnTo>
                    <a:lnTo>
                      <a:pt x="365" y="305"/>
                    </a:lnTo>
                    <a:lnTo>
                      <a:pt x="369" y="309"/>
                    </a:lnTo>
                    <a:lnTo>
                      <a:pt x="369" y="313"/>
                    </a:lnTo>
                    <a:lnTo>
                      <a:pt x="374" y="313"/>
                    </a:lnTo>
                    <a:lnTo>
                      <a:pt x="378" y="313"/>
                    </a:lnTo>
                    <a:lnTo>
                      <a:pt x="382" y="313"/>
                    </a:lnTo>
                    <a:lnTo>
                      <a:pt x="387" y="318"/>
                    </a:lnTo>
                    <a:lnTo>
                      <a:pt x="391" y="322"/>
                    </a:lnTo>
                    <a:lnTo>
                      <a:pt x="391" y="322"/>
                    </a:lnTo>
                    <a:lnTo>
                      <a:pt x="395" y="326"/>
                    </a:lnTo>
                    <a:lnTo>
                      <a:pt x="395" y="326"/>
                    </a:lnTo>
                    <a:lnTo>
                      <a:pt x="400" y="326"/>
                    </a:lnTo>
                    <a:lnTo>
                      <a:pt x="400" y="326"/>
                    </a:lnTo>
                    <a:lnTo>
                      <a:pt x="400" y="326"/>
                    </a:lnTo>
                    <a:lnTo>
                      <a:pt x="404" y="322"/>
                    </a:lnTo>
                    <a:lnTo>
                      <a:pt x="408" y="318"/>
                    </a:lnTo>
                    <a:lnTo>
                      <a:pt x="417" y="313"/>
                    </a:lnTo>
                    <a:lnTo>
                      <a:pt x="421" y="326"/>
                    </a:lnTo>
                    <a:lnTo>
                      <a:pt x="426" y="344"/>
                    </a:lnTo>
                    <a:lnTo>
                      <a:pt x="426" y="348"/>
                    </a:lnTo>
                    <a:lnTo>
                      <a:pt x="426" y="352"/>
                    </a:lnTo>
                    <a:lnTo>
                      <a:pt x="426" y="357"/>
                    </a:lnTo>
                    <a:lnTo>
                      <a:pt x="426" y="357"/>
                    </a:lnTo>
                    <a:lnTo>
                      <a:pt x="426" y="361"/>
                    </a:lnTo>
                    <a:lnTo>
                      <a:pt x="426" y="365"/>
                    </a:lnTo>
                    <a:lnTo>
                      <a:pt x="426" y="370"/>
                    </a:lnTo>
                    <a:lnTo>
                      <a:pt x="426" y="370"/>
                    </a:lnTo>
                    <a:lnTo>
                      <a:pt x="426" y="374"/>
                    </a:lnTo>
                    <a:lnTo>
                      <a:pt x="426" y="374"/>
                    </a:lnTo>
                    <a:lnTo>
                      <a:pt x="426" y="378"/>
                    </a:lnTo>
                    <a:lnTo>
                      <a:pt x="421" y="378"/>
                    </a:lnTo>
                    <a:lnTo>
                      <a:pt x="417" y="374"/>
                    </a:lnTo>
                    <a:lnTo>
                      <a:pt x="417" y="378"/>
                    </a:lnTo>
                    <a:lnTo>
                      <a:pt x="413" y="378"/>
                    </a:lnTo>
                    <a:lnTo>
                      <a:pt x="408" y="378"/>
                    </a:lnTo>
                    <a:lnTo>
                      <a:pt x="404" y="383"/>
                    </a:lnTo>
                    <a:lnTo>
                      <a:pt x="400" y="387"/>
                    </a:lnTo>
                    <a:lnTo>
                      <a:pt x="395" y="387"/>
                    </a:lnTo>
                    <a:lnTo>
                      <a:pt x="391" y="405"/>
                    </a:lnTo>
                    <a:lnTo>
                      <a:pt x="391" y="405"/>
                    </a:lnTo>
                    <a:lnTo>
                      <a:pt x="391" y="405"/>
                    </a:lnTo>
                    <a:lnTo>
                      <a:pt x="391" y="409"/>
                    </a:lnTo>
                    <a:lnTo>
                      <a:pt x="391" y="413"/>
                    </a:lnTo>
                    <a:lnTo>
                      <a:pt x="391" y="413"/>
                    </a:lnTo>
                    <a:lnTo>
                      <a:pt x="391" y="413"/>
                    </a:lnTo>
                    <a:lnTo>
                      <a:pt x="387" y="413"/>
                    </a:lnTo>
                    <a:lnTo>
                      <a:pt x="387" y="413"/>
                    </a:lnTo>
                    <a:lnTo>
                      <a:pt x="382" y="413"/>
                    </a:lnTo>
                    <a:lnTo>
                      <a:pt x="378" y="409"/>
                    </a:lnTo>
                    <a:lnTo>
                      <a:pt x="378" y="409"/>
                    </a:lnTo>
                    <a:lnTo>
                      <a:pt x="378" y="405"/>
                    </a:lnTo>
                    <a:lnTo>
                      <a:pt x="378" y="405"/>
                    </a:lnTo>
                    <a:lnTo>
                      <a:pt x="374" y="400"/>
                    </a:lnTo>
                    <a:lnTo>
                      <a:pt x="374" y="400"/>
                    </a:lnTo>
                    <a:lnTo>
                      <a:pt x="369" y="405"/>
                    </a:lnTo>
                    <a:lnTo>
                      <a:pt x="369" y="405"/>
                    </a:lnTo>
                    <a:lnTo>
                      <a:pt x="369" y="409"/>
                    </a:lnTo>
                    <a:lnTo>
                      <a:pt x="365" y="409"/>
                    </a:lnTo>
                    <a:lnTo>
                      <a:pt x="365" y="409"/>
                    </a:lnTo>
                    <a:lnTo>
                      <a:pt x="365" y="409"/>
                    </a:lnTo>
                    <a:lnTo>
                      <a:pt x="348" y="413"/>
                    </a:lnTo>
                    <a:lnTo>
                      <a:pt x="348" y="413"/>
                    </a:lnTo>
                    <a:lnTo>
                      <a:pt x="348" y="413"/>
                    </a:lnTo>
                    <a:lnTo>
                      <a:pt x="330" y="405"/>
                    </a:lnTo>
                    <a:lnTo>
                      <a:pt x="326" y="400"/>
                    </a:lnTo>
                    <a:lnTo>
                      <a:pt x="326" y="400"/>
                    </a:lnTo>
                    <a:lnTo>
                      <a:pt x="330" y="396"/>
                    </a:lnTo>
                    <a:lnTo>
                      <a:pt x="330" y="396"/>
                    </a:lnTo>
                    <a:lnTo>
                      <a:pt x="330" y="392"/>
                    </a:lnTo>
                    <a:lnTo>
                      <a:pt x="326" y="392"/>
                    </a:lnTo>
                    <a:lnTo>
                      <a:pt x="321" y="392"/>
                    </a:lnTo>
                    <a:lnTo>
                      <a:pt x="321" y="392"/>
                    </a:lnTo>
                    <a:lnTo>
                      <a:pt x="313" y="396"/>
                    </a:lnTo>
                    <a:lnTo>
                      <a:pt x="313" y="392"/>
                    </a:lnTo>
                    <a:lnTo>
                      <a:pt x="308" y="392"/>
                    </a:lnTo>
                    <a:lnTo>
                      <a:pt x="308" y="392"/>
                    </a:lnTo>
                    <a:lnTo>
                      <a:pt x="308" y="387"/>
                    </a:lnTo>
                    <a:lnTo>
                      <a:pt x="300" y="387"/>
                    </a:lnTo>
                    <a:lnTo>
                      <a:pt x="295" y="387"/>
                    </a:lnTo>
                    <a:lnTo>
                      <a:pt x="295" y="387"/>
                    </a:lnTo>
                    <a:lnTo>
                      <a:pt x="295" y="392"/>
                    </a:lnTo>
                    <a:lnTo>
                      <a:pt x="291" y="392"/>
                    </a:lnTo>
                    <a:lnTo>
                      <a:pt x="291" y="392"/>
                    </a:lnTo>
                    <a:lnTo>
                      <a:pt x="291" y="396"/>
                    </a:lnTo>
                    <a:lnTo>
                      <a:pt x="287" y="396"/>
                    </a:lnTo>
                    <a:lnTo>
                      <a:pt x="278" y="387"/>
                    </a:lnTo>
                    <a:lnTo>
                      <a:pt x="265" y="365"/>
                    </a:lnTo>
                    <a:lnTo>
                      <a:pt x="265" y="365"/>
                    </a:lnTo>
                    <a:lnTo>
                      <a:pt x="265" y="357"/>
                    </a:lnTo>
                    <a:lnTo>
                      <a:pt x="265" y="344"/>
                    </a:lnTo>
                    <a:lnTo>
                      <a:pt x="261" y="339"/>
                    </a:lnTo>
                    <a:lnTo>
                      <a:pt x="256" y="339"/>
                    </a:lnTo>
                    <a:lnTo>
                      <a:pt x="256" y="339"/>
                    </a:lnTo>
                    <a:lnTo>
                      <a:pt x="256" y="344"/>
                    </a:lnTo>
                    <a:lnTo>
                      <a:pt x="252" y="344"/>
                    </a:lnTo>
                    <a:lnTo>
                      <a:pt x="247" y="348"/>
                    </a:lnTo>
                    <a:lnTo>
                      <a:pt x="247" y="352"/>
                    </a:lnTo>
                    <a:lnTo>
                      <a:pt x="243" y="352"/>
                    </a:lnTo>
                    <a:lnTo>
                      <a:pt x="239" y="352"/>
                    </a:lnTo>
                    <a:lnTo>
                      <a:pt x="234" y="352"/>
                    </a:lnTo>
                    <a:lnTo>
                      <a:pt x="234" y="352"/>
                    </a:lnTo>
                    <a:lnTo>
                      <a:pt x="230" y="348"/>
                    </a:lnTo>
                    <a:lnTo>
                      <a:pt x="226" y="344"/>
                    </a:lnTo>
                    <a:lnTo>
                      <a:pt x="213" y="344"/>
                    </a:lnTo>
                    <a:lnTo>
                      <a:pt x="204" y="348"/>
                    </a:lnTo>
                    <a:lnTo>
                      <a:pt x="191" y="352"/>
                    </a:lnTo>
                    <a:lnTo>
                      <a:pt x="187" y="352"/>
                    </a:lnTo>
                    <a:lnTo>
                      <a:pt x="187" y="352"/>
                    </a:lnTo>
                    <a:lnTo>
                      <a:pt x="182" y="352"/>
                    </a:lnTo>
                    <a:lnTo>
                      <a:pt x="178" y="352"/>
                    </a:lnTo>
                    <a:lnTo>
                      <a:pt x="174" y="352"/>
                    </a:lnTo>
                    <a:lnTo>
                      <a:pt x="174" y="352"/>
                    </a:lnTo>
                    <a:lnTo>
                      <a:pt x="169" y="352"/>
                    </a:lnTo>
                    <a:lnTo>
                      <a:pt x="161" y="352"/>
                    </a:lnTo>
                    <a:lnTo>
                      <a:pt x="152" y="352"/>
                    </a:lnTo>
                    <a:lnTo>
                      <a:pt x="147" y="352"/>
                    </a:lnTo>
                    <a:lnTo>
                      <a:pt x="139" y="348"/>
                    </a:lnTo>
                    <a:lnTo>
                      <a:pt x="130" y="348"/>
                    </a:lnTo>
                    <a:lnTo>
                      <a:pt x="126" y="344"/>
                    </a:lnTo>
                    <a:lnTo>
                      <a:pt x="126" y="344"/>
                    </a:lnTo>
                    <a:lnTo>
                      <a:pt x="121" y="344"/>
                    </a:lnTo>
                    <a:lnTo>
                      <a:pt x="117" y="344"/>
                    </a:lnTo>
                    <a:lnTo>
                      <a:pt x="117" y="339"/>
                    </a:lnTo>
                    <a:lnTo>
                      <a:pt x="113" y="339"/>
                    </a:lnTo>
                    <a:lnTo>
                      <a:pt x="108" y="335"/>
                    </a:lnTo>
                    <a:lnTo>
                      <a:pt x="108" y="335"/>
                    </a:lnTo>
                    <a:lnTo>
                      <a:pt x="104" y="335"/>
                    </a:lnTo>
                    <a:lnTo>
                      <a:pt x="104" y="335"/>
                    </a:lnTo>
                    <a:lnTo>
                      <a:pt x="100" y="335"/>
                    </a:lnTo>
                    <a:lnTo>
                      <a:pt x="74" y="309"/>
                    </a:lnTo>
                    <a:lnTo>
                      <a:pt x="69" y="305"/>
                    </a:lnTo>
                    <a:lnTo>
                      <a:pt x="65" y="296"/>
                    </a:lnTo>
                    <a:lnTo>
                      <a:pt x="61" y="292"/>
                    </a:lnTo>
                    <a:lnTo>
                      <a:pt x="61" y="292"/>
                    </a:lnTo>
                    <a:lnTo>
                      <a:pt x="56" y="287"/>
                    </a:lnTo>
                    <a:lnTo>
                      <a:pt x="56" y="283"/>
                    </a:lnTo>
                    <a:lnTo>
                      <a:pt x="56" y="274"/>
                    </a:lnTo>
                    <a:lnTo>
                      <a:pt x="56" y="265"/>
                    </a:lnTo>
                    <a:lnTo>
                      <a:pt x="52" y="257"/>
                    </a:lnTo>
                    <a:lnTo>
                      <a:pt x="52" y="252"/>
                    </a:lnTo>
                    <a:lnTo>
                      <a:pt x="47" y="252"/>
                    </a:lnTo>
                    <a:lnTo>
                      <a:pt x="47" y="252"/>
                    </a:lnTo>
                    <a:lnTo>
                      <a:pt x="43" y="252"/>
                    </a:lnTo>
                    <a:lnTo>
                      <a:pt x="39" y="248"/>
                    </a:lnTo>
                    <a:lnTo>
                      <a:pt x="39" y="248"/>
                    </a:lnTo>
                    <a:lnTo>
                      <a:pt x="39" y="244"/>
                    </a:lnTo>
                    <a:lnTo>
                      <a:pt x="39" y="244"/>
                    </a:lnTo>
                    <a:lnTo>
                      <a:pt x="39" y="239"/>
                    </a:lnTo>
                    <a:lnTo>
                      <a:pt x="34" y="239"/>
                    </a:lnTo>
                    <a:lnTo>
                      <a:pt x="30" y="235"/>
                    </a:lnTo>
                    <a:lnTo>
                      <a:pt x="26" y="235"/>
                    </a:lnTo>
                    <a:lnTo>
                      <a:pt x="26" y="235"/>
                    </a:lnTo>
                    <a:lnTo>
                      <a:pt x="21" y="231"/>
                    </a:lnTo>
                    <a:lnTo>
                      <a:pt x="26" y="222"/>
                    </a:lnTo>
                    <a:lnTo>
                      <a:pt x="26" y="209"/>
                    </a:lnTo>
                    <a:lnTo>
                      <a:pt x="21" y="209"/>
                    </a:lnTo>
                    <a:lnTo>
                      <a:pt x="17" y="205"/>
                    </a:lnTo>
                    <a:lnTo>
                      <a:pt x="13" y="205"/>
                    </a:lnTo>
                    <a:lnTo>
                      <a:pt x="8" y="200"/>
                    </a:lnTo>
                    <a:lnTo>
                      <a:pt x="4" y="187"/>
                    </a:lnTo>
                    <a:lnTo>
                      <a:pt x="4" y="178"/>
                    </a:lnTo>
                    <a:lnTo>
                      <a:pt x="0" y="174"/>
                    </a:lnTo>
                    <a:lnTo>
                      <a:pt x="0" y="170"/>
                    </a:lnTo>
                    <a:lnTo>
                      <a:pt x="8" y="170"/>
                    </a:lnTo>
                    <a:lnTo>
                      <a:pt x="13" y="170"/>
                    </a:lnTo>
                    <a:lnTo>
                      <a:pt x="17" y="170"/>
                    </a:lnTo>
                    <a:lnTo>
                      <a:pt x="26" y="170"/>
                    </a:lnTo>
                    <a:lnTo>
                      <a:pt x="39" y="165"/>
                    </a:lnTo>
                    <a:lnTo>
                      <a:pt x="43" y="157"/>
                    </a:lnTo>
                    <a:lnTo>
                      <a:pt x="47" y="157"/>
                    </a:lnTo>
                    <a:lnTo>
                      <a:pt x="61" y="148"/>
                    </a:lnTo>
                    <a:lnTo>
                      <a:pt x="65" y="148"/>
                    </a:lnTo>
                    <a:lnTo>
                      <a:pt x="74" y="148"/>
                    </a:lnTo>
                    <a:lnTo>
                      <a:pt x="82" y="144"/>
                    </a:lnTo>
                    <a:lnTo>
                      <a:pt x="87" y="144"/>
                    </a:lnTo>
                    <a:lnTo>
                      <a:pt x="87" y="139"/>
                    </a:lnTo>
                    <a:lnTo>
                      <a:pt x="91" y="135"/>
                    </a:lnTo>
                    <a:lnTo>
                      <a:pt x="95" y="131"/>
                    </a:lnTo>
                    <a:lnTo>
                      <a:pt x="104" y="122"/>
                    </a:lnTo>
                    <a:lnTo>
                      <a:pt x="108" y="122"/>
                    </a:lnTo>
                    <a:lnTo>
                      <a:pt x="113" y="122"/>
                    </a:lnTo>
                    <a:lnTo>
                      <a:pt x="117" y="122"/>
                    </a:lnTo>
                    <a:lnTo>
                      <a:pt x="117" y="126"/>
                    </a:lnTo>
                    <a:lnTo>
                      <a:pt x="121" y="113"/>
                    </a:lnTo>
                    <a:lnTo>
                      <a:pt x="121" y="109"/>
                    </a:lnTo>
                    <a:lnTo>
                      <a:pt x="130" y="109"/>
                    </a:lnTo>
                    <a:lnTo>
                      <a:pt x="139" y="109"/>
                    </a:lnTo>
                    <a:lnTo>
                      <a:pt x="152" y="109"/>
                    </a:lnTo>
                    <a:lnTo>
                      <a:pt x="152" y="109"/>
                    </a:lnTo>
                    <a:lnTo>
                      <a:pt x="156" y="105"/>
                    </a:lnTo>
                    <a:lnTo>
                      <a:pt x="156" y="105"/>
                    </a:lnTo>
                    <a:lnTo>
                      <a:pt x="156" y="105"/>
                    </a:lnTo>
                    <a:lnTo>
                      <a:pt x="165" y="100"/>
                    </a:lnTo>
                    <a:lnTo>
                      <a:pt x="165" y="100"/>
                    </a:lnTo>
                    <a:lnTo>
                      <a:pt x="169" y="105"/>
                    </a:lnTo>
                    <a:lnTo>
                      <a:pt x="174" y="105"/>
                    </a:lnTo>
                    <a:lnTo>
                      <a:pt x="178" y="105"/>
                    </a:lnTo>
                    <a:lnTo>
                      <a:pt x="182" y="100"/>
                    </a:lnTo>
                    <a:lnTo>
                      <a:pt x="191" y="92"/>
                    </a:lnTo>
                    <a:lnTo>
                      <a:pt x="208" y="78"/>
                    </a:lnTo>
                    <a:lnTo>
                      <a:pt x="213" y="78"/>
                    </a:lnTo>
                    <a:lnTo>
                      <a:pt x="217" y="78"/>
                    </a:lnTo>
                    <a:lnTo>
                      <a:pt x="217" y="74"/>
                    </a:lnTo>
                    <a:lnTo>
                      <a:pt x="221" y="70"/>
                    </a:lnTo>
                    <a:lnTo>
                      <a:pt x="221" y="61"/>
                    </a:lnTo>
                    <a:lnTo>
                      <a:pt x="221" y="52"/>
                    </a:lnTo>
                    <a:lnTo>
                      <a:pt x="226" y="39"/>
                    </a:lnTo>
                    <a:lnTo>
                      <a:pt x="226" y="35"/>
                    </a:lnTo>
                    <a:lnTo>
                      <a:pt x="226" y="18"/>
                    </a:lnTo>
                    <a:lnTo>
                      <a:pt x="226" y="5"/>
                    </a:lnTo>
                    <a:lnTo>
                      <a:pt x="226" y="0"/>
                    </a:lnTo>
                    <a:lnTo>
                      <a:pt x="230" y="0"/>
                    </a:lnTo>
                    <a:lnTo>
                      <a:pt x="234" y="0"/>
                    </a:lnTo>
                    <a:lnTo>
                      <a:pt x="243" y="0"/>
                    </a:lnTo>
                    <a:lnTo>
                      <a:pt x="252" y="5"/>
                    </a:lnTo>
                    <a:lnTo>
                      <a:pt x="256" y="9"/>
                    </a:lnTo>
                    <a:lnTo>
                      <a:pt x="261" y="9"/>
                    </a:lnTo>
                    <a:lnTo>
                      <a:pt x="261" y="9"/>
                    </a:lnTo>
                    <a:lnTo>
                      <a:pt x="269" y="9"/>
                    </a:lnTo>
                    <a:lnTo>
                      <a:pt x="274" y="9"/>
                    </a:lnTo>
                    <a:lnTo>
                      <a:pt x="278" y="9"/>
                    </a:lnTo>
                    <a:lnTo>
                      <a:pt x="282" y="13"/>
                    </a:lnTo>
                    <a:lnTo>
                      <a:pt x="287" y="13"/>
                    </a:lnTo>
                    <a:lnTo>
                      <a:pt x="287" y="13"/>
                    </a:lnTo>
                    <a:lnTo>
                      <a:pt x="291" y="13"/>
                    </a:lnTo>
                    <a:lnTo>
                      <a:pt x="291" y="13"/>
                    </a:lnTo>
                    <a:lnTo>
                      <a:pt x="295" y="13"/>
                    </a:lnTo>
                    <a:lnTo>
                      <a:pt x="295" y="13"/>
                    </a:lnTo>
                    <a:lnTo>
                      <a:pt x="304" y="9"/>
                    </a:lnTo>
                    <a:lnTo>
                      <a:pt x="308" y="9"/>
                    </a:lnTo>
                    <a:lnTo>
                      <a:pt x="308" y="13"/>
                    </a:lnTo>
                    <a:lnTo>
                      <a:pt x="313" y="13"/>
                    </a:lnTo>
                    <a:lnTo>
                      <a:pt x="313" y="18"/>
                    </a:lnTo>
                    <a:lnTo>
                      <a:pt x="317" y="18"/>
                    </a:lnTo>
                    <a:lnTo>
                      <a:pt x="321" y="13"/>
                    </a:lnTo>
                    <a:lnTo>
                      <a:pt x="321" y="9"/>
                    </a:lnTo>
                    <a:lnTo>
                      <a:pt x="326" y="5"/>
                    </a:lnTo>
                    <a:lnTo>
                      <a:pt x="330" y="5"/>
                    </a:lnTo>
                    <a:lnTo>
                      <a:pt x="334" y="5"/>
                    </a:lnTo>
                    <a:lnTo>
                      <a:pt x="334" y="9"/>
                    </a:lnTo>
                    <a:lnTo>
                      <a:pt x="334" y="9"/>
                    </a:lnTo>
                    <a:lnTo>
                      <a:pt x="334" y="9"/>
                    </a:lnTo>
                    <a:lnTo>
                      <a:pt x="339" y="13"/>
                    </a:lnTo>
                    <a:lnTo>
                      <a:pt x="339" y="13"/>
                    </a:lnTo>
                    <a:lnTo>
                      <a:pt x="343" y="13"/>
                    </a:lnTo>
                    <a:lnTo>
                      <a:pt x="343" y="9"/>
                    </a:lnTo>
                    <a:lnTo>
                      <a:pt x="343" y="9"/>
                    </a:lnTo>
                    <a:lnTo>
                      <a:pt x="348" y="5"/>
                    </a:lnTo>
                    <a:lnTo>
                      <a:pt x="348" y="5"/>
                    </a:lnTo>
                    <a:lnTo>
                      <a:pt x="348" y="9"/>
                    </a:lnTo>
                    <a:lnTo>
                      <a:pt x="348" y="13"/>
                    </a:lnTo>
                    <a:lnTo>
                      <a:pt x="348" y="13"/>
                    </a:lnTo>
                    <a:lnTo>
                      <a:pt x="348" y="18"/>
                    </a:lnTo>
                    <a:lnTo>
                      <a:pt x="348" y="18"/>
                    </a:lnTo>
                    <a:lnTo>
                      <a:pt x="348" y="22"/>
                    </a:lnTo>
                    <a:lnTo>
                      <a:pt x="343" y="22"/>
                    </a:lnTo>
                    <a:lnTo>
                      <a:pt x="343" y="26"/>
                    </a:lnTo>
                    <a:lnTo>
                      <a:pt x="343" y="31"/>
                    </a:lnTo>
                    <a:lnTo>
                      <a:pt x="343" y="35"/>
                    </a:lnTo>
                    <a:lnTo>
                      <a:pt x="343" y="35"/>
                    </a:lnTo>
                    <a:lnTo>
                      <a:pt x="343" y="39"/>
                    </a:lnTo>
                    <a:lnTo>
                      <a:pt x="343" y="39"/>
                    </a:lnTo>
                    <a:lnTo>
                      <a:pt x="348" y="39"/>
                    </a:lnTo>
                    <a:lnTo>
                      <a:pt x="348" y="35"/>
                    </a:lnTo>
                    <a:lnTo>
                      <a:pt x="352" y="31"/>
                    </a:lnTo>
                    <a:lnTo>
                      <a:pt x="356" y="26"/>
                    </a:lnTo>
                    <a:lnTo>
                      <a:pt x="356" y="26"/>
                    </a:lnTo>
                    <a:lnTo>
                      <a:pt x="365" y="22"/>
                    </a:lnTo>
                    <a:lnTo>
                      <a:pt x="369" y="22"/>
                    </a:lnTo>
                    <a:lnTo>
                      <a:pt x="374" y="18"/>
                    </a:lnTo>
                    <a:lnTo>
                      <a:pt x="378" y="18"/>
                    </a:lnTo>
                    <a:lnTo>
                      <a:pt x="378" y="13"/>
                    </a:lnTo>
                    <a:lnTo>
                      <a:pt x="387" y="9"/>
                    </a:lnTo>
                    <a:lnTo>
                      <a:pt x="391" y="9"/>
                    </a:lnTo>
                    <a:lnTo>
                      <a:pt x="391" y="5"/>
                    </a:lnTo>
                    <a:lnTo>
                      <a:pt x="391" y="5"/>
                    </a:lnTo>
                    <a:lnTo>
                      <a:pt x="391" y="9"/>
                    </a:lnTo>
                    <a:lnTo>
                      <a:pt x="391" y="18"/>
                    </a:lnTo>
                    <a:lnTo>
                      <a:pt x="387" y="18"/>
                    </a:lnTo>
                    <a:lnTo>
                      <a:pt x="387" y="18"/>
                    </a:lnTo>
                    <a:lnTo>
                      <a:pt x="382" y="18"/>
                    </a:lnTo>
                    <a:lnTo>
                      <a:pt x="378" y="22"/>
                    </a:lnTo>
                    <a:lnTo>
                      <a:pt x="378" y="22"/>
                    </a:lnTo>
                    <a:lnTo>
                      <a:pt x="382" y="26"/>
                    </a:lnTo>
                    <a:lnTo>
                      <a:pt x="378" y="26"/>
                    </a:lnTo>
                    <a:lnTo>
                      <a:pt x="374" y="31"/>
                    </a:lnTo>
                    <a:lnTo>
                      <a:pt x="369" y="31"/>
                    </a:lnTo>
                    <a:lnTo>
                      <a:pt x="369" y="35"/>
                    </a:lnTo>
                    <a:lnTo>
                      <a:pt x="369" y="35"/>
                    </a:lnTo>
                    <a:lnTo>
                      <a:pt x="369" y="39"/>
                    </a:lnTo>
                    <a:lnTo>
                      <a:pt x="365" y="39"/>
                    </a:lnTo>
                    <a:lnTo>
                      <a:pt x="361" y="39"/>
                    </a:lnTo>
                    <a:lnTo>
                      <a:pt x="361" y="39"/>
                    </a:lnTo>
                    <a:lnTo>
                      <a:pt x="361" y="44"/>
                    </a:lnTo>
                    <a:lnTo>
                      <a:pt x="352" y="48"/>
                    </a:lnTo>
                    <a:lnTo>
                      <a:pt x="348" y="52"/>
                    </a:lnTo>
                    <a:lnTo>
                      <a:pt x="348" y="57"/>
                    </a:lnTo>
                    <a:lnTo>
                      <a:pt x="348" y="61"/>
                    </a:lnTo>
                    <a:lnTo>
                      <a:pt x="343" y="70"/>
                    </a:lnTo>
                    <a:lnTo>
                      <a:pt x="339" y="70"/>
                    </a:lnTo>
                    <a:lnTo>
                      <a:pt x="339" y="70"/>
                    </a:lnTo>
                    <a:lnTo>
                      <a:pt x="334" y="70"/>
                    </a:lnTo>
                    <a:lnTo>
                      <a:pt x="334" y="70"/>
                    </a:lnTo>
                    <a:lnTo>
                      <a:pt x="330" y="74"/>
                    </a:lnTo>
                    <a:lnTo>
                      <a:pt x="326" y="78"/>
                    </a:lnTo>
                    <a:lnTo>
                      <a:pt x="326" y="78"/>
                    </a:lnTo>
                    <a:lnTo>
                      <a:pt x="326" y="83"/>
                    </a:lnTo>
                    <a:lnTo>
                      <a:pt x="321" y="92"/>
                    </a:lnTo>
                    <a:lnTo>
                      <a:pt x="321" y="92"/>
                    </a:lnTo>
                    <a:lnTo>
                      <a:pt x="317" y="92"/>
                    </a:lnTo>
                    <a:lnTo>
                      <a:pt x="317" y="96"/>
                    </a:lnTo>
                    <a:lnTo>
                      <a:pt x="317" y="109"/>
                    </a:lnTo>
                    <a:lnTo>
                      <a:pt x="321" y="109"/>
                    </a:lnTo>
                    <a:lnTo>
                      <a:pt x="321" y="109"/>
                    </a:lnTo>
                    <a:lnTo>
                      <a:pt x="321" y="109"/>
                    </a:lnTo>
                    <a:lnTo>
                      <a:pt x="326" y="109"/>
                    </a:lnTo>
                    <a:lnTo>
                      <a:pt x="326" y="109"/>
                    </a:lnTo>
                    <a:lnTo>
                      <a:pt x="330" y="109"/>
                    </a:lnTo>
                    <a:lnTo>
                      <a:pt x="343" y="113"/>
                    </a:lnTo>
                    <a:lnTo>
                      <a:pt x="343" y="113"/>
                    </a:lnTo>
                    <a:lnTo>
                      <a:pt x="348" y="118"/>
                    </a:lnTo>
                    <a:lnTo>
                      <a:pt x="356" y="122"/>
                    </a:lnTo>
                    <a:lnTo>
                      <a:pt x="361" y="131"/>
                    </a:lnTo>
                    <a:lnTo>
                      <a:pt x="361" y="131"/>
                    </a:lnTo>
                    <a:lnTo>
                      <a:pt x="365" y="135"/>
                    </a:lnTo>
                    <a:lnTo>
                      <a:pt x="365" y="139"/>
                    </a:lnTo>
                    <a:lnTo>
                      <a:pt x="369" y="139"/>
                    </a:lnTo>
                    <a:lnTo>
                      <a:pt x="369" y="139"/>
                    </a:lnTo>
                    <a:lnTo>
                      <a:pt x="374" y="139"/>
                    </a:lnTo>
                    <a:lnTo>
                      <a:pt x="378" y="139"/>
                    </a:lnTo>
                    <a:lnTo>
                      <a:pt x="378" y="139"/>
                    </a:lnTo>
                    <a:lnTo>
                      <a:pt x="387" y="135"/>
                    </a:lnTo>
                    <a:lnTo>
                      <a:pt x="400" y="135"/>
                    </a:lnTo>
                    <a:lnTo>
                      <a:pt x="404" y="131"/>
                    </a:lnTo>
                    <a:lnTo>
                      <a:pt x="408" y="131"/>
                    </a:lnTo>
                    <a:lnTo>
                      <a:pt x="413" y="135"/>
                    </a:lnTo>
                    <a:lnTo>
                      <a:pt x="413" y="13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 39">
                <a:extLst>
                  <a:ext uri="{FF2B5EF4-FFF2-40B4-BE49-F238E27FC236}">
                    <a16:creationId xmlns:a16="http://schemas.microsoft.com/office/drawing/2014/main" id="{E7884328-C45E-540D-7B97-9D80B1ED56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80139" y="4198270"/>
                <a:ext cx="1026584" cy="620713"/>
              </a:xfrm>
              <a:custGeom>
                <a:avLst/>
                <a:gdLst>
                  <a:gd name="T0" fmla="*/ 43 w 591"/>
                  <a:gd name="T1" fmla="*/ 330 h 374"/>
                  <a:gd name="T2" fmla="*/ 26 w 591"/>
                  <a:gd name="T3" fmla="*/ 309 h 374"/>
                  <a:gd name="T4" fmla="*/ 8 w 591"/>
                  <a:gd name="T5" fmla="*/ 309 h 374"/>
                  <a:gd name="T6" fmla="*/ 13 w 591"/>
                  <a:gd name="T7" fmla="*/ 274 h 374"/>
                  <a:gd name="T8" fmla="*/ 4 w 591"/>
                  <a:gd name="T9" fmla="*/ 256 h 374"/>
                  <a:gd name="T10" fmla="*/ 56 w 591"/>
                  <a:gd name="T11" fmla="*/ 243 h 374"/>
                  <a:gd name="T12" fmla="*/ 104 w 591"/>
                  <a:gd name="T13" fmla="*/ 217 h 374"/>
                  <a:gd name="T14" fmla="*/ 130 w 591"/>
                  <a:gd name="T15" fmla="*/ 213 h 374"/>
                  <a:gd name="T16" fmla="*/ 134 w 591"/>
                  <a:gd name="T17" fmla="*/ 182 h 374"/>
                  <a:gd name="T18" fmla="*/ 113 w 591"/>
                  <a:gd name="T19" fmla="*/ 156 h 374"/>
                  <a:gd name="T20" fmla="*/ 91 w 591"/>
                  <a:gd name="T21" fmla="*/ 139 h 374"/>
                  <a:gd name="T22" fmla="*/ 78 w 591"/>
                  <a:gd name="T23" fmla="*/ 87 h 374"/>
                  <a:gd name="T24" fmla="*/ 95 w 591"/>
                  <a:gd name="T25" fmla="*/ 65 h 374"/>
                  <a:gd name="T26" fmla="*/ 121 w 591"/>
                  <a:gd name="T27" fmla="*/ 61 h 374"/>
                  <a:gd name="T28" fmla="*/ 113 w 591"/>
                  <a:gd name="T29" fmla="*/ 39 h 374"/>
                  <a:gd name="T30" fmla="*/ 91 w 591"/>
                  <a:gd name="T31" fmla="*/ 22 h 374"/>
                  <a:gd name="T32" fmla="*/ 78 w 591"/>
                  <a:gd name="T33" fmla="*/ 9 h 374"/>
                  <a:gd name="T34" fmla="*/ 130 w 591"/>
                  <a:gd name="T35" fmla="*/ 13 h 374"/>
                  <a:gd name="T36" fmla="*/ 152 w 591"/>
                  <a:gd name="T37" fmla="*/ 9 h 374"/>
                  <a:gd name="T38" fmla="*/ 182 w 591"/>
                  <a:gd name="T39" fmla="*/ 0 h 374"/>
                  <a:gd name="T40" fmla="*/ 230 w 591"/>
                  <a:gd name="T41" fmla="*/ 52 h 374"/>
                  <a:gd name="T42" fmla="*/ 256 w 591"/>
                  <a:gd name="T43" fmla="*/ 65 h 374"/>
                  <a:gd name="T44" fmla="*/ 304 w 591"/>
                  <a:gd name="T45" fmla="*/ 69 h 374"/>
                  <a:gd name="T46" fmla="*/ 356 w 591"/>
                  <a:gd name="T47" fmla="*/ 65 h 374"/>
                  <a:gd name="T48" fmla="*/ 382 w 591"/>
                  <a:gd name="T49" fmla="*/ 61 h 374"/>
                  <a:gd name="T50" fmla="*/ 413 w 591"/>
                  <a:gd name="T51" fmla="*/ 113 h 374"/>
                  <a:gd name="T52" fmla="*/ 434 w 591"/>
                  <a:gd name="T53" fmla="*/ 109 h 374"/>
                  <a:gd name="T54" fmla="*/ 452 w 591"/>
                  <a:gd name="T55" fmla="*/ 117 h 374"/>
                  <a:gd name="T56" fmla="*/ 504 w 591"/>
                  <a:gd name="T57" fmla="*/ 122 h 374"/>
                  <a:gd name="T58" fmla="*/ 539 w 591"/>
                  <a:gd name="T59" fmla="*/ 143 h 374"/>
                  <a:gd name="T60" fmla="*/ 560 w 591"/>
                  <a:gd name="T61" fmla="*/ 169 h 374"/>
                  <a:gd name="T62" fmla="*/ 565 w 591"/>
                  <a:gd name="T63" fmla="*/ 200 h 374"/>
                  <a:gd name="T64" fmla="*/ 574 w 591"/>
                  <a:gd name="T65" fmla="*/ 222 h 374"/>
                  <a:gd name="T66" fmla="*/ 591 w 591"/>
                  <a:gd name="T67" fmla="*/ 261 h 374"/>
                  <a:gd name="T68" fmla="*/ 560 w 591"/>
                  <a:gd name="T69" fmla="*/ 265 h 374"/>
                  <a:gd name="T70" fmla="*/ 539 w 591"/>
                  <a:gd name="T71" fmla="*/ 282 h 374"/>
                  <a:gd name="T72" fmla="*/ 513 w 591"/>
                  <a:gd name="T73" fmla="*/ 287 h 374"/>
                  <a:gd name="T74" fmla="*/ 495 w 591"/>
                  <a:gd name="T75" fmla="*/ 309 h 374"/>
                  <a:gd name="T76" fmla="*/ 460 w 591"/>
                  <a:gd name="T77" fmla="*/ 322 h 374"/>
                  <a:gd name="T78" fmla="*/ 443 w 591"/>
                  <a:gd name="T79" fmla="*/ 335 h 374"/>
                  <a:gd name="T80" fmla="*/ 413 w 591"/>
                  <a:gd name="T81" fmla="*/ 335 h 374"/>
                  <a:gd name="T82" fmla="*/ 413 w 591"/>
                  <a:gd name="T83" fmla="*/ 313 h 374"/>
                  <a:gd name="T84" fmla="*/ 400 w 591"/>
                  <a:gd name="T85" fmla="*/ 282 h 374"/>
                  <a:gd name="T86" fmla="*/ 369 w 591"/>
                  <a:gd name="T87" fmla="*/ 313 h 374"/>
                  <a:gd name="T88" fmla="*/ 352 w 591"/>
                  <a:gd name="T89" fmla="*/ 309 h 374"/>
                  <a:gd name="T90" fmla="*/ 352 w 591"/>
                  <a:gd name="T91" fmla="*/ 295 h 374"/>
                  <a:gd name="T92" fmla="*/ 330 w 591"/>
                  <a:gd name="T93" fmla="*/ 304 h 374"/>
                  <a:gd name="T94" fmla="*/ 308 w 591"/>
                  <a:gd name="T95" fmla="*/ 313 h 374"/>
                  <a:gd name="T96" fmla="*/ 278 w 591"/>
                  <a:gd name="T97" fmla="*/ 291 h 374"/>
                  <a:gd name="T98" fmla="*/ 221 w 591"/>
                  <a:gd name="T99" fmla="*/ 278 h 374"/>
                  <a:gd name="T100" fmla="*/ 187 w 591"/>
                  <a:gd name="T101" fmla="*/ 274 h 374"/>
                  <a:gd name="T102" fmla="*/ 160 w 591"/>
                  <a:gd name="T103" fmla="*/ 291 h 374"/>
                  <a:gd name="T104" fmla="*/ 169 w 591"/>
                  <a:gd name="T105" fmla="*/ 309 h 374"/>
                  <a:gd name="T106" fmla="*/ 152 w 591"/>
                  <a:gd name="T107" fmla="*/ 313 h 374"/>
                  <a:gd name="T108" fmla="*/ 134 w 591"/>
                  <a:gd name="T109" fmla="*/ 309 h 374"/>
                  <a:gd name="T110" fmla="*/ 86 w 591"/>
                  <a:gd name="T111" fmla="*/ 330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91" h="374">
                    <a:moveTo>
                      <a:pt x="73" y="374"/>
                    </a:moveTo>
                    <a:lnTo>
                      <a:pt x="69" y="369"/>
                    </a:lnTo>
                    <a:lnTo>
                      <a:pt x="65" y="365"/>
                    </a:lnTo>
                    <a:lnTo>
                      <a:pt x="47" y="348"/>
                    </a:lnTo>
                    <a:lnTo>
                      <a:pt x="43" y="339"/>
                    </a:lnTo>
                    <a:lnTo>
                      <a:pt x="43" y="335"/>
                    </a:lnTo>
                    <a:lnTo>
                      <a:pt x="43" y="330"/>
                    </a:lnTo>
                    <a:lnTo>
                      <a:pt x="43" y="326"/>
                    </a:lnTo>
                    <a:lnTo>
                      <a:pt x="34" y="322"/>
                    </a:lnTo>
                    <a:lnTo>
                      <a:pt x="30" y="322"/>
                    </a:lnTo>
                    <a:lnTo>
                      <a:pt x="26" y="322"/>
                    </a:lnTo>
                    <a:lnTo>
                      <a:pt x="26" y="317"/>
                    </a:lnTo>
                    <a:lnTo>
                      <a:pt x="26" y="313"/>
                    </a:lnTo>
                    <a:lnTo>
                      <a:pt x="26" y="309"/>
                    </a:lnTo>
                    <a:lnTo>
                      <a:pt x="21" y="304"/>
                    </a:lnTo>
                    <a:lnTo>
                      <a:pt x="17" y="313"/>
                    </a:lnTo>
                    <a:lnTo>
                      <a:pt x="17" y="317"/>
                    </a:lnTo>
                    <a:lnTo>
                      <a:pt x="13" y="317"/>
                    </a:lnTo>
                    <a:lnTo>
                      <a:pt x="8" y="317"/>
                    </a:lnTo>
                    <a:lnTo>
                      <a:pt x="4" y="309"/>
                    </a:lnTo>
                    <a:lnTo>
                      <a:pt x="8" y="309"/>
                    </a:lnTo>
                    <a:lnTo>
                      <a:pt x="13" y="309"/>
                    </a:lnTo>
                    <a:lnTo>
                      <a:pt x="17" y="304"/>
                    </a:lnTo>
                    <a:lnTo>
                      <a:pt x="17" y="295"/>
                    </a:lnTo>
                    <a:lnTo>
                      <a:pt x="17" y="291"/>
                    </a:lnTo>
                    <a:lnTo>
                      <a:pt x="13" y="282"/>
                    </a:lnTo>
                    <a:lnTo>
                      <a:pt x="13" y="278"/>
                    </a:lnTo>
                    <a:lnTo>
                      <a:pt x="13" y="274"/>
                    </a:lnTo>
                    <a:lnTo>
                      <a:pt x="13" y="269"/>
                    </a:lnTo>
                    <a:lnTo>
                      <a:pt x="13" y="265"/>
                    </a:lnTo>
                    <a:lnTo>
                      <a:pt x="8" y="265"/>
                    </a:lnTo>
                    <a:lnTo>
                      <a:pt x="4" y="265"/>
                    </a:lnTo>
                    <a:lnTo>
                      <a:pt x="4" y="261"/>
                    </a:lnTo>
                    <a:lnTo>
                      <a:pt x="0" y="261"/>
                    </a:lnTo>
                    <a:lnTo>
                      <a:pt x="4" y="256"/>
                    </a:lnTo>
                    <a:lnTo>
                      <a:pt x="4" y="252"/>
                    </a:lnTo>
                    <a:lnTo>
                      <a:pt x="26" y="248"/>
                    </a:lnTo>
                    <a:lnTo>
                      <a:pt x="34" y="243"/>
                    </a:lnTo>
                    <a:lnTo>
                      <a:pt x="43" y="239"/>
                    </a:lnTo>
                    <a:lnTo>
                      <a:pt x="52" y="239"/>
                    </a:lnTo>
                    <a:lnTo>
                      <a:pt x="56" y="239"/>
                    </a:lnTo>
                    <a:lnTo>
                      <a:pt x="56" y="243"/>
                    </a:lnTo>
                    <a:lnTo>
                      <a:pt x="73" y="243"/>
                    </a:lnTo>
                    <a:lnTo>
                      <a:pt x="78" y="239"/>
                    </a:lnTo>
                    <a:lnTo>
                      <a:pt x="82" y="239"/>
                    </a:lnTo>
                    <a:lnTo>
                      <a:pt x="91" y="230"/>
                    </a:lnTo>
                    <a:lnTo>
                      <a:pt x="95" y="222"/>
                    </a:lnTo>
                    <a:lnTo>
                      <a:pt x="100" y="217"/>
                    </a:lnTo>
                    <a:lnTo>
                      <a:pt x="104" y="217"/>
                    </a:lnTo>
                    <a:lnTo>
                      <a:pt x="113" y="213"/>
                    </a:lnTo>
                    <a:lnTo>
                      <a:pt x="117" y="213"/>
                    </a:lnTo>
                    <a:lnTo>
                      <a:pt x="117" y="217"/>
                    </a:lnTo>
                    <a:lnTo>
                      <a:pt x="121" y="217"/>
                    </a:lnTo>
                    <a:lnTo>
                      <a:pt x="126" y="217"/>
                    </a:lnTo>
                    <a:lnTo>
                      <a:pt x="130" y="217"/>
                    </a:lnTo>
                    <a:lnTo>
                      <a:pt x="130" y="213"/>
                    </a:lnTo>
                    <a:lnTo>
                      <a:pt x="130" y="209"/>
                    </a:lnTo>
                    <a:lnTo>
                      <a:pt x="130" y="200"/>
                    </a:lnTo>
                    <a:lnTo>
                      <a:pt x="130" y="195"/>
                    </a:lnTo>
                    <a:lnTo>
                      <a:pt x="130" y="191"/>
                    </a:lnTo>
                    <a:lnTo>
                      <a:pt x="130" y="187"/>
                    </a:lnTo>
                    <a:lnTo>
                      <a:pt x="134" y="187"/>
                    </a:lnTo>
                    <a:lnTo>
                      <a:pt x="134" y="182"/>
                    </a:lnTo>
                    <a:lnTo>
                      <a:pt x="130" y="174"/>
                    </a:lnTo>
                    <a:lnTo>
                      <a:pt x="130" y="165"/>
                    </a:lnTo>
                    <a:lnTo>
                      <a:pt x="126" y="165"/>
                    </a:lnTo>
                    <a:lnTo>
                      <a:pt x="121" y="165"/>
                    </a:lnTo>
                    <a:lnTo>
                      <a:pt x="117" y="161"/>
                    </a:lnTo>
                    <a:lnTo>
                      <a:pt x="117" y="156"/>
                    </a:lnTo>
                    <a:lnTo>
                      <a:pt x="113" y="156"/>
                    </a:lnTo>
                    <a:lnTo>
                      <a:pt x="108" y="156"/>
                    </a:lnTo>
                    <a:lnTo>
                      <a:pt x="104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0" y="148"/>
                    </a:lnTo>
                    <a:lnTo>
                      <a:pt x="95" y="143"/>
                    </a:lnTo>
                    <a:lnTo>
                      <a:pt x="91" y="139"/>
                    </a:lnTo>
                    <a:lnTo>
                      <a:pt x="86" y="139"/>
                    </a:lnTo>
                    <a:lnTo>
                      <a:pt x="86" y="122"/>
                    </a:lnTo>
                    <a:lnTo>
                      <a:pt x="91" y="117"/>
                    </a:lnTo>
                    <a:lnTo>
                      <a:pt x="91" y="113"/>
                    </a:lnTo>
                    <a:lnTo>
                      <a:pt x="86" y="100"/>
                    </a:lnTo>
                    <a:lnTo>
                      <a:pt x="82" y="95"/>
                    </a:lnTo>
                    <a:lnTo>
                      <a:pt x="78" y="87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78"/>
                    </a:lnTo>
                    <a:lnTo>
                      <a:pt x="82" y="74"/>
                    </a:lnTo>
                    <a:lnTo>
                      <a:pt x="82" y="69"/>
                    </a:lnTo>
                    <a:lnTo>
                      <a:pt x="86" y="65"/>
                    </a:lnTo>
                    <a:lnTo>
                      <a:pt x="95" y="65"/>
                    </a:lnTo>
                    <a:lnTo>
                      <a:pt x="100" y="65"/>
                    </a:lnTo>
                    <a:lnTo>
                      <a:pt x="104" y="65"/>
                    </a:lnTo>
                    <a:lnTo>
                      <a:pt x="104" y="61"/>
                    </a:lnTo>
                    <a:lnTo>
                      <a:pt x="108" y="61"/>
                    </a:lnTo>
                    <a:lnTo>
                      <a:pt x="113" y="61"/>
                    </a:lnTo>
                    <a:lnTo>
                      <a:pt x="117" y="61"/>
                    </a:lnTo>
                    <a:lnTo>
                      <a:pt x="121" y="61"/>
                    </a:lnTo>
                    <a:lnTo>
                      <a:pt x="126" y="56"/>
                    </a:lnTo>
                    <a:lnTo>
                      <a:pt x="126" y="52"/>
                    </a:lnTo>
                    <a:lnTo>
                      <a:pt x="121" y="52"/>
                    </a:lnTo>
                    <a:lnTo>
                      <a:pt x="121" y="48"/>
                    </a:lnTo>
                    <a:lnTo>
                      <a:pt x="117" y="43"/>
                    </a:lnTo>
                    <a:lnTo>
                      <a:pt x="117" y="39"/>
                    </a:lnTo>
                    <a:lnTo>
                      <a:pt x="113" y="39"/>
                    </a:lnTo>
                    <a:lnTo>
                      <a:pt x="104" y="35"/>
                    </a:lnTo>
                    <a:lnTo>
                      <a:pt x="100" y="39"/>
                    </a:lnTo>
                    <a:lnTo>
                      <a:pt x="95" y="39"/>
                    </a:lnTo>
                    <a:lnTo>
                      <a:pt x="91" y="35"/>
                    </a:lnTo>
                    <a:lnTo>
                      <a:pt x="95" y="30"/>
                    </a:lnTo>
                    <a:lnTo>
                      <a:pt x="95" y="26"/>
                    </a:lnTo>
                    <a:lnTo>
                      <a:pt x="91" y="22"/>
                    </a:lnTo>
                    <a:lnTo>
                      <a:pt x="86" y="22"/>
                    </a:lnTo>
                    <a:lnTo>
                      <a:pt x="82" y="22"/>
                    </a:lnTo>
                    <a:lnTo>
                      <a:pt x="78" y="22"/>
                    </a:lnTo>
                    <a:lnTo>
                      <a:pt x="69" y="17"/>
                    </a:lnTo>
                    <a:lnTo>
                      <a:pt x="69" y="13"/>
                    </a:lnTo>
                    <a:lnTo>
                      <a:pt x="73" y="9"/>
                    </a:lnTo>
                    <a:lnTo>
                      <a:pt x="78" y="9"/>
                    </a:lnTo>
                    <a:lnTo>
                      <a:pt x="82" y="9"/>
                    </a:lnTo>
                    <a:lnTo>
                      <a:pt x="100" y="9"/>
                    </a:lnTo>
                    <a:lnTo>
                      <a:pt x="104" y="9"/>
                    </a:lnTo>
                    <a:lnTo>
                      <a:pt x="117" y="9"/>
                    </a:lnTo>
                    <a:lnTo>
                      <a:pt x="121" y="13"/>
                    </a:lnTo>
                    <a:lnTo>
                      <a:pt x="126" y="13"/>
                    </a:lnTo>
                    <a:lnTo>
                      <a:pt x="130" y="13"/>
                    </a:lnTo>
                    <a:lnTo>
                      <a:pt x="139" y="13"/>
                    </a:lnTo>
                    <a:lnTo>
                      <a:pt x="143" y="13"/>
                    </a:lnTo>
                    <a:lnTo>
                      <a:pt x="143" y="9"/>
                    </a:lnTo>
                    <a:lnTo>
                      <a:pt x="147" y="9"/>
                    </a:lnTo>
                    <a:lnTo>
                      <a:pt x="147" y="4"/>
                    </a:lnTo>
                    <a:lnTo>
                      <a:pt x="152" y="4"/>
                    </a:lnTo>
                    <a:lnTo>
                      <a:pt x="152" y="9"/>
                    </a:lnTo>
                    <a:lnTo>
                      <a:pt x="156" y="13"/>
                    </a:lnTo>
                    <a:lnTo>
                      <a:pt x="160" y="13"/>
                    </a:lnTo>
                    <a:lnTo>
                      <a:pt x="165" y="13"/>
                    </a:lnTo>
                    <a:lnTo>
                      <a:pt x="169" y="9"/>
                    </a:lnTo>
                    <a:lnTo>
                      <a:pt x="173" y="9"/>
                    </a:lnTo>
                    <a:lnTo>
                      <a:pt x="178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7" y="9"/>
                    </a:lnTo>
                    <a:lnTo>
                      <a:pt x="191" y="13"/>
                    </a:lnTo>
                    <a:lnTo>
                      <a:pt x="195" y="22"/>
                    </a:lnTo>
                    <a:lnTo>
                      <a:pt x="200" y="26"/>
                    </a:lnTo>
                    <a:lnTo>
                      <a:pt x="226" y="52"/>
                    </a:lnTo>
                    <a:lnTo>
                      <a:pt x="230" y="52"/>
                    </a:lnTo>
                    <a:lnTo>
                      <a:pt x="234" y="52"/>
                    </a:lnTo>
                    <a:lnTo>
                      <a:pt x="239" y="56"/>
                    </a:lnTo>
                    <a:lnTo>
                      <a:pt x="243" y="56"/>
                    </a:lnTo>
                    <a:lnTo>
                      <a:pt x="243" y="61"/>
                    </a:lnTo>
                    <a:lnTo>
                      <a:pt x="247" y="61"/>
                    </a:lnTo>
                    <a:lnTo>
                      <a:pt x="252" y="61"/>
                    </a:lnTo>
                    <a:lnTo>
                      <a:pt x="256" y="65"/>
                    </a:lnTo>
                    <a:lnTo>
                      <a:pt x="265" y="65"/>
                    </a:lnTo>
                    <a:lnTo>
                      <a:pt x="273" y="69"/>
                    </a:lnTo>
                    <a:lnTo>
                      <a:pt x="278" y="69"/>
                    </a:lnTo>
                    <a:lnTo>
                      <a:pt x="287" y="69"/>
                    </a:lnTo>
                    <a:lnTo>
                      <a:pt x="295" y="69"/>
                    </a:lnTo>
                    <a:lnTo>
                      <a:pt x="300" y="69"/>
                    </a:lnTo>
                    <a:lnTo>
                      <a:pt x="304" y="69"/>
                    </a:lnTo>
                    <a:lnTo>
                      <a:pt x="308" y="69"/>
                    </a:lnTo>
                    <a:lnTo>
                      <a:pt x="313" y="69"/>
                    </a:lnTo>
                    <a:lnTo>
                      <a:pt x="317" y="69"/>
                    </a:lnTo>
                    <a:lnTo>
                      <a:pt x="330" y="65"/>
                    </a:lnTo>
                    <a:lnTo>
                      <a:pt x="339" y="61"/>
                    </a:lnTo>
                    <a:lnTo>
                      <a:pt x="352" y="61"/>
                    </a:lnTo>
                    <a:lnTo>
                      <a:pt x="356" y="65"/>
                    </a:lnTo>
                    <a:lnTo>
                      <a:pt x="360" y="69"/>
                    </a:lnTo>
                    <a:lnTo>
                      <a:pt x="365" y="69"/>
                    </a:lnTo>
                    <a:lnTo>
                      <a:pt x="369" y="69"/>
                    </a:lnTo>
                    <a:lnTo>
                      <a:pt x="373" y="69"/>
                    </a:lnTo>
                    <a:lnTo>
                      <a:pt x="373" y="65"/>
                    </a:lnTo>
                    <a:lnTo>
                      <a:pt x="378" y="61"/>
                    </a:lnTo>
                    <a:lnTo>
                      <a:pt x="382" y="61"/>
                    </a:lnTo>
                    <a:lnTo>
                      <a:pt x="382" y="56"/>
                    </a:lnTo>
                    <a:lnTo>
                      <a:pt x="387" y="56"/>
                    </a:lnTo>
                    <a:lnTo>
                      <a:pt x="391" y="61"/>
                    </a:lnTo>
                    <a:lnTo>
                      <a:pt x="391" y="74"/>
                    </a:lnTo>
                    <a:lnTo>
                      <a:pt x="391" y="82"/>
                    </a:lnTo>
                    <a:lnTo>
                      <a:pt x="404" y="104"/>
                    </a:lnTo>
                    <a:lnTo>
                      <a:pt x="413" y="113"/>
                    </a:lnTo>
                    <a:lnTo>
                      <a:pt x="417" y="113"/>
                    </a:lnTo>
                    <a:lnTo>
                      <a:pt x="417" y="109"/>
                    </a:lnTo>
                    <a:lnTo>
                      <a:pt x="421" y="109"/>
                    </a:lnTo>
                    <a:lnTo>
                      <a:pt x="421" y="104"/>
                    </a:lnTo>
                    <a:lnTo>
                      <a:pt x="426" y="104"/>
                    </a:lnTo>
                    <a:lnTo>
                      <a:pt x="434" y="104"/>
                    </a:lnTo>
                    <a:lnTo>
                      <a:pt x="434" y="109"/>
                    </a:lnTo>
                    <a:lnTo>
                      <a:pt x="439" y="109"/>
                    </a:lnTo>
                    <a:lnTo>
                      <a:pt x="439" y="113"/>
                    </a:lnTo>
                    <a:lnTo>
                      <a:pt x="447" y="109"/>
                    </a:lnTo>
                    <a:lnTo>
                      <a:pt x="452" y="109"/>
                    </a:lnTo>
                    <a:lnTo>
                      <a:pt x="456" y="109"/>
                    </a:lnTo>
                    <a:lnTo>
                      <a:pt x="456" y="113"/>
                    </a:lnTo>
                    <a:lnTo>
                      <a:pt x="452" y="117"/>
                    </a:lnTo>
                    <a:lnTo>
                      <a:pt x="456" y="122"/>
                    </a:lnTo>
                    <a:lnTo>
                      <a:pt x="474" y="130"/>
                    </a:lnTo>
                    <a:lnTo>
                      <a:pt x="491" y="126"/>
                    </a:lnTo>
                    <a:lnTo>
                      <a:pt x="495" y="126"/>
                    </a:lnTo>
                    <a:lnTo>
                      <a:pt x="495" y="122"/>
                    </a:lnTo>
                    <a:lnTo>
                      <a:pt x="500" y="117"/>
                    </a:lnTo>
                    <a:lnTo>
                      <a:pt x="504" y="122"/>
                    </a:lnTo>
                    <a:lnTo>
                      <a:pt x="504" y="126"/>
                    </a:lnTo>
                    <a:lnTo>
                      <a:pt x="508" y="130"/>
                    </a:lnTo>
                    <a:lnTo>
                      <a:pt x="513" y="130"/>
                    </a:lnTo>
                    <a:lnTo>
                      <a:pt x="517" y="130"/>
                    </a:lnTo>
                    <a:lnTo>
                      <a:pt x="517" y="135"/>
                    </a:lnTo>
                    <a:lnTo>
                      <a:pt x="530" y="143"/>
                    </a:lnTo>
                    <a:lnTo>
                      <a:pt x="539" y="143"/>
                    </a:lnTo>
                    <a:lnTo>
                      <a:pt x="547" y="148"/>
                    </a:lnTo>
                    <a:lnTo>
                      <a:pt x="552" y="152"/>
                    </a:lnTo>
                    <a:lnTo>
                      <a:pt x="569" y="156"/>
                    </a:lnTo>
                    <a:lnTo>
                      <a:pt x="574" y="161"/>
                    </a:lnTo>
                    <a:lnTo>
                      <a:pt x="569" y="161"/>
                    </a:lnTo>
                    <a:lnTo>
                      <a:pt x="565" y="169"/>
                    </a:lnTo>
                    <a:lnTo>
                      <a:pt x="560" y="169"/>
                    </a:lnTo>
                    <a:lnTo>
                      <a:pt x="560" y="174"/>
                    </a:lnTo>
                    <a:lnTo>
                      <a:pt x="556" y="182"/>
                    </a:lnTo>
                    <a:lnTo>
                      <a:pt x="556" y="187"/>
                    </a:lnTo>
                    <a:lnTo>
                      <a:pt x="556" y="191"/>
                    </a:lnTo>
                    <a:lnTo>
                      <a:pt x="560" y="195"/>
                    </a:lnTo>
                    <a:lnTo>
                      <a:pt x="565" y="195"/>
                    </a:lnTo>
                    <a:lnTo>
                      <a:pt x="565" y="200"/>
                    </a:lnTo>
                    <a:lnTo>
                      <a:pt x="569" y="200"/>
                    </a:lnTo>
                    <a:lnTo>
                      <a:pt x="569" y="204"/>
                    </a:lnTo>
                    <a:lnTo>
                      <a:pt x="569" y="209"/>
                    </a:lnTo>
                    <a:lnTo>
                      <a:pt x="569" y="213"/>
                    </a:lnTo>
                    <a:lnTo>
                      <a:pt x="565" y="213"/>
                    </a:lnTo>
                    <a:lnTo>
                      <a:pt x="569" y="222"/>
                    </a:lnTo>
                    <a:lnTo>
                      <a:pt x="574" y="222"/>
                    </a:lnTo>
                    <a:lnTo>
                      <a:pt x="582" y="226"/>
                    </a:lnTo>
                    <a:lnTo>
                      <a:pt x="582" y="230"/>
                    </a:lnTo>
                    <a:lnTo>
                      <a:pt x="587" y="239"/>
                    </a:lnTo>
                    <a:lnTo>
                      <a:pt x="587" y="243"/>
                    </a:lnTo>
                    <a:lnTo>
                      <a:pt x="587" y="248"/>
                    </a:lnTo>
                    <a:lnTo>
                      <a:pt x="591" y="256"/>
                    </a:lnTo>
                    <a:lnTo>
                      <a:pt x="591" y="261"/>
                    </a:lnTo>
                    <a:lnTo>
                      <a:pt x="587" y="265"/>
                    </a:lnTo>
                    <a:lnTo>
                      <a:pt x="582" y="269"/>
                    </a:lnTo>
                    <a:lnTo>
                      <a:pt x="578" y="269"/>
                    </a:lnTo>
                    <a:lnTo>
                      <a:pt x="574" y="269"/>
                    </a:lnTo>
                    <a:lnTo>
                      <a:pt x="565" y="269"/>
                    </a:lnTo>
                    <a:lnTo>
                      <a:pt x="565" y="265"/>
                    </a:lnTo>
                    <a:lnTo>
                      <a:pt x="560" y="265"/>
                    </a:lnTo>
                    <a:lnTo>
                      <a:pt x="556" y="265"/>
                    </a:lnTo>
                    <a:lnTo>
                      <a:pt x="556" y="261"/>
                    </a:lnTo>
                    <a:lnTo>
                      <a:pt x="543" y="265"/>
                    </a:lnTo>
                    <a:lnTo>
                      <a:pt x="539" y="269"/>
                    </a:lnTo>
                    <a:lnTo>
                      <a:pt x="539" y="274"/>
                    </a:lnTo>
                    <a:lnTo>
                      <a:pt x="539" y="278"/>
                    </a:lnTo>
                    <a:lnTo>
                      <a:pt x="539" y="282"/>
                    </a:lnTo>
                    <a:lnTo>
                      <a:pt x="534" y="282"/>
                    </a:lnTo>
                    <a:lnTo>
                      <a:pt x="534" y="287"/>
                    </a:lnTo>
                    <a:lnTo>
                      <a:pt x="530" y="287"/>
                    </a:lnTo>
                    <a:lnTo>
                      <a:pt x="526" y="287"/>
                    </a:lnTo>
                    <a:lnTo>
                      <a:pt x="526" y="282"/>
                    </a:lnTo>
                    <a:lnTo>
                      <a:pt x="521" y="282"/>
                    </a:lnTo>
                    <a:lnTo>
                      <a:pt x="513" y="287"/>
                    </a:lnTo>
                    <a:lnTo>
                      <a:pt x="517" y="287"/>
                    </a:lnTo>
                    <a:lnTo>
                      <a:pt x="517" y="291"/>
                    </a:lnTo>
                    <a:lnTo>
                      <a:pt x="517" y="295"/>
                    </a:lnTo>
                    <a:lnTo>
                      <a:pt x="508" y="295"/>
                    </a:lnTo>
                    <a:lnTo>
                      <a:pt x="500" y="300"/>
                    </a:lnTo>
                    <a:lnTo>
                      <a:pt x="500" y="304"/>
                    </a:lnTo>
                    <a:lnTo>
                      <a:pt x="495" y="309"/>
                    </a:lnTo>
                    <a:lnTo>
                      <a:pt x="495" y="313"/>
                    </a:lnTo>
                    <a:lnTo>
                      <a:pt x="491" y="313"/>
                    </a:lnTo>
                    <a:lnTo>
                      <a:pt x="482" y="313"/>
                    </a:lnTo>
                    <a:lnTo>
                      <a:pt x="478" y="317"/>
                    </a:lnTo>
                    <a:lnTo>
                      <a:pt x="474" y="317"/>
                    </a:lnTo>
                    <a:lnTo>
                      <a:pt x="469" y="322"/>
                    </a:lnTo>
                    <a:lnTo>
                      <a:pt x="460" y="322"/>
                    </a:lnTo>
                    <a:lnTo>
                      <a:pt x="460" y="317"/>
                    </a:lnTo>
                    <a:lnTo>
                      <a:pt x="456" y="317"/>
                    </a:lnTo>
                    <a:lnTo>
                      <a:pt x="452" y="322"/>
                    </a:lnTo>
                    <a:lnTo>
                      <a:pt x="456" y="326"/>
                    </a:lnTo>
                    <a:lnTo>
                      <a:pt x="447" y="330"/>
                    </a:lnTo>
                    <a:lnTo>
                      <a:pt x="443" y="330"/>
                    </a:lnTo>
                    <a:lnTo>
                      <a:pt x="443" y="335"/>
                    </a:lnTo>
                    <a:lnTo>
                      <a:pt x="439" y="335"/>
                    </a:lnTo>
                    <a:lnTo>
                      <a:pt x="434" y="339"/>
                    </a:lnTo>
                    <a:lnTo>
                      <a:pt x="434" y="343"/>
                    </a:lnTo>
                    <a:lnTo>
                      <a:pt x="430" y="343"/>
                    </a:lnTo>
                    <a:lnTo>
                      <a:pt x="430" y="348"/>
                    </a:lnTo>
                    <a:lnTo>
                      <a:pt x="413" y="339"/>
                    </a:lnTo>
                    <a:lnTo>
                      <a:pt x="413" y="335"/>
                    </a:lnTo>
                    <a:lnTo>
                      <a:pt x="408" y="335"/>
                    </a:lnTo>
                    <a:lnTo>
                      <a:pt x="408" y="330"/>
                    </a:lnTo>
                    <a:lnTo>
                      <a:pt x="404" y="330"/>
                    </a:lnTo>
                    <a:lnTo>
                      <a:pt x="404" y="326"/>
                    </a:lnTo>
                    <a:lnTo>
                      <a:pt x="408" y="317"/>
                    </a:lnTo>
                    <a:lnTo>
                      <a:pt x="413" y="317"/>
                    </a:lnTo>
                    <a:lnTo>
                      <a:pt x="413" y="313"/>
                    </a:lnTo>
                    <a:lnTo>
                      <a:pt x="408" y="300"/>
                    </a:lnTo>
                    <a:lnTo>
                      <a:pt x="408" y="295"/>
                    </a:lnTo>
                    <a:lnTo>
                      <a:pt x="404" y="295"/>
                    </a:lnTo>
                    <a:lnTo>
                      <a:pt x="400" y="295"/>
                    </a:lnTo>
                    <a:lnTo>
                      <a:pt x="395" y="295"/>
                    </a:lnTo>
                    <a:lnTo>
                      <a:pt x="395" y="287"/>
                    </a:lnTo>
                    <a:lnTo>
                      <a:pt x="400" y="282"/>
                    </a:lnTo>
                    <a:lnTo>
                      <a:pt x="400" y="278"/>
                    </a:lnTo>
                    <a:lnTo>
                      <a:pt x="395" y="282"/>
                    </a:lnTo>
                    <a:lnTo>
                      <a:pt x="391" y="287"/>
                    </a:lnTo>
                    <a:lnTo>
                      <a:pt x="387" y="291"/>
                    </a:lnTo>
                    <a:lnTo>
                      <a:pt x="382" y="295"/>
                    </a:lnTo>
                    <a:lnTo>
                      <a:pt x="373" y="309"/>
                    </a:lnTo>
                    <a:lnTo>
                      <a:pt x="369" y="313"/>
                    </a:lnTo>
                    <a:lnTo>
                      <a:pt x="369" y="317"/>
                    </a:lnTo>
                    <a:lnTo>
                      <a:pt x="365" y="322"/>
                    </a:lnTo>
                    <a:lnTo>
                      <a:pt x="360" y="313"/>
                    </a:lnTo>
                    <a:lnTo>
                      <a:pt x="356" y="313"/>
                    </a:lnTo>
                    <a:lnTo>
                      <a:pt x="356" y="317"/>
                    </a:lnTo>
                    <a:lnTo>
                      <a:pt x="352" y="317"/>
                    </a:lnTo>
                    <a:lnTo>
                      <a:pt x="352" y="309"/>
                    </a:lnTo>
                    <a:lnTo>
                      <a:pt x="347" y="309"/>
                    </a:lnTo>
                    <a:lnTo>
                      <a:pt x="347" y="304"/>
                    </a:lnTo>
                    <a:lnTo>
                      <a:pt x="352" y="300"/>
                    </a:lnTo>
                    <a:lnTo>
                      <a:pt x="356" y="300"/>
                    </a:lnTo>
                    <a:lnTo>
                      <a:pt x="356" y="295"/>
                    </a:lnTo>
                    <a:lnTo>
                      <a:pt x="356" y="291"/>
                    </a:lnTo>
                    <a:lnTo>
                      <a:pt x="352" y="295"/>
                    </a:lnTo>
                    <a:lnTo>
                      <a:pt x="352" y="300"/>
                    </a:lnTo>
                    <a:lnTo>
                      <a:pt x="347" y="295"/>
                    </a:lnTo>
                    <a:lnTo>
                      <a:pt x="347" y="291"/>
                    </a:lnTo>
                    <a:lnTo>
                      <a:pt x="343" y="291"/>
                    </a:lnTo>
                    <a:lnTo>
                      <a:pt x="339" y="295"/>
                    </a:lnTo>
                    <a:lnTo>
                      <a:pt x="339" y="300"/>
                    </a:lnTo>
                    <a:lnTo>
                      <a:pt x="330" y="304"/>
                    </a:lnTo>
                    <a:lnTo>
                      <a:pt x="330" y="309"/>
                    </a:lnTo>
                    <a:lnTo>
                      <a:pt x="326" y="309"/>
                    </a:lnTo>
                    <a:lnTo>
                      <a:pt x="321" y="309"/>
                    </a:lnTo>
                    <a:lnTo>
                      <a:pt x="321" y="304"/>
                    </a:lnTo>
                    <a:lnTo>
                      <a:pt x="317" y="304"/>
                    </a:lnTo>
                    <a:lnTo>
                      <a:pt x="313" y="309"/>
                    </a:lnTo>
                    <a:lnTo>
                      <a:pt x="308" y="313"/>
                    </a:lnTo>
                    <a:lnTo>
                      <a:pt x="304" y="317"/>
                    </a:lnTo>
                    <a:lnTo>
                      <a:pt x="300" y="309"/>
                    </a:lnTo>
                    <a:lnTo>
                      <a:pt x="295" y="304"/>
                    </a:lnTo>
                    <a:lnTo>
                      <a:pt x="291" y="304"/>
                    </a:lnTo>
                    <a:lnTo>
                      <a:pt x="287" y="300"/>
                    </a:lnTo>
                    <a:lnTo>
                      <a:pt x="278" y="295"/>
                    </a:lnTo>
                    <a:lnTo>
                      <a:pt x="278" y="291"/>
                    </a:lnTo>
                    <a:lnTo>
                      <a:pt x="273" y="291"/>
                    </a:lnTo>
                    <a:lnTo>
                      <a:pt x="265" y="287"/>
                    </a:lnTo>
                    <a:lnTo>
                      <a:pt x="256" y="287"/>
                    </a:lnTo>
                    <a:lnTo>
                      <a:pt x="247" y="287"/>
                    </a:lnTo>
                    <a:lnTo>
                      <a:pt x="230" y="287"/>
                    </a:lnTo>
                    <a:lnTo>
                      <a:pt x="226" y="282"/>
                    </a:lnTo>
                    <a:lnTo>
                      <a:pt x="221" y="278"/>
                    </a:lnTo>
                    <a:lnTo>
                      <a:pt x="217" y="278"/>
                    </a:lnTo>
                    <a:lnTo>
                      <a:pt x="208" y="278"/>
                    </a:lnTo>
                    <a:lnTo>
                      <a:pt x="200" y="278"/>
                    </a:lnTo>
                    <a:lnTo>
                      <a:pt x="195" y="278"/>
                    </a:lnTo>
                    <a:lnTo>
                      <a:pt x="195" y="274"/>
                    </a:lnTo>
                    <a:lnTo>
                      <a:pt x="191" y="274"/>
                    </a:lnTo>
                    <a:lnTo>
                      <a:pt x="187" y="274"/>
                    </a:lnTo>
                    <a:lnTo>
                      <a:pt x="182" y="278"/>
                    </a:lnTo>
                    <a:lnTo>
                      <a:pt x="178" y="278"/>
                    </a:lnTo>
                    <a:lnTo>
                      <a:pt x="173" y="282"/>
                    </a:lnTo>
                    <a:lnTo>
                      <a:pt x="169" y="282"/>
                    </a:lnTo>
                    <a:lnTo>
                      <a:pt x="165" y="282"/>
                    </a:lnTo>
                    <a:lnTo>
                      <a:pt x="160" y="287"/>
                    </a:lnTo>
                    <a:lnTo>
                      <a:pt x="160" y="291"/>
                    </a:lnTo>
                    <a:lnTo>
                      <a:pt x="169" y="300"/>
                    </a:lnTo>
                    <a:lnTo>
                      <a:pt x="173" y="300"/>
                    </a:lnTo>
                    <a:lnTo>
                      <a:pt x="178" y="300"/>
                    </a:lnTo>
                    <a:lnTo>
                      <a:pt x="178" y="304"/>
                    </a:lnTo>
                    <a:lnTo>
                      <a:pt x="178" y="309"/>
                    </a:lnTo>
                    <a:lnTo>
                      <a:pt x="173" y="309"/>
                    </a:lnTo>
                    <a:lnTo>
                      <a:pt x="169" y="309"/>
                    </a:lnTo>
                    <a:lnTo>
                      <a:pt x="165" y="313"/>
                    </a:lnTo>
                    <a:lnTo>
                      <a:pt x="165" y="317"/>
                    </a:lnTo>
                    <a:lnTo>
                      <a:pt x="160" y="317"/>
                    </a:lnTo>
                    <a:lnTo>
                      <a:pt x="160" y="322"/>
                    </a:lnTo>
                    <a:lnTo>
                      <a:pt x="156" y="322"/>
                    </a:lnTo>
                    <a:lnTo>
                      <a:pt x="152" y="317"/>
                    </a:lnTo>
                    <a:lnTo>
                      <a:pt x="152" y="313"/>
                    </a:lnTo>
                    <a:lnTo>
                      <a:pt x="147" y="317"/>
                    </a:lnTo>
                    <a:lnTo>
                      <a:pt x="143" y="322"/>
                    </a:lnTo>
                    <a:lnTo>
                      <a:pt x="139" y="322"/>
                    </a:lnTo>
                    <a:lnTo>
                      <a:pt x="139" y="317"/>
                    </a:lnTo>
                    <a:lnTo>
                      <a:pt x="134" y="317"/>
                    </a:lnTo>
                    <a:lnTo>
                      <a:pt x="134" y="313"/>
                    </a:lnTo>
                    <a:lnTo>
                      <a:pt x="134" y="309"/>
                    </a:lnTo>
                    <a:lnTo>
                      <a:pt x="130" y="309"/>
                    </a:lnTo>
                    <a:lnTo>
                      <a:pt x="117" y="309"/>
                    </a:lnTo>
                    <a:lnTo>
                      <a:pt x="113" y="309"/>
                    </a:lnTo>
                    <a:lnTo>
                      <a:pt x="113" y="313"/>
                    </a:lnTo>
                    <a:lnTo>
                      <a:pt x="108" y="317"/>
                    </a:lnTo>
                    <a:lnTo>
                      <a:pt x="95" y="326"/>
                    </a:lnTo>
                    <a:lnTo>
                      <a:pt x="86" y="330"/>
                    </a:lnTo>
                    <a:lnTo>
                      <a:pt x="82" y="339"/>
                    </a:lnTo>
                    <a:lnTo>
                      <a:pt x="78" y="352"/>
                    </a:lnTo>
                    <a:lnTo>
                      <a:pt x="73" y="361"/>
                    </a:lnTo>
                    <a:lnTo>
                      <a:pt x="73" y="365"/>
                    </a:lnTo>
                    <a:lnTo>
                      <a:pt x="73" y="369"/>
                    </a:lnTo>
                    <a:lnTo>
                      <a:pt x="73" y="37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2" name="Freeform 40">
                <a:extLst>
                  <a:ext uri="{FF2B5EF4-FFF2-40B4-BE49-F238E27FC236}">
                    <a16:creationId xmlns:a16="http://schemas.microsoft.com/office/drawing/2014/main" id="{924C21A7-7C4F-7B28-E7EC-1A338194101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64807" y="4655470"/>
                <a:ext cx="754441" cy="785813"/>
              </a:xfrm>
              <a:custGeom>
                <a:avLst/>
                <a:gdLst>
                  <a:gd name="T0" fmla="*/ 39 w 435"/>
                  <a:gd name="T1" fmla="*/ 339 h 478"/>
                  <a:gd name="T2" fmla="*/ 48 w 435"/>
                  <a:gd name="T3" fmla="*/ 313 h 478"/>
                  <a:gd name="T4" fmla="*/ 22 w 435"/>
                  <a:gd name="T5" fmla="*/ 269 h 478"/>
                  <a:gd name="T6" fmla="*/ 9 w 435"/>
                  <a:gd name="T7" fmla="*/ 261 h 478"/>
                  <a:gd name="T8" fmla="*/ 44 w 435"/>
                  <a:gd name="T9" fmla="*/ 230 h 478"/>
                  <a:gd name="T10" fmla="*/ 35 w 435"/>
                  <a:gd name="T11" fmla="*/ 204 h 478"/>
                  <a:gd name="T12" fmla="*/ 35 w 435"/>
                  <a:gd name="T13" fmla="*/ 169 h 478"/>
                  <a:gd name="T14" fmla="*/ 26 w 435"/>
                  <a:gd name="T15" fmla="*/ 108 h 478"/>
                  <a:gd name="T16" fmla="*/ 39 w 435"/>
                  <a:gd name="T17" fmla="*/ 56 h 478"/>
                  <a:gd name="T18" fmla="*/ 70 w 435"/>
                  <a:gd name="T19" fmla="*/ 35 h 478"/>
                  <a:gd name="T20" fmla="*/ 92 w 435"/>
                  <a:gd name="T21" fmla="*/ 43 h 478"/>
                  <a:gd name="T22" fmla="*/ 113 w 435"/>
                  <a:gd name="T23" fmla="*/ 48 h 478"/>
                  <a:gd name="T24" fmla="*/ 131 w 435"/>
                  <a:gd name="T25" fmla="*/ 35 h 478"/>
                  <a:gd name="T26" fmla="*/ 113 w 435"/>
                  <a:gd name="T27" fmla="*/ 13 h 478"/>
                  <a:gd name="T28" fmla="*/ 135 w 435"/>
                  <a:gd name="T29" fmla="*/ 4 h 478"/>
                  <a:gd name="T30" fmla="*/ 161 w 435"/>
                  <a:gd name="T31" fmla="*/ 4 h 478"/>
                  <a:gd name="T32" fmla="*/ 209 w 435"/>
                  <a:gd name="T33" fmla="*/ 13 h 478"/>
                  <a:gd name="T34" fmla="*/ 253 w 435"/>
                  <a:gd name="T35" fmla="*/ 35 h 478"/>
                  <a:gd name="T36" fmla="*/ 274 w 435"/>
                  <a:gd name="T37" fmla="*/ 35 h 478"/>
                  <a:gd name="T38" fmla="*/ 300 w 435"/>
                  <a:gd name="T39" fmla="*/ 17 h 478"/>
                  <a:gd name="T40" fmla="*/ 309 w 435"/>
                  <a:gd name="T41" fmla="*/ 21 h 478"/>
                  <a:gd name="T42" fmla="*/ 309 w 435"/>
                  <a:gd name="T43" fmla="*/ 43 h 478"/>
                  <a:gd name="T44" fmla="*/ 326 w 435"/>
                  <a:gd name="T45" fmla="*/ 35 h 478"/>
                  <a:gd name="T46" fmla="*/ 353 w 435"/>
                  <a:gd name="T47" fmla="*/ 4 h 478"/>
                  <a:gd name="T48" fmla="*/ 361 w 435"/>
                  <a:gd name="T49" fmla="*/ 26 h 478"/>
                  <a:gd name="T50" fmla="*/ 361 w 435"/>
                  <a:gd name="T51" fmla="*/ 61 h 478"/>
                  <a:gd name="T52" fmla="*/ 392 w 435"/>
                  <a:gd name="T53" fmla="*/ 78 h 478"/>
                  <a:gd name="T54" fmla="*/ 405 w 435"/>
                  <a:gd name="T55" fmla="*/ 95 h 478"/>
                  <a:gd name="T56" fmla="*/ 413 w 435"/>
                  <a:gd name="T57" fmla="*/ 130 h 478"/>
                  <a:gd name="T58" fmla="*/ 400 w 435"/>
                  <a:gd name="T59" fmla="*/ 156 h 478"/>
                  <a:gd name="T60" fmla="*/ 379 w 435"/>
                  <a:gd name="T61" fmla="*/ 187 h 478"/>
                  <a:gd name="T62" fmla="*/ 387 w 435"/>
                  <a:gd name="T63" fmla="*/ 221 h 478"/>
                  <a:gd name="T64" fmla="*/ 396 w 435"/>
                  <a:gd name="T65" fmla="*/ 252 h 478"/>
                  <a:gd name="T66" fmla="*/ 405 w 435"/>
                  <a:gd name="T67" fmla="*/ 287 h 478"/>
                  <a:gd name="T68" fmla="*/ 413 w 435"/>
                  <a:gd name="T69" fmla="*/ 326 h 478"/>
                  <a:gd name="T70" fmla="*/ 435 w 435"/>
                  <a:gd name="T71" fmla="*/ 326 h 478"/>
                  <a:gd name="T72" fmla="*/ 422 w 435"/>
                  <a:gd name="T73" fmla="*/ 348 h 478"/>
                  <a:gd name="T74" fmla="*/ 418 w 435"/>
                  <a:gd name="T75" fmla="*/ 374 h 478"/>
                  <a:gd name="T76" fmla="*/ 413 w 435"/>
                  <a:gd name="T77" fmla="*/ 391 h 478"/>
                  <a:gd name="T78" fmla="*/ 370 w 435"/>
                  <a:gd name="T79" fmla="*/ 391 h 478"/>
                  <a:gd name="T80" fmla="*/ 348 w 435"/>
                  <a:gd name="T81" fmla="*/ 400 h 478"/>
                  <a:gd name="T82" fmla="*/ 344 w 435"/>
                  <a:gd name="T83" fmla="*/ 434 h 478"/>
                  <a:gd name="T84" fmla="*/ 322 w 435"/>
                  <a:gd name="T85" fmla="*/ 434 h 478"/>
                  <a:gd name="T86" fmla="*/ 287 w 435"/>
                  <a:gd name="T87" fmla="*/ 426 h 478"/>
                  <a:gd name="T88" fmla="*/ 270 w 435"/>
                  <a:gd name="T89" fmla="*/ 465 h 478"/>
                  <a:gd name="T90" fmla="*/ 244 w 435"/>
                  <a:gd name="T91" fmla="*/ 465 h 478"/>
                  <a:gd name="T92" fmla="*/ 222 w 435"/>
                  <a:gd name="T93" fmla="*/ 474 h 478"/>
                  <a:gd name="T94" fmla="*/ 218 w 435"/>
                  <a:gd name="T95" fmla="*/ 434 h 478"/>
                  <a:gd name="T96" fmla="*/ 183 w 435"/>
                  <a:gd name="T97" fmla="*/ 448 h 478"/>
                  <a:gd name="T98" fmla="*/ 196 w 435"/>
                  <a:gd name="T99" fmla="*/ 417 h 478"/>
                  <a:gd name="T100" fmla="*/ 209 w 435"/>
                  <a:gd name="T101" fmla="*/ 382 h 478"/>
                  <a:gd name="T102" fmla="*/ 205 w 435"/>
                  <a:gd name="T103" fmla="*/ 369 h 478"/>
                  <a:gd name="T104" fmla="*/ 196 w 435"/>
                  <a:gd name="T105" fmla="*/ 356 h 478"/>
                  <a:gd name="T106" fmla="*/ 174 w 435"/>
                  <a:gd name="T107" fmla="*/ 330 h 478"/>
                  <a:gd name="T108" fmla="*/ 153 w 435"/>
                  <a:gd name="T109" fmla="*/ 334 h 478"/>
                  <a:gd name="T110" fmla="*/ 126 w 435"/>
                  <a:gd name="T111" fmla="*/ 365 h 478"/>
                  <a:gd name="T112" fmla="*/ 100 w 435"/>
                  <a:gd name="T113" fmla="*/ 339 h 478"/>
                  <a:gd name="T114" fmla="*/ 87 w 435"/>
                  <a:gd name="T115" fmla="*/ 361 h 478"/>
                  <a:gd name="T116" fmla="*/ 74 w 435"/>
                  <a:gd name="T117" fmla="*/ 36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35" h="478">
                    <a:moveTo>
                      <a:pt x="57" y="365"/>
                    </a:moveTo>
                    <a:lnTo>
                      <a:pt x="53" y="365"/>
                    </a:lnTo>
                    <a:lnTo>
                      <a:pt x="53" y="361"/>
                    </a:lnTo>
                    <a:lnTo>
                      <a:pt x="53" y="352"/>
                    </a:lnTo>
                    <a:lnTo>
                      <a:pt x="53" y="348"/>
                    </a:lnTo>
                    <a:lnTo>
                      <a:pt x="44" y="343"/>
                    </a:lnTo>
                    <a:lnTo>
                      <a:pt x="44" y="343"/>
                    </a:lnTo>
                    <a:lnTo>
                      <a:pt x="39" y="339"/>
                    </a:lnTo>
                    <a:lnTo>
                      <a:pt x="39" y="339"/>
                    </a:lnTo>
                    <a:lnTo>
                      <a:pt x="44" y="330"/>
                    </a:lnTo>
                    <a:lnTo>
                      <a:pt x="44" y="326"/>
                    </a:lnTo>
                    <a:lnTo>
                      <a:pt x="48" y="326"/>
                    </a:lnTo>
                    <a:lnTo>
                      <a:pt x="48" y="321"/>
                    </a:lnTo>
                    <a:lnTo>
                      <a:pt x="48" y="317"/>
                    </a:lnTo>
                    <a:lnTo>
                      <a:pt x="48" y="317"/>
                    </a:lnTo>
                    <a:lnTo>
                      <a:pt x="48" y="313"/>
                    </a:lnTo>
                    <a:lnTo>
                      <a:pt x="44" y="308"/>
                    </a:lnTo>
                    <a:lnTo>
                      <a:pt x="48" y="304"/>
                    </a:lnTo>
                    <a:lnTo>
                      <a:pt x="57" y="295"/>
                    </a:lnTo>
                    <a:lnTo>
                      <a:pt x="57" y="274"/>
                    </a:lnTo>
                    <a:lnTo>
                      <a:pt x="48" y="269"/>
                    </a:lnTo>
                    <a:lnTo>
                      <a:pt x="48" y="265"/>
                    </a:lnTo>
                    <a:lnTo>
                      <a:pt x="22" y="269"/>
                    </a:lnTo>
                    <a:lnTo>
                      <a:pt x="22" y="269"/>
                    </a:lnTo>
                    <a:lnTo>
                      <a:pt x="13" y="274"/>
                    </a:lnTo>
                    <a:lnTo>
                      <a:pt x="13" y="274"/>
                    </a:lnTo>
                    <a:lnTo>
                      <a:pt x="9" y="278"/>
                    </a:lnTo>
                    <a:lnTo>
                      <a:pt x="9" y="278"/>
                    </a:lnTo>
                    <a:lnTo>
                      <a:pt x="5" y="278"/>
                    </a:lnTo>
                    <a:lnTo>
                      <a:pt x="5" y="278"/>
                    </a:lnTo>
                    <a:lnTo>
                      <a:pt x="0" y="274"/>
                    </a:lnTo>
                    <a:lnTo>
                      <a:pt x="9" y="261"/>
                    </a:lnTo>
                    <a:lnTo>
                      <a:pt x="13" y="261"/>
                    </a:lnTo>
                    <a:lnTo>
                      <a:pt x="13" y="261"/>
                    </a:lnTo>
                    <a:lnTo>
                      <a:pt x="18" y="256"/>
                    </a:lnTo>
                    <a:lnTo>
                      <a:pt x="22" y="252"/>
                    </a:lnTo>
                    <a:lnTo>
                      <a:pt x="22" y="243"/>
                    </a:lnTo>
                    <a:lnTo>
                      <a:pt x="26" y="243"/>
                    </a:lnTo>
                    <a:lnTo>
                      <a:pt x="35" y="239"/>
                    </a:lnTo>
                    <a:lnTo>
                      <a:pt x="44" y="230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8" y="221"/>
                    </a:lnTo>
                    <a:lnTo>
                      <a:pt x="44" y="217"/>
                    </a:lnTo>
                    <a:lnTo>
                      <a:pt x="44" y="213"/>
                    </a:lnTo>
                    <a:lnTo>
                      <a:pt x="39" y="213"/>
                    </a:lnTo>
                    <a:lnTo>
                      <a:pt x="39" y="208"/>
                    </a:lnTo>
                    <a:lnTo>
                      <a:pt x="35" y="204"/>
                    </a:lnTo>
                    <a:lnTo>
                      <a:pt x="35" y="187"/>
                    </a:lnTo>
                    <a:lnTo>
                      <a:pt x="35" y="182"/>
                    </a:lnTo>
                    <a:lnTo>
                      <a:pt x="35" y="178"/>
                    </a:lnTo>
                    <a:lnTo>
                      <a:pt x="35" y="174"/>
                    </a:lnTo>
                    <a:lnTo>
                      <a:pt x="39" y="174"/>
                    </a:lnTo>
                    <a:lnTo>
                      <a:pt x="39" y="169"/>
                    </a:lnTo>
                    <a:lnTo>
                      <a:pt x="39" y="169"/>
                    </a:lnTo>
                    <a:lnTo>
                      <a:pt x="35" y="169"/>
                    </a:lnTo>
                    <a:lnTo>
                      <a:pt x="31" y="165"/>
                    </a:lnTo>
                    <a:lnTo>
                      <a:pt x="31" y="165"/>
                    </a:lnTo>
                    <a:lnTo>
                      <a:pt x="26" y="152"/>
                    </a:lnTo>
                    <a:lnTo>
                      <a:pt x="31" y="148"/>
                    </a:lnTo>
                    <a:lnTo>
                      <a:pt x="31" y="143"/>
                    </a:lnTo>
                    <a:lnTo>
                      <a:pt x="26" y="139"/>
                    </a:lnTo>
                    <a:lnTo>
                      <a:pt x="26" y="121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95"/>
                    </a:lnTo>
                    <a:lnTo>
                      <a:pt x="26" y="91"/>
                    </a:lnTo>
                    <a:lnTo>
                      <a:pt x="26" y="87"/>
                    </a:lnTo>
                    <a:lnTo>
                      <a:pt x="31" y="78"/>
                    </a:lnTo>
                    <a:lnTo>
                      <a:pt x="35" y="65"/>
                    </a:lnTo>
                    <a:lnTo>
                      <a:pt x="39" y="56"/>
                    </a:lnTo>
                    <a:lnTo>
                      <a:pt x="39" y="56"/>
                    </a:lnTo>
                    <a:lnTo>
                      <a:pt x="48" y="52"/>
                    </a:lnTo>
                    <a:lnTo>
                      <a:pt x="61" y="43"/>
                    </a:lnTo>
                    <a:lnTo>
                      <a:pt x="61" y="43"/>
                    </a:lnTo>
                    <a:lnTo>
                      <a:pt x="66" y="39"/>
                    </a:lnTo>
                    <a:lnTo>
                      <a:pt x="66" y="39"/>
                    </a:lnTo>
                    <a:lnTo>
                      <a:pt x="66" y="35"/>
                    </a:lnTo>
                    <a:lnTo>
                      <a:pt x="70" y="35"/>
                    </a:lnTo>
                    <a:lnTo>
                      <a:pt x="70" y="35"/>
                    </a:lnTo>
                    <a:lnTo>
                      <a:pt x="83" y="35"/>
                    </a:lnTo>
                    <a:lnTo>
                      <a:pt x="83" y="35"/>
                    </a:lnTo>
                    <a:lnTo>
                      <a:pt x="87" y="35"/>
                    </a:lnTo>
                    <a:lnTo>
                      <a:pt x="87" y="39"/>
                    </a:lnTo>
                    <a:lnTo>
                      <a:pt x="87" y="39"/>
                    </a:lnTo>
                    <a:lnTo>
                      <a:pt x="87" y="43"/>
                    </a:lnTo>
                    <a:lnTo>
                      <a:pt x="92" y="43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100" y="43"/>
                    </a:lnTo>
                    <a:lnTo>
                      <a:pt x="100" y="43"/>
                    </a:lnTo>
                    <a:lnTo>
                      <a:pt x="105" y="39"/>
                    </a:lnTo>
                    <a:lnTo>
                      <a:pt x="105" y="43"/>
                    </a:lnTo>
                    <a:lnTo>
                      <a:pt x="109" y="48"/>
                    </a:lnTo>
                    <a:lnTo>
                      <a:pt x="113" y="48"/>
                    </a:lnTo>
                    <a:lnTo>
                      <a:pt x="113" y="43"/>
                    </a:lnTo>
                    <a:lnTo>
                      <a:pt x="118" y="43"/>
                    </a:lnTo>
                    <a:lnTo>
                      <a:pt x="118" y="39"/>
                    </a:lnTo>
                    <a:lnTo>
                      <a:pt x="118" y="39"/>
                    </a:lnTo>
                    <a:lnTo>
                      <a:pt x="122" y="35"/>
                    </a:lnTo>
                    <a:lnTo>
                      <a:pt x="126" y="35"/>
                    </a:lnTo>
                    <a:lnTo>
                      <a:pt x="126" y="35"/>
                    </a:lnTo>
                    <a:lnTo>
                      <a:pt x="131" y="35"/>
                    </a:lnTo>
                    <a:lnTo>
                      <a:pt x="131" y="30"/>
                    </a:lnTo>
                    <a:lnTo>
                      <a:pt x="131" y="26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22" y="26"/>
                    </a:lnTo>
                    <a:lnTo>
                      <a:pt x="122" y="26"/>
                    </a:lnTo>
                    <a:lnTo>
                      <a:pt x="113" y="17"/>
                    </a:lnTo>
                    <a:lnTo>
                      <a:pt x="113" y="13"/>
                    </a:lnTo>
                    <a:lnTo>
                      <a:pt x="118" y="8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26" y="8"/>
                    </a:lnTo>
                    <a:lnTo>
                      <a:pt x="131" y="4"/>
                    </a:lnTo>
                    <a:lnTo>
                      <a:pt x="135" y="4"/>
                    </a:lnTo>
                    <a:lnTo>
                      <a:pt x="135" y="4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4" y="0"/>
                    </a:lnTo>
                    <a:lnTo>
                      <a:pt x="148" y="0"/>
                    </a:lnTo>
                    <a:lnTo>
                      <a:pt x="148" y="4"/>
                    </a:lnTo>
                    <a:lnTo>
                      <a:pt x="153" y="4"/>
                    </a:lnTo>
                    <a:lnTo>
                      <a:pt x="161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9" y="8"/>
                    </a:lnTo>
                    <a:lnTo>
                      <a:pt x="183" y="13"/>
                    </a:lnTo>
                    <a:lnTo>
                      <a:pt x="200" y="13"/>
                    </a:lnTo>
                    <a:lnTo>
                      <a:pt x="209" y="13"/>
                    </a:lnTo>
                    <a:lnTo>
                      <a:pt x="209" y="13"/>
                    </a:lnTo>
                    <a:lnTo>
                      <a:pt x="218" y="13"/>
                    </a:lnTo>
                    <a:lnTo>
                      <a:pt x="226" y="17"/>
                    </a:lnTo>
                    <a:lnTo>
                      <a:pt x="231" y="17"/>
                    </a:lnTo>
                    <a:lnTo>
                      <a:pt x="231" y="21"/>
                    </a:lnTo>
                    <a:lnTo>
                      <a:pt x="240" y="26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53" y="35"/>
                    </a:lnTo>
                    <a:lnTo>
                      <a:pt x="257" y="43"/>
                    </a:lnTo>
                    <a:lnTo>
                      <a:pt x="261" y="39"/>
                    </a:lnTo>
                    <a:lnTo>
                      <a:pt x="266" y="35"/>
                    </a:lnTo>
                    <a:lnTo>
                      <a:pt x="266" y="35"/>
                    </a:lnTo>
                    <a:lnTo>
                      <a:pt x="270" y="30"/>
                    </a:lnTo>
                    <a:lnTo>
                      <a:pt x="270" y="30"/>
                    </a:lnTo>
                    <a:lnTo>
                      <a:pt x="274" y="30"/>
                    </a:lnTo>
                    <a:lnTo>
                      <a:pt x="274" y="35"/>
                    </a:lnTo>
                    <a:lnTo>
                      <a:pt x="279" y="35"/>
                    </a:lnTo>
                    <a:lnTo>
                      <a:pt x="283" y="35"/>
                    </a:lnTo>
                    <a:lnTo>
                      <a:pt x="283" y="30"/>
                    </a:lnTo>
                    <a:lnTo>
                      <a:pt x="283" y="30"/>
                    </a:lnTo>
                    <a:lnTo>
                      <a:pt x="292" y="26"/>
                    </a:lnTo>
                    <a:lnTo>
                      <a:pt x="292" y="21"/>
                    </a:lnTo>
                    <a:lnTo>
                      <a:pt x="296" y="17"/>
                    </a:lnTo>
                    <a:lnTo>
                      <a:pt x="300" y="17"/>
                    </a:lnTo>
                    <a:lnTo>
                      <a:pt x="300" y="17"/>
                    </a:lnTo>
                    <a:lnTo>
                      <a:pt x="300" y="21"/>
                    </a:lnTo>
                    <a:lnTo>
                      <a:pt x="300" y="21"/>
                    </a:lnTo>
                    <a:lnTo>
                      <a:pt x="305" y="26"/>
                    </a:lnTo>
                    <a:lnTo>
                      <a:pt x="305" y="21"/>
                    </a:lnTo>
                    <a:lnTo>
                      <a:pt x="309" y="17"/>
                    </a:lnTo>
                    <a:lnTo>
                      <a:pt x="309" y="21"/>
                    </a:lnTo>
                    <a:lnTo>
                      <a:pt x="309" y="21"/>
                    </a:lnTo>
                    <a:lnTo>
                      <a:pt x="309" y="26"/>
                    </a:lnTo>
                    <a:lnTo>
                      <a:pt x="305" y="26"/>
                    </a:lnTo>
                    <a:lnTo>
                      <a:pt x="305" y="26"/>
                    </a:lnTo>
                    <a:lnTo>
                      <a:pt x="300" y="30"/>
                    </a:lnTo>
                    <a:lnTo>
                      <a:pt x="300" y="35"/>
                    </a:lnTo>
                    <a:lnTo>
                      <a:pt x="305" y="35"/>
                    </a:lnTo>
                    <a:lnTo>
                      <a:pt x="305" y="43"/>
                    </a:lnTo>
                    <a:lnTo>
                      <a:pt x="309" y="43"/>
                    </a:lnTo>
                    <a:lnTo>
                      <a:pt x="309" y="39"/>
                    </a:lnTo>
                    <a:lnTo>
                      <a:pt x="313" y="39"/>
                    </a:lnTo>
                    <a:lnTo>
                      <a:pt x="313" y="39"/>
                    </a:lnTo>
                    <a:lnTo>
                      <a:pt x="318" y="48"/>
                    </a:lnTo>
                    <a:lnTo>
                      <a:pt x="322" y="43"/>
                    </a:lnTo>
                    <a:lnTo>
                      <a:pt x="322" y="39"/>
                    </a:lnTo>
                    <a:lnTo>
                      <a:pt x="322" y="39"/>
                    </a:lnTo>
                    <a:lnTo>
                      <a:pt x="326" y="35"/>
                    </a:lnTo>
                    <a:lnTo>
                      <a:pt x="335" y="21"/>
                    </a:lnTo>
                    <a:lnTo>
                      <a:pt x="335" y="21"/>
                    </a:lnTo>
                    <a:lnTo>
                      <a:pt x="340" y="17"/>
                    </a:lnTo>
                    <a:lnTo>
                      <a:pt x="340" y="17"/>
                    </a:lnTo>
                    <a:lnTo>
                      <a:pt x="344" y="13"/>
                    </a:lnTo>
                    <a:lnTo>
                      <a:pt x="348" y="8"/>
                    </a:lnTo>
                    <a:lnTo>
                      <a:pt x="348" y="8"/>
                    </a:lnTo>
                    <a:lnTo>
                      <a:pt x="353" y="4"/>
                    </a:lnTo>
                    <a:lnTo>
                      <a:pt x="353" y="8"/>
                    </a:lnTo>
                    <a:lnTo>
                      <a:pt x="348" y="13"/>
                    </a:lnTo>
                    <a:lnTo>
                      <a:pt x="348" y="21"/>
                    </a:lnTo>
                    <a:lnTo>
                      <a:pt x="353" y="21"/>
                    </a:lnTo>
                    <a:lnTo>
                      <a:pt x="353" y="21"/>
                    </a:lnTo>
                    <a:lnTo>
                      <a:pt x="357" y="21"/>
                    </a:lnTo>
                    <a:lnTo>
                      <a:pt x="361" y="21"/>
                    </a:lnTo>
                    <a:lnTo>
                      <a:pt x="361" y="26"/>
                    </a:lnTo>
                    <a:lnTo>
                      <a:pt x="361" y="26"/>
                    </a:lnTo>
                    <a:lnTo>
                      <a:pt x="366" y="39"/>
                    </a:lnTo>
                    <a:lnTo>
                      <a:pt x="366" y="43"/>
                    </a:lnTo>
                    <a:lnTo>
                      <a:pt x="361" y="43"/>
                    </a:lnTo>
                    <a:lnTo>
                      <a:pt x="357" y="52"/>
                    </a:lnTo>
                    <a:lnTo>
                      <a:pt x="357" y="56"/>
                    </a:lnTo>
                    <a:lnTo>
                      <a:pt x="361" y="56"/>
                    </a:lnTo>
                    <a:lnTo>
                      <a:pt x="361" y="61"/>
                    </a:lnTo>
                    <a:lnTo>
                      <a:pt x="366" y="61"/>
                    </a:lnTo>
                    <a:lnTo>
                      <a:pt x="366" y="65"/>
                    </a:lnTo>
                    <a:lnTo>
                      <a:pt x="383" y="74"/>
                    </a:lnTo>
                    <a:lnTo>
                      <a:pt x="383" y="74"/>
                    </a:lnTo>
                    <a:lnTo>
                      <a:pt x="383" y="74"/>
                    </a:lnTo>
                    <a:lnTo>
                      <a:pt x="387" y="74"/>
                    </a:lnTo>
                    <a:lnTo>
                      <a:pt x="387" y="74"/>
                    </a:lnTo>
                    <a:lnTo>
                      <a:pt x="392" y="78"/>
                    </a:lnTo>
                    <a:lnTo>
                      <a:pt x="392" y="78"/>
                    </a:lnTo>
                    <a:lnTo>
                      <a:pt x="392" y="82"/>
                    </a:lnTo>
                    <a:lnTo>
                      <a:pt x="392" y="82"/>
                    </a:lnTo>
                    <a:lnTo>
                      <a:pt x="396" y="87"/>
                    </a:lnTo>
                    <a:lnTo>
                      <a:pt x="396" y="91"/>
                    </a:lnTo>
                    <a:lnTo>
                      <a:pt x="400" y="91"/>
                    </a:lnTo>
                    <a:lnTo>
                      <a:pt x="400" y="91"/>
                    </a:lnTo>
                    <a:lnTo>
                      <a:pt x="405" y="95"/>
                    </a:lnTo>
                    <a:lnTo>
                      <a:pt x="405" y="100"/>
                    </a:lnTo>
                    <a:lnTo>
                      <a:pt x="405" y="108"/>
                    </a:lnTo>
                    <a:lnTo>
                      <a:pt x="405" y="113"/>
                    </a:lnTo>
                    <a:lnTo>
                      <a:pt x="405" y="117"/>
                    </a:lnTo>
                    <a:lnTo>
                      <a:pt x="409" y="126"/>
                    </a:lnTo>
                    <a:lnTo>
                      <a:pt x="413" y="126"/>
                    </a:lnTo>
                    <a:lnTo>
                      <a:pt x="413" y="130"/>
                    </a:lnTo>
                    <a:lnTo>
                      <a:pt x="413" y="130"/>
                    </a:lnTo>
                    <a:lnTo>
                      <a:pt x="413" y="135"/>
                    </a:lnTo>
                    <a:lnTo>
                      <a:pt x="413" y="139"/>
                    </a:lnTo>
                    <a:lnTo>
                      <a:pt x="409" y="139"/>
                    </a:lnTo>
                    <a:lnTo>
                      <a:pt x="409" y="139"/>
                    </a:lnTo>
                    <a:lnTo>
                      <a:pt x="405" y="143"/>
                    </a:lnTo>
                    <a:lnTo>
                      <a:pt x="400" y="148"/>
                    </a:lnTo>
                    <a:lnTo>
                      <a:pt x="400" y="152"/>
                    </a:lnTo>
                    <a:lnTo>
                      <a:pt x="400" y="156"/>
                    </a:lnTo>
                    <a:lnTo>
                      <a:pt x="400" y="156"/>
                    </a:lnTo>
                    <a:lnTo>
                      <a:pt x="392" y="165"/>
                    </a:lnTo>
                    <a:lnTo>
                      <a:pt x="392" y="165"/>
                    </a:lnTo>
                    <a:lnTo>
                      <a:pt x="387" y="165"/>
                    </a:lnTo>
                    <a:lnTo>
                      <a:pt x="379" y="169"/>
                    </a:lnTo>
                    <a:lnTo>
                      <a:pt x="379" y="169"/>
                    </a:lnTo>
                    <a:lnTo>
                      <a:pt x="379" y="174"/>
                    </a:lnTo>
                    <a:lnTo>
                      <a:pt x="379" y="187"/>
                    </a:lnTo>
                    <a:lnTo>
                      <a:pt x="374" y="191"/>
                    </a:lnTo>
                    <a:lnTo>
                      <a:pt x="374" y="195"/>
                    </a:lnTo>
                    <a:lnTo>
                      <a:pt x="370" y="204"/>
                    </a:lnTo>
                    <a:lnTo>
                      <a:pt x="374" y="221"/>
                    </a:lnTo>
                    <a:lnTo>
                      <a:pt x="379" y="226"/>
                    </a:lnTo>
                    <a:lnTo>
                      <a:pt x="383" y="226"/>
                    </a:lnTo>
                    <a:lnTo>
                      <a:pt x="387" y="221"/>
                    </a:lnTo>
                    <a:lnTo>
                      <a:pt x="387" y="221"/>
                    </a:lnTo>
                    <a:lnTo>
                      <a:pt x="392" y="221"/>
                    </a:lnTo>
                    <a:lnTo>
                      <a:pt x="396" y="221"/>
                    </a:lnTo>
                    <a:lnTo>
                      <a:pt x="396" y="226"/>
                    </a:lnTo>
                    <a:lnTo>
                      <a:pt x="392" y="234"/>
                    </a:lnTo>
                    <a:lnTo>
                      <a:pt x="392" y="239"/>
                    </a:lnTo>
                    <a:lnTo>
                      <a:pt x="387" y="243"/>
                    </a:lnTo>
                    <a:lnTo>
                      <a:pt x="387" y="248"/>
                    </a:lnTo>
                    <a:lnTo>
                      <a:pt x="396" y="252"/>
                    </a:lnTo>
                    <a:lnTo>
                      <a:pt x="400" y="256"/>
                    </a:lnTo>
                    <a:lnTo>
                      <a:pt x="400" y="265"/>
                    </a:lnTo>
                    <a:lnTo>
                      <a:pt x="400" y="265"/>
                    </a:lnTo>
                    <a:lnTo>
                      <a:pt x="396" y="269"/>
                    </a:lnTo>
                    <a:lnTo>
                      <a:pt x="400" y="282"/>
                    </a:lnTo>
                    <a:lnTo>
                      <a:pt x="400" y="282"/>
                    </a:lnTo>
                    <a:lnTo>
                      <a:pt x="405" y="287"/>
                    </a:lnTo>
                    <a:lnTo>
                      <a:pt x="405" y="287"/>
                    </a:lnTo>
                    <a:lnTo>
                      <a:pt x="413" y="287"/>
                    </a:lnTo>
                    <a:lnTo>
                      <a:pt x="422" y="287"/>
                    </a:lnTo>
                    <a:lnTo>
                      <a:pt x="422" y="300"/>
                    </a:lnTo>
                    <a:lnTo>
                      <a:pt x="418" y="317"/>
                    </a:lnTo>
                    <a:lnTo>
                      <a:pt x="413" y="317"/>
                    </a:lnTo>
                    <a:lnTo>
                      <a:pt x="413" y="321"/>
                    </a:lnTo>
                    <a:lnTo>
                      <a:pt x="409" y="326"/>
                    </a:lnTo>
                    <a:lnTo>
                      <a:pt x="413" y="326"/>
                    </a:lnTo>
                    <a:lnTo>
                      <a:pt x="422" y="326"/>
                    </a:lnTo>
                    <a:lnTo>
                      <a:pt x="422" y="321"/>
                    </a:lnTo>
                    <a:lnTo>
                      <a:pt x="427" y="321"/>
                    </a:lnTo>
                    <a:lnTo>
                      <a:pt x="427" y="321"/>
                    </a:lnTo>
                    <a:lnTo>
                      <a:pt x="431" y="317"/>
                    </a:lnTo>
                    <a:lnTo>
                      <a:pt x="435" y="321"/>
                    </a:lnTo>
                    <a:lnTo>
                      <a:pt x="435" y="321"/>
                    </a:lnTo>
                    <a:lnTo>
                      <a:pt x="435" y="326"/>
                    </a:lnTo>
                    <a:lnTo>
                      <a:pt x="431" y="326"/>
                    </a:lnTo>
                    <a:lnTo>
                      <a:pt x="431" y="326"/>
                    </a:lnTo>
                    <a:lnTo>
                      <a:pt x="427" y="330"/>
                    </a:lnTo>
                    <a:lnTo>
                      <a:pt x="422" y="334"/>
                    </a:lnTo>
                    <a:lnTo>
                      <a:pt x="422" y="334"/>
                    </a:lnTo>
                    <a:lnTo>
                      <a:pt x="418" y="339"/>
                    </a:lnTo>
                    <a:lnTo>
                      <a:pt x="422" y="339"/>
                    </a:lnTo>
                    <a:lnTo>
                      <a:pt x="422" y="348"/>
                    </a:lnTo>
                    <a:lnTo>
                      <a:pt x="422" y="348"/>
                    </a:lnTo>
                    <a:lnTo>
                      <a:pt x="418" y="352"/>
                    </a:lnTo>
                    <a:lnTo>
                      <a:pt x="418" y="356"/>
                    </a:lnTo>
                    <a:lnTo>
                      <a:pt x="413" y="365"/>
                    </a:lnTo>
                    <a:lnTo>
                      <a:pt x="413" y="369"/>
                    </a:lnTo>
                    <a:lnTo>
                      <a:pt x="413" y="369"/>
                    </a:lnTo>
                    <a:lnTo>
                      <a:pt x="418" y="369"/>
                    </a:lnTo>
                    <a:lnTo>
                      <a:pt x="418" y="374"/>
                    </a:lnTo>
                    <a:lnTo>
                      <a:pt x="422" y="374"/>
                    </a:lnTo>
                    <a:lnTo>
                      <a:pt x="422" y="378"/>
                    </a:lnTo>
                    <a:lnTo>
                      <a:pt x="422" y="378"/>
                    </a:lnTo>
                    <a:lnTo>
                      <a:pt x="422" y="382"/>
                    </a:lnTo>
                    <a:lnTo>
                      <a:pt x="418" y="382"/>
                    </a:lnTo>
                    <a:lnTo>
                      <a:pt x="418" y="387"/>
                    </a:lnTo>
                    <a:lnTo>
                      <a:pt x="418" y="391"/>
                    </a:lnTo>
                    <a:lnTo>
                      <a:pt x="413" y="391"/>
                    </a:lnTo>
                    <a:lnTo>
                      <a:pt x="413" y="391"/>
                    </a:lnTo>
                    <a:lnTo>
                      <a:pt x="413" y="395"/>
                    </a:lnTo>
                    <a:lnTo>
                      <a:pt x="409" y="400"/>
                    </a:lnTo>
                    <a:lnTo>
                      <a:pt x="409" y="400"/>
                    </a:lnTo>
                    <a:lnTo>
                      <a:pt x="387" y="400"/>
                    </a:lnTo>
                    <a:lnTo>
                      <a:pt x="379" y="400"/>
                    </a:lnTo>
                    <a:lnTo>
                      <a:pt x="374" y="395"/>
                    </a:lnTo>
                    <a:lnTo>
                      <a:pt x="370" y="391"/>
                    </a:lnTo>
                    <a:lnTo>
                      <a:pt x="366" y="391"/>
                    </a:lnTo>
                    <a:lnTo>
                      <a:pt x="366" y="387"/>
                    </a:lnTo>
                    <a:lnTo>
                      <a:pt x="361" y="391"/>
                    </a:lnTo>
                    <a:lnTo>
                      <a:pt x="357" y="391"/>
                    </a:lnTo>
                    <a:lnTo>
                      <a:pt x="353" y="395"/>
                    </a:lnTo>
                    <a:lnTo>
                      <a:pt x="353" y="395"/>
                    </a:lnTo>
                    <a:lnTo>
                      <a:pt x="353" y="400"/>
                    </a:lnTo>
                    <a:lnTo>
                      <a:pt x="348" y="400"/>
                    </a:lnTo>
                    <a:lnTo>
                      <a:pt x="344" y="404"/>
                    </a:lnTo>
                    <a:lnTo>
                      <a:pt x="340" y="404"/>
                    </a:lnTo>
                    <a:lnTo>
                      <a:pt x="335" y="408"/>
                    </a:lnTo>
                    <a:lnTo>
                      <a:pt x="331" y="408"/>
                    </a:lnTo>
                    <a:lnTo>
                      <a:pt x="335" y="413"/>
                    </a:lnTo>
                    <a:lnTo>
                      <a:pt x="344" y="421"/>
                    </a:lnTo>
                    <a:lnTo>
                      <a:pt x="344" y="434"/>
                    </a:lnTo>
                    <a:lnTo>
                      <a:pt x="344" y="434"/>
                    </a:lnTo>
                    <a:lnTo>
                      <a:pt x="348" y="439"/>
                    </a:lnTo>
                    <a:lnTo>
                      <a:pt x="340" y="443"/>
                    </a:lnTo>
                    <a:lnTo>
                      <a:pt x="335" y="443"/>
                    </a:lnTo>
                    <a:lnTo>
                      <a:pt x="335" y="443"/>
                    </a:lnTo>
                    <a:lnTo>
                      <a:pt x="331" y="443"/>
                    </a:lnTo>
                    <a:lnTo>
                      <a:pt x="326" y="439"/>
                    </a:lnTo>
                    <a:lnTo>
                      <a:pt x="322" y="439"/>
                    </a:lnTo>
                    <a:lnTo>
                      <a:pt x="322" y="434"/>
                    </a:lnTo>
                    <a:lnTo>
                      <a:pt x="322" y="434"/>
                    </a:lnTo>
                    <a:lnTo>
                      <a:pt x="322" y="430"/>
                    </a:lnTo>
                    <a:lnTo>
                      <a:pt x="318" y="430"/>
                    </a:lnTo>
                    <a:lnTo>
                      <a:pt x="318" y="426"/>
                    </a:lnTo>
                    <a:lnTo>
                      <a:pt x="313" y="426"/>
                    </a:lnTo>
                    <a:lnTo>
                      <a:pt x="300" y="426"/>
                    </a:lnTo>
                    <a:lnTo>
                      <a:pt x="292" y="426"/>
                    </a:lnTo>
                    <a:lnTo>
                      <a:pt x="287" y="426"/>
                    </a:lnTo>
                    <a:lnTo>
                      <a:pt x="287" y="426"/>
                    </a:lnTo>
                    <a:lnTo>
                      <a:pt x="279" y="426"/>
                    </a:lnTo>
                    <a:lnTo>
                      <a:pt x="274" y="443"/>
                    </a:lnTo>
                    <a:lnTo>
                      <a:pt x="279" y="448"/>
                    </a:lnTo>
                    <a:lnTo>
                      <a:pt x="279" y="448"/>
                    </a:lnTo>
                    <a:lnTo>
                      <a:pt x="279" y="452"/>
                    </a:lnTo>
                    <a:lnTo>
                      <a:pt x="279" y="461"/>
                    </a:lnTo>
                    <a:lnTo>
                      <a:pt x="270" y="465"/>
                    </a:lnTo>
                    <a:lnTo>
                      <a:pt x="270" y="465"/>
                    </a:lnTo>
                    <a:lnTo>
                      <a:pt x="266" y="465"/>
                    </a:lnTo>
                    <a:lnTo>
                      <a:pt x="261" y="465"/>
                    </a:lnTo>
                    <a:lnTo>
                      <a:pt x="261" y="465"/>
                    </a:lnTo>
                    <a:lnTo>
                      <a:pt x="253" y="465"/>
                    </a:lnTo>
                    <a:lnTo>
                      <a:pt x="253" y="465"/>
                    </a:lnTo>
                    <a:lnTo>
                      <a:pt x="248" y="465"/>
                    </a:lnTo>
                    <a:lnTo>
                      <a:pt x="244" y="465"/>
                    </a:lnTo>
                    <a:lnTo>
                      <a:pt x="244" y="465"/>
                    </a:lnTo>
                    <a:lnTo>
                      <a:pt x="240" y="465"/>
                    </a:lnTo>
                    <a:lnTo>
                      <a:pt x="240" y="465"/>
                    </a:lnTo>
                    <a:lnTo>
                      <a:pt x="235" y="474"/>
                    </a:lnTo>
                    <a:lnTo>
                      <a:pt x="231" y="478"/>
                    </a:lnTo>
                    <a:lnTo>
                      <a:pt x="231" y="478"/>
                    </a:lnTo>
                    <a:lnTo>
                      <a:pt x="222" y="474"/>
                    </a:lnTo>
                    <a:lnTo>
                      <a:pt x="222" y="474"/>
                    </a:lnTo>
                    <a:lnTo>
                      <a:pt x="222" y="469"/>
                    </a:lnTo>
                    <a:lnTo>
                      <a:pt x="226" y="469"/>
                    </a:lnTo>
                    <a:lnTo>
                      <a:pt x="226" y="465"/>
                    </a:lnTo>
                    <a:lnTo>
                      <a:pt x="226" y="465"/>
                    </a:lnTo>
                    <a:lnTo>
                      <a:pt x="222" y="448"/>
                    </a:lnTo>
                    <a:lnTo>
                      <a:pt x="222" y="448"/>
                    </a:lnTo>
                    <a:lnTo>
                      <a:pt x="218" y="434"/>
                    </a:lnTo>
                    <a:lnTo>
                      <a:pt x="218" y="434"/>
                    </a:lnTo>
                    <a:lnTo>
                      <a:pt x="205" y="434"/>
                    </a:lnTo>
                    <a:lnTo>
                      <a:pt x="200" y="443"/>
                    </a:lnTo>
                    <a:lnTo>
                      <a:pt x="192" y="452"/>
                    </a:lnTo>
                    <a:lnTo>
                      <a:pt x="192" y="456"/>
                    </a:lnTo>
                    <a:lnTo>
                      <a:pt x="187" y="456"/>
                    </a:lnTo>
                    <a:lnTo>
                      <a:pt x="187" y="456"/>
                    </a:lnTo>
                    <a:lnTo>
                      <a:pt x="183" y="448"/>
                    </a:lnTo>
                    <a:lnTo>
                      <a:pt x="183" y="448"/>
                    </a:lnTo>
                    <a:lnTo>
                      <a:pt x="183" y="443"/>
                    </a:lnTo>
                    <a:lnTo>
                      <a:pt x="183" y="434"/>
                    </a:lnTo>
                    <a:lnTo>
                      <a:pt x="187" y="434"/>
                    </a:lnTo>
                    <a:lnTo>
                      <a:pt x="187" y="434"/>
                    </a:lnTo>
                    <a:lnTo>
                      <a:pt x="192" y="434"/>
                    </a:lnTo>
                    <a:lnTo>
                      <a:pt x="192" y="430"/>
                    </a:lnTo>
                    <a:lnTo>
                      <a:pt x="192" y="430"/>
                    </a:lnTo>
                    <a:lnTo>
                      <a:pt x="196" y="417"/>
                    </a:lnTo>
                    <a:lnTo>
                      <a:pt x="205" y="413"/>
                    </a:lnTo>
                    <a:lnTo>
                      <a:pt x="205" y="408"/>
                    </a:lnTo>
                    <a:lnTo>
                      <a:pt x="209" y="404"/>
                    </a:lnTo>
                    <a:lnTo>
                      <a:pt x="209" y="395"/>
                    </a:lnTo>
                    <a:lnTo>
                      <a:pt x="209" y="391"/>
                    </a:lnTo>
                    <a:lnTo>
                      <a:pt x="205" y="391"/>
                    </a:lnTo>
                    <a:lnTo>
                      <a:pt x="205" y="382"/>
                    </a:lnTo>
                    <a:lnTo>
                      <a:pt x="209" y="382"/>
                    </a:lnTo>
                    <a:lnTo>
                      <a:pt x="209" y="382"/>
                    </a:lnTo>
                    <a:lnTo>
                      <a:pt x="213" y="374"/>
                    </a:lnTo>
                    <a:lnTo>
                      <a:pt x="213" y="374"/>
                    </a:lnTo>
                    <a:lnTo>
                      <a:pt x="213" y="369"/>
                    </a:lnTo>
                    <a:lnTo>
                      <a:pt x="213" y="369"/>
                    </a:lnTo>
                    <a:lnTo>
                      <a:pt x="213" y="369"/>
                    </a:lnTo>
                    <a:lnTo>
                      <a:pt x="213" y="365"/>
                    </a:lnTo>
                    <a:lnTo>
                      <a:pt x="205" y="369"/>
                    </a:lnTo>
                    <a:lnTo>
                      <a:pt x="205" y="369"/>
                    </a:lnTo>
                    <a:lnTo>
                      <a:pt x="205" y="369"/>
                    </a:lnTo>
                    <a:lnTo>
                      <a:pt x="200" y="369"/>
                    </a:lnTo>
                    <a:lnTo>
                      <a:pt x="196" y="369"/>
                    </a:lnTo>
                    <a:lnTo>
                      <a:pt x="196" y="365"/>
                    </a:lnTo>
                    <a:lnTo>
                      <a:pt x="196" y="361"/>
                    </a:lnTo>
                    <a:lnTo>
                      <a:pt x="196" y="361"/>
                    </a:lnTo>
                    <a:lnTo>
                      <a:pt x="196" y="356"/>
                    </a:lnTo>
                    <a:lnTo>
                      <a:pt x="196" y="352"/>
                    </a:lnTo>
                    <a:lnTo>
                      <a:pt x="200" y="352"/>
                    </a:lnTo>
                    <a:lnTo>
                      <a:pt x="200" y="339"/>
                    </a:lnTo>
                    <a:lnTo>
                      <a:pt x="196" y="334"/>
                    </a:lnTo>
                    <a:lnTo>
                      <a:pt x="192" y="334"/>
                    </a:lnTo>
                    <a:lnTo>
                      <a:pt x="187" y="334"/>
                    </a:lnTo>
                    <a:lnTo>
                      <a:pt x="179" y="330"/>
                    </a:lnTo>
                    <a:lnTo>
                      <a:pt x="174" y="330"/>
                    </a:lnTo>
                    <a:lnTo>
                      <a:pt x="174" y="326"/>
                    </a:lnTo>
                    <a:lnTo>
                      <a:pt x="170" y="330"/>
                    </a:lnTo>
                    <a:lnTo>
                      <a:pt x="170" y="334"/>
                    </a:lnTo>
                    <a:lnTo>
                      <a:pt x="170" y="339"/>
                    </a:lnTo>
                    <a:lnTo>
                      <a:pt x="157" y="339"/>
                    </a:lnTo>
                    <a:lnTo>
                      <a:pt x="157" y="339"/>
                    </a:lnTo>
                    <a:lnTo>
                      <a:pt x="153" y="334"/>
                    </a:lnTo>
                    <a:lnTo>
                      <a:pt x="153" y="334"/>
                    </a:lnTo>
                    <a:lnTo>
                      <a:pt x="148" y="334"/>
                    </a:lnTo>
                    <a:lnTo>
                      <a:pt x="148" y="334"/>
                    </a:lnTo>
                    <a:lnTo>
                      <a:pt x="144" y="334"/>
                    </a:lnTo>
                    <a:lnTo>
                      <a:pt x="131" y="356"/>
                    </a:lnTo>
                    <a:lnTo>
                      <a:pt x="131" y="356"/>
                    </a:lnTo>
                    <a:lnTo>
                      <a:pt x="126" y="361"/>
                    </a:lnTo>
                    <a:lnTo>
                      <a:pt x="126" y="361"/>
                    </a:lnTo>
                    <a:lnTo>
                      <a:pt x="126" y="365"/>
                    </a:lnTo>
                    <a:lnTo>
                      <a:pt x="113" y="365"/>
                    </a:lnTo>
                    <a:lnTo>
                      <a:pt x="109" y="365"/>
                    </a:lnTo>
                    <a:lnTo>
                      <a:pt x="109" y="365"/>
                    </a:lnTo>
                    <a:lnTo>
                      <a:pt x="109" y="361"/>
                    </a:lnTo>
                    <a:lnTo>
                      <a:pt x="109" y="356"/>
                    </a:lnTo>
                    <a:lnTo>
                      <a:pt x="109" y="356"/>
                    </a:lnTo>
                    <a:lnTo>
                      <a:pt x="109" y="352"/>
                    </a:lnTo>
                    <a:lnTo>
                      <a:pt x="100" y="339"/>
                    </a:lnTo>
                    <a:lnTo>
                      <a:pt x="100" y="339"/>
                    </a:lnTo>
                    <a:lnTo>
                      <a:pt x="96" y="343"/>
                    </a:lnTo>
                    <a:lnTo>
                      <a:pt x="96" y="343"/>
                    </a:lnTo>
                    <a:lnTo>
                      <a:pt x="92" y="348"/>
                    </a:lnTo>
                    <a:lnTo>
                      <a:pt x="92" y="352"/>
                    </a:lnTo>
                    <a:lnTo>
                      <a:pt x="92" y="352"/>
                    </a:lnTo>
                    <a:lnTo>
                      <a:pt x="87" y="356"/>
                    </a:lnTo>
                    <a:lnTo>
                      <a:pt x="87" y="361"/>
                    </a:lnTo>
                    <a:lnTo>
                      <a:pt x="87" y="365"/>
                    </a:lnTo>
                    <a:lnTo>
                      <a:pt x="87" y="365"/>
                    </a:lnTo>
                    <a:lnTo>
                      <a:pt x="79" y="374"/>
                    </a:lnTo>
                    <a:lnTo>
                      <a:pt x="79" y="378"/>
                    </a:lnTo>
                    <a:lnTo>
                      <a:pt x="79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69"/>
                    </a:lnTo>
                    <a:lnTo>
                      <a:pt x="70" y="365"/>
                    </a:lnTo>
                    <a:lnTo>
                      <a:pt x="57" y="365"/>
                    </a:lnTo>
                    <a:lnTo>
                      <a:pt x="57" y="36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4" name="Freeform 41">
                <a:extLst>
                  <a:ext uri="{FF2B5EF4-FFF2-40B4-BE49-F238E27FC236}">
                    <a16:creationId xmlns:a16="http://schemas.microsoft.com/office/drawing/2014/main" id="{E143F3FB-8EAD-B1BB-95D6-1A24FBC016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48164" y="4795170"/>
                <a:ext cx="814917" cy="682625"/>
              </a:xfrm>
              <a:custGeom>
                <a:avLst/>
                <a:gdLst>
                  <a:gd name="T0" fmla="*/ 79 w 470"/>
                  <a:gd name="T1" fmla="*/ 347 h 413"/>
                  <a:gd name="T2" fmla="*/ 57 w 470"/>
                  <a:gd name="T3" fmla="*/ 313 h 413"/>
                  <a:gd name="T4" fmla="*/ 83 w 470"/>
                  <a:gd name="T5" fmla="*/ 261 h 413"/>
                  <a:gd name="T6" fmla="*/ 70 w 470"/>
                  <a:gd name="T7" fmla="*/ 234 h 413"/>
                  <a:gd name="T8" fmla="*/ 44 w 470"/>
                  <a:gd name="T9" fmla="*/ 234 h 413"/>
                  <a:gd name="T10" fmla="*/ 26 w 470"/>
                  <a:gd name="T11" fmla="*/ 243 h 413"/>
                  <a:gd name="T12" fmla="*/ 13 w 470"/>
                  <a:gd name="T13" fmla="*/ 213 h 413"/>
                  <a:gd name="T14" fmla="*/ 5 w 470"/>
                  <a:gd name="T15" fmla="*/ 200 h 413"/>
                  <a:gd name="T16" fmla="*/ 22 w 470"/>
                  <a:gd name="T17" fmla="*/ 174 h 413"/>
                  <a:gd name="T18" fmla="*/ 35 w 470"/>
                  <a:gd name="T19" fmla="*/ 169 h 413"/>
                  <a:gd name="T20" fmla="*/ 61 w 470"/>
                  <a:gd name="T21" fmla="*/ 165 h 413"/>
                  <a:gd name="T22" fmla="*/ 87 w 470"/>
                  <a:gd name="T23" fmla="*/ 174 h 413"/>
                  <a:gd name="T24" fmla="*/ 113 w 470"/>
                  <a:gd name="T25" fmla="*/ 165 h 413"/>
                  <a:gd name="T26" fmla="*/ 135 w 470"/>
                  <a:gd name="T27" fmla="*/ 139 h 413"/>
                  <a:gd name="T28" fmla="*/ 161 w 470"/>
                  <a:gd name="T29" fmla="*/ 143 h 413"/>
                  <a:gd name="T30" fmla="*/ 218 w 470"/>
                  <a:gd name="T31" fmla="*/ 126 h 413"/>
                  <a:gd name="T32" fmla="*/ 205 w 470"/>
                  <a:gd name="T33" fmla="*/ 104 h 413"/>
                  <a:gd name="T34" fmla="*/ 192 w 470"/>
                  <a:gd name="T35" fmla="*/ 100 h 413"/>
                  <a:gd name="T36" fmla="*/ 174 w 470"/>
                  <a:gd name="T37" fmla="*/ 61 h 413"/>
                  <a:gd name="T38" fmla="*/ 226 w 470"/>
                  <a:gd name="T39" fmla="*/ 65 h 413"/>
                  <a:gd name="T40" fmla="*/ 226 w 470"/>
                  <a:gd name="T41" fmla="*/ 39 h 413"/>
                  <a:gd name="T42" fmla="*/ 248 w 470"/>
                  <a:gd name="T43" fmla="*/ 69 h 413"/>
                  <a:gd name="T44" fmla="*/ 248 w 470"/>
                  <a:gd name="T45" fmla="*/ 43 h 413"/>
                  <a:gd name="T46" fmla="*/ 279 w 470"/>
                  <a:gd name="T47" fmla="*/ 34 h 413"/>
                  <a:gd name="T48" fmla="*/ 300 w 470"/>
                  <a:gd name="T49" fmla="*/ 34 h 413"/>
                  <a:gd name="T50" fmla="*/ 296 w 470"/>
                  <a:gd name="T51" fmla="*/ 13 h 413"/>
                  <a:gd name="T52" fmla="*/ 309 w 470"/>
                  <a:gd name="T53" fmla="*/ 8 h 413"/>
                  <a:gd name="T54" fmla="*/ 326 w 470"/>
                  <a:gd name="T55" fmla="*/ 21 h 413"/>
                  <a:gd name="T56" fmla="*/ 348 w 470"/>
                  <a:gd name="T57" fmla="*/ 17 h 413"/>
                  <a:gd name="T58" fmla="*/ 370 w 470"/>
                  <a:gd name="T59" fmla="*/ 43 h 413"/>
                  <a:gd name="T60" fmla="*/ 383 w 470"/>
                  <a:gd name="T61" fmla="*/ 52 h 413"/>
                  <a:gd name="T62" fmla="*/ 392 w 470"/>
                  <a:gd name="T63" fmla="*/ 78 h 413"/>
                  <a:gd name="T64" fmla="*/ 400 w 470"/>
                  <a:gd name="T65" fmla="*/ 65 h 413"/>
                  <a:gd name="T66" fmla="*/ 409 w 470"/>
                  <a:gd name="T67" fmla="*/ 87 h 413"/>
                  <a:gd name="T68" fmla="*/ 435 w 470"/>
                  <a:gd name="T69" fmla="*/ 65 h 413"/>
                  <a:gd name="T70" fmla="*/ 452 w 470"/>
                  <a:gd name="T71" fmla="*/ 82 h 413"/>
                  <a:gd name="T72" fmla="*/ 452 w 470"/>
                  <a:gd name="T73" fmla="*/ 121 h 413"/>
                  <a:gd name="T74" fmla="*/ 448 w 470"/>
                  <a:gd name="T75" fmla="*/ 152 h 413"/>
                  <a:gd name="T76" fmla="*/ 413 w 470"/>
                  <a:gd name="T77" fmla="*/ 187 h 413"/>
                  <a:gd name="T78" fmla="*/ 435 w 470"/>
                  <a:gd name="T79" fmla="*/ 182 h 413"/>
                  <a:gd name="T80" fmla="*/ 461 w 470"/>
                  <a:gd name="T81" fmla="*/ 230 h 413"/>
                  <a:gd name="T82" fmla="*/ 457 w 470"/>
                  <a:gd name="T83" fmla="*/ 256 h 413"/>
                  <a:gd name="T84" fmla="*/ 461 w 470"/>
                  <a:gd name="T85" fmla="*/ 300 h 413"/>
                  <a:gd name="T86" fmla="*/ 431 w 470"/>
                  <a:gd name="T87" fmla="*/ 304 h 413"/>
                  <a:gd name="T88" fmla="*/ 435 w 470"/>
                  <a:gd name="T89" fmla="*/ 321 h 413"/>
                  <a:gd name="T90" fmla="*/ 405 w 470"/>
                  <a:gd name="T91" fmla="*/ 343 h 413"/>
                  <a:gd name="T92" fmla="*/ 370 w 470"/>
                  <a:gd name="T93" fmla="*/ 330 h 413"/>
                  <a:gd name="T94" fmla="*/ 339 w 470"/>
                  <a:gd name="T95" fmla="*/ 365 h 413"/>
                  <a:gd name="T96" fmla="*/ 300 w 470"/>
                  <a:gd name="T97" fmla="*/ 339 h 413"/>
                  <a:gd name="T98" fmla="*/ 274 w 470"/>
                  <a:gd name="T99" fmla="*/ 347 h 413"/>
                  <a:gd name="T100" fmla="*/ 239 w 470"/>
                  <a:gd name="T101" fmla="*/ 369 h 413"/>
                  <a:gd name="T102" fmla="*/ 209 w 470"/>
                  <a:gd name="T103" fmla="*/ 395 h 413"/>
                  <a:gd name="T104" fmla="*/ 196 w 470"/>
                  <a:gd name="T105" fmla="*/ 408 h 413"/>
                  <a:gd name="T106" fmla="*/ 148 w 470"/>
                  <a:gd name="T107" fmla="*/ 391 h 413"/>
                  <a:gd name="T108" fmla="*/ 118 w 470"/>
                  <a:gd name="T109" fmla="*/ 391 h 413"/>
                  <a:gd name="T110" fmla="*/ 83 w 470"/>
                  <a:gd name="T111" fmla="*/ 408 h 413"/>
                  <a:gd name="T112" fmla="*/ 96 w 470"/>
                  <a:gd name="T113" fmla="*/ 361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70" h="413">
                    <a:moveTo>
                      <a:pt x="96" y="356"/>
                    </a:moveTo>
                    <a:lnTo>
                      <a:pt x="87" y="356"/>
                    </a:lnTo>
                    <a:lnTo>
                      <a:pt x="87" y="352"/>
                    </a:lnTo>
                    <a:lnTo>
                      <a:pt x="87" y="352"/>
                    </a:lnTo>
                    <a:lnTo>
                      <a:pt x="83" y="352"/>
                    </a:lnTo>
                    <a:lnTo>
                      <a:pt x="83" y="347"/>
                    </a:lnTo>
                    <a:lnTo>
                      <a:pt x="79" y="347"/>
                    </a:lnTo>
                    <a:lnTo>
                      <a:pt x="79" y="347"/>
                    </a:lnTo>
                    <a:lnTo>
                      <a:pt x="74" y="343"/>
                    </a:lnTo>
                    <a:lnTo>
                      <a:pt x="70" y="343"/>
                    </a:lnTo>
                    <a:lnTo>
                      <a:pt x="70" y="343"/>
                    </a:lnTo>
                    <a:lnTo>
                      <a:pt x="70" y="339"/>
                    </a:lnTo>
                    <a:lnTo>
                      <a:pt x="65" y="339"/>
                    </a:lnTo>
                    <a:lnTo>
                      <a:pt x="65" y="334"/>
                    </a:lnTo>
                    <a:lnTo>
                      <a:pt x="57" y="321"/>
                    </a:lnTo>
                    <a:lnTo>
                      <a:pt x="57" y="313"/>
                    </a:lnTo>
                    <a:lnTo>
                      <a:pt x="61" y="313"/>
                    </a:lnTo>
                    <a:lnTo>
                      <a:pt x="61" y="313"/>
                    </a:lnTo>
                    <a:lnTo>
                      <a:pt x="74" y="287"/>
                    </a:lnTo>
                    <a:lnTo>
                      <a:pt x="74" y="278"/>
                    </a:lnTo>
                    <a:lnTo>
                      <a:pt x="74" y="269"/>
                    </a:lnTo>
                    <a:lnTo>
                      <a:pt x="79" y="265"/>
                    </a:lnTo>
                    <a:lnTo>
                      <a:pt x="79" y="261"/>
                    </a:lnTo>
                    <a:lnTo>
                      <a:pt x="83" y="261"/>
                    </a:lnTo>
                    <a:lnTo>
                      <a:pt x="83" y="261"/>
                    </a:lnTo>
                    <a:lnTo>
                      <a:pt x="87" y="256"/>
                    </a:lnTo>
                    <a:lnTo>
                      <a:pt x="87" y="256"/>
                    </a:lnTo>
                    <a:lnTo>
                      <a:pt x="83" y="252"/>
                    </a:lnTo>
                    <a:lnTo>
                      <a:pt x="83" y="247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70" y="234"/>
                    </a:lnTo>
                    <a:lnTo>
                      <a:pt x="61" y="230"/>
                    </a:lnTo>
                    <a:lnTo>
                      <a:pt x="61" y="234"/>
                    </a:lnTo>
                    <a:lnTo>
                      <a:pt x="61" y="234"/>
                    </a:lnTo>
                    <a:lnTo>
                      <a:pt x="57" y="234"/>
                    </a:lnTo>
                    <a:lnTo>
                      <a:pt x="52" y="234"/>
                    </a:lnTo>
                    <a:lnTo>
                      <a:pt x="48" y="234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4" y="234"/>
                    </a:lnTo>
                    <a:lnTo>
                      <a:pt x="39" y="234"/>
                    </a:lnTo>
                    <a:lnTo>
                      <a:pt x="39" y="239"/>
                    </a:lnTo>
                    <a:lnTo>
                      <a:pt x="39" y="239"/>
                    </a:lnTo>
                    <a:lnTo>
                      <a:pt x="35" y="243"/>
                    </a:lnTo>
                    <a:lnTo>
                      <a:pt x="35" y="243"/>
                    </a:lnTo>
                    <a:lnTo>
                      <a:pt x="35" y="243"/>
                    </a:lnTo>
                    <a:lnTo>
                      <a:pt x="26" y="243"/>
                    </a:lnTo>
                    <a:lnTo>
                      <a:pt x="22" y="243"/>
                    </a:lnTo>
                    <a:lnTo>
                      <a:pt x="22" y="243"/>
                    </a:lnTo>
                    <a:lnTo>
                      <a:pt x="18" y="243"/>
                    </a:lnTo>
                    <a:lnTo>
                      <a:pt x="18" y="239"/>
                    </a:lnTo>
                    <a:lnTo>
                      <a:pt x="13" y="239"/>
                    </a:lnTo>
                    <a:lnTo>
                      <a:pt x="13" y="234"/>
                    </a:lnTo>
                    <a:lnTo>
                      <a:pt x="9" y="217"/>
                    </a:lnTo>
                    <a:lnTo>
                      <a:pt x="13" y="213"/>
                    </a:lnTo>
                    <a:lnTo>
                      <a:pt x="18" y="213"/>
                    </a:lnTo>
                    <a:lnTo>
                      <a:pt x="18" y="204"/>
                    </a:lnTo>
                    <a:lnTo>
                      <a:pt x="13" y="200"/>
                    </a:lnTo>
                    <a:lnTo>
                      <a:pt x="13" y="200"/>
                    </a:lnTo>
                    <a:lnTo>
                      <a:pt x="9" y="195"/>
                    </a:lnTo>
                    <a:lnTo>
                      <a:pt x="9" y="195"/>
                    </a:lnTo>
                    <a:lnTo>
                      <a:pt x="5" y="200"/>
                    </a:lnTo>
                    <a:lnTo>
                      <a:pt x="5" y="200"/>
                    </a:lnTo>
                    <a:lnTo>
                      <a:pt x="5" y="200"/>
                    </a:lnTo>
                    <a:lnTo>
                      <a:pt x="0" y="195"/>
                    </a:lnTo>
                    <a:lnTo>
                      <a:pt x="5" y="191"/>
                    </a:lnTo>
                    <a:lnTo>
                      <a:pt x="5" y="191"/>
                    </a:lnTo>
                    <a:lnTo>
                      <a:pt x="9" y="191"/>
                    </a:lnTo>
                    <a:lnTo>
                      <a:pt x="9" y="187"/>
                    </a:lnTo>
                    <a:lnTo>
                      <a:pt x="13" y="187"/>
                    </a:lnTo>
                    <a:lnTo>
                      <a:pt x="22" y="174"/>
                    </a:lnTo>
                    <a:lnTo>
                      <a:pt x="22" y="174"/>
                    </a:lnTo>
                    <a:lnTo>
                      <a:pt x="22" y="169"/>
                    </a:lnTo>
                    <a:lnTo>
                      <a:pt x="26" y="169"/>
                    </a:lnTo>
                    <a:lnTo>
                      <a:pt x="26" y="165"/>
                    </a:lnTo>
                    <a:lnTo>
                      <a:pt x="31" y="165"/>
                    </a:lnTo>
                    <a:lnTo>
                      <a:pt x="31" y="165"/>
                    </a:lnTo>
                    <a:lnTo>
                      <a:pt x="35" y="169"/>
                    </a:lnTo>
                    <a:lnTo>
                      <a:pt x="35" y="169"/>
                    </a:lnTo>
                    <a:lnTo>
                      <a:pt x="35" y="169"/>
                    </a:lnTo>
                    <a:lnTo>
                      <a:pt x="48" y="178"/>
                    </a:lnTo>
                    <a:lnTo>
                      <a:pt x="48" y="178"/>
                    </a:lnTo>
                    <a:lnTo>
                      <a:pt x="52" y="174"/>
                    </a:lnTo>
                    <a:lnTo>
                      <a:pt x="52" y="169"/>
                    </a:lnTo>
                    <a:lnTo>
                      <a:pt x="52" y="169"/>
                    </a:lnTo>
                    <a:lnTo>
                      <a:pt x="61" y="161"/>
                    </a:lnTo>
                    <a:lnTo>
                      <a:pt x="61" y="165"/>
                    </a:lnTo>
                    <a:lnTo>
                      <a:pt x="65" y="165"/>
                    </a:lnTo>
                    <a:lnTo>
                      <a:pt x="65" y="169"/>
                    </a:lnTo>
                    <a:lnTo>
                      <a:pt x="65" y="169"/>
                    </a:lnTo>
                    <a:lnTo>
                      <a:pt x="70" y="169"/>
                    </a:lnTo>
                    <a:lnTo>
                      <a:pt x="70" y="174"/>
                    </a:lnTo>
                    <a:lnTo>
                      <a:pt x="74" y="174"/>
                    </a:lnTo>
                    <a:lnTo>
                      <a:pt x="83" y="174"/>
                    </a:lnTo>
                    <a:lnTo>
                      <a:pt x="87" y="174"/>
                    </a:lnTo>
                    <a:lnTo>
                      <a:pt x="87" y="174"/>
                    </a:lnTo>
                    <a:lnTo>
                      <a:pt x="96" y="174"/>
                    </a:lnTo>
                    <a:lnTo>
                      <a:pt x="96" y="174"/>
                    </a:lnTo>
                    <a:lnTo>
                      <a:pt x="100" y="174"/>
                    </a:lnTo>
                    <a:lnTo>
                      <a:pt x="100" y="174"/>
                    </a:lnTo>
                    <a:lnTo>
                      <a:pt x="105" y="174"/>
                    </a:lnTo>
                    <a:lnTo>
                      <a:pt x="109" y="169"/>
                    </a:lnTo>
                    <a:lnTo>
                      <a:pt x="113" y="165"/>
                    </a:lnTo>
                    <a:lnTo>
                      <a:pt x="118" y="165"/>
                    </a:lnTo>
                    <a:lnTo>
                      <a:pt x="122" y="165"/>
                    </a:lnTo>
                    <a:lnTo>
                      <a:pt x="126" y="165"/>
                    </a:lnTo>
                    <a:lnTo>
                      <a:pt x="126" y="169"/>
                    </a:lnTo>
                    <a:lnTo>
                      <a:pt x="131" y="161"/>
                    </a:lnTo>
                    <a:lnTo>
                      <a:pt x="131" y="156"/>
                    </a:lnTo>
                    <a:lnTo>
                      <a:pt x="135" y="143"/>
                    </a:lnTo>
                    <a:lnTo>
                      <a:pt x="135" y="139"/>
                    </a:lnTo>
                    <a:lnTo>
                      <a:pt x="135" y="139"/>
                    </a:lnTo>
                    <a:lnTo>
                      <a:pt x="139" y="139"/>
                    </a:lnTo>
                    <a:lnTo>
                      <a:pt x="139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61" y="139"/>
                    </a:lnTo>
                    <a:lnTo>
                      <a:pt x="161" y="139"/>
                    </a:lnTo>
                    <a:lnTo>
                      <a:pt x="161" y="143"/>
                    </a:lnTo>
                    <a:lnTo>
                      <a:pt x="165" y="143"/>
                    </a:lnTo>
                    <a:lnTo>
                      <a:pt x="170" y="139"/>
                    </a:lnTo>
                    <a:lnTo>
                      <a:pt x="170" y="139"/>
                    </a:lnTo>
                    <a:lnTo>
                      <a:pt x="179" y="134"/>
                    </a:lnTo>
                    <a:lnTo>
                      <a:pt x="205" y="134"/>
                    </a:lnTo>
                    <a:lnTo>
                      <a:pt x="209" y="134"/>
                    </a:lnTo>
                    <a:lnTo>
                      <a:pt x="213" y="130"/>
                    </a:lnTo>
                    <a:lnTo>
                      <a:pt x="218" y="126"/>
                    </a:lnTo>
                    <a:lnTo>
                      <a:pt x="218" y="126"/>
                    </a:lnTo>
                    <a:lnTo>
                      <a:pt x="213" y="121"/>
                    </a:lnTo>
                    <a:lnTo>
                      <a:pt x="213" y="121"/>
                    </a:lnTo>
                    <a:lnTo>
                      <a:pt x="209" y="117"/>
                    </a:lnTo>
                    <a:lnTo>
                      <a:pt x="209" y="113"/>
                    </a:lnTo>
                    <a:lnTo>
                      <a:pt x="209" y="113"/>
                    </a:lnTo>
                    <a:lnTo>
                      <a:pt x="209" y="108"/>
                    </a:lnTo>
                    <a:lnTo>
                      <a:pt x="205" y="104"/>
                    </a:lnTo>
                    <a:lnTo>
                      <a:pt x="205" y="100"/>
                    </a:lnTo>
                    <a:lnTo>
                      <a:pt x="205" y="100"/>
                    </a:lnTo>
                    <a:lnTo>
                      <a:pt x="200" y="100"/>
                    </a:lnTo>
                    <a:lnTo>
                      <a:pt x="196" y="100"/>
                    </a:lnTo>
                    <a:lnTo>
                      <a:pt x="196" y="100"/>
                    </a:lnTo>
                    <a:lnTo>
                      <a:pt x="192" y="100"/>
                    </a:lnTo>
                    <a:lnTo>
                      <a:pt x="192" y="100"/>
                    </a:lnTo>
                    <a:lnTo>
                      <a:pt x="192" y="100"/>
                    </a:lnTo>
                    <a:lnTo>
                      <a:pt x="187" y="95"/>
                    </a:lnTo>
                    <a:lnTo>
                      <a:pt x="170" y="87"/>
                    </a:lnTo>
                    <a:lnTo>
                      <a:pt x="165" y="82"/>
                    </a:lnTo>
                    <a:lnTo>
                      <a:pt x="161" y="69"/>
                    </a:lnTo>
                    <a:lnTo>
                      <a:pt x="165" y="65"/>
                    </a:lnTo>
                    <a:lnTo>
                      <a:pt x="170" y="61"/>
                    </a:lnTo>
                    <a:lnTo>
                      <a:pt x="170" y="61"/>
                    </a:lnTo>
                    <a:lnTo>
                      <a:pt x="174" y="61"/>
                    </a:lnTo>
                    <a:lnTo>
                      <a:pt x="183" y="61"/>
                    </a:lnTo>
                    <a:lnTo>
                      <a:pt x="183" y="56"/>
                    </a:lnTo>
                    <a:lnTo>
                      <a:pt x="183" y="52"/>
                    </a:lnTo>
                    <a:lnTo>
                      <a:pt x="187" y="48"/>
                    </a:lnTo>
                    <a:lnTo>
                      <a:pt x="205" y="61"/>
                    </a:lnTo>
                    <a:lnTo>
                      <a:pt x="213" y="69"/>
                    </a:lnTo>
                    <a:lnTo>
                      <a:pt x="213" y="74"/>
                    </a:lnTo>
                    <a:lnTo>
                      <a:pt x="226" y="65"/>
                    </a:lnTo>
                    <a:lnTo>
                      <a:pt x="226" y="65"/>
                    </a:lnTo>
                    <a:lnTo>
                      <a:pt x="231" y="56"/>
                    </a:lnTo>
                    <a:lnTo>
                      <a:pt x="231" y="52"/>
                    </a:lnTo>
                    <a:lnTo>
                      <a:pt x="226" y="52"/>
                    </a:lnTo>
                    <a:lnTo>
                      <a:pt x="226" y="48"/>
                    </a:lnTo>
                    <a:lnTo>
                      <a:pt x="222" y="48"/>
                    </a:lnTo>
                    <a:lnTo>
                      <a:pt x="222" y="43"/>
                    </a:lnTo>
                    <a:lnTo>
                      <a:pt x="226" y="39"/>
                    </a:lnTo>
                    <a:lnTo>
                      <a:pt x="235" y="48"/>
                    </a:lnTo>
                    <a:lnTo>
                      <a:pt x="235" y="48"/>
                    </a:lnTo>
                    <a:lnTo>
                      <a:pt x="235" y="56"/>
                    </a:lnTo>
                    <a:lnTo>
                      <a:pt x="235" y="65"/>
                    </a:lnTo>
                    <a:lnTo>
                      <a:pt x="239" y="69"/>
                    </a:lnTo>
                    <a:lnTo>
                      <a:pt x="244" y="74"/>
                    </a:lnTo>
                    <a:lnTo>
                      <a:pt x="248" y="74"/>
                    </a:lnTo>
                    <a:lnTo>
                      <a:pt x="248" y="69"/>
                    </a:lnTo>
                    <a:lnTo>
                      <a:pt x="252" y="61"/>
                    </a:lnTo>
                    <a:lnTo>
                      <a:pt x="257" y="56"/>
                    </a:lnTo>
                    <a:lnTo>
                      <a:pt x="257" y="56"/>
                    </a:lnTo>
                    <a:lnTo>
                      <a:pt x="257" y="52"/>
                    </a:lnTo>
                    <a:lnTo>
                      <a:pt x="252" y="48"/>
                    </a:lnTo>
                    <a:lnTo>
                      <a:pt x="252" y="48"/>
                    </a:lnTo>
                    <a:lnTo>
                      <a:pt x="248" y="43"/>
                    </a:lnTo>
                    <a:lnTo>
                      <a:pt x="248" y="43"/>
                    </a:lnTo>
                    <a:lnTo>
                      <a:pt x="248" y="39"/>
                    </a:lnTo>
                    <a:lnTo>
                      <a:pt x="248" y="39"/>
                    </a:lnTo>
                    <a:lnTo>
                      <a:pt x="257" y="39"/>
                    </a:lnTo>
                    <a:lnTo>
                      <a:pt x="265" y="30"/>
                    </a:lnTo>
                    <a:lnTo>
                      <a:pt x="270" y="30"/>
                    </a:lnTo>
                    <a:lnTo>
                      <a:pt x="270" y="30"/>
                    </a:lnTo>
                    <a:lnTo>
                      <a:pt x="274" y="30"/>
                    </a:lnTo>
                    <a:lnTo>
                      <a:pt x="279" y="34"/>
                    </a:lnTo>
                    <a:lnTo>
                      <a:pt x="279" y="34"/>
                    </a:lnTo>
                    <a:lnTo>
                      <a:pt x="283" y="39"/>
                    </a:lnTo>
                    <a:lnTo>
                      <a:pt x="283" y="39"/>
                    </a:lnTo>
                    <a:lnTo>
                      <a:pt x="283" y="39"/>
                    </a:lnTo>
                    <a:lnTo>
                      <a:pt x="287" y="43"/>
                    </a:lnTo>
                    <a:lnTo>
                      <a:pt x="287" y="39"/>
                    </a:lnTo>
                    <a:lnTo>
                      <a:pt x="292" y="39"/>
                    </a:lnTo>
                    <a:lnTo>
                      <a:pt x="300" y="34"/>
                    </a:lnTo>
                    <a:lnTo>
                      <a:pt x="300" y="34"/>
                    </a:lnTo>
                    <a:lnTo>
                      <a:pt x="305" y="21"/>
                    </a:lnTo>
                    <a:lnTo>
                      <a:pt x="305" y="21"/>
                    </a:lnTo>
                    <a:lnTo>
                      <a:pt x="300" y="21"/>
                    </a:lnTo>
                    <a:lnTo>
                      <a:pt x="300" y="17"/>
                    </a:lnTo>
                    <a:lnTo>
                      <a:pt x="300" y="17"/>
                    </a:lnTo>
                    <a:lnTo>
                      <a:pt x="296" y="13"/>
                    </a:lnTo>
                    <a:lnTo>
                      <a:pt x="296" y="13"/>
                    </a:lnTo>
                    <a:lnTo>
                      <a:pt x="300" y="8"/>
                    </a:lnTo>
                    <a:lnTo>
                      <a:pt x="300" y="8"/>
                    </a:lnTo>
                    <a:lnTo>
                      <a:pt x="300" y="4"/>
                    </a:lnTo>
                    <a:lnTo>
                      <a:pt x="300" y="4"/>
                    </a:lnTo>
                    <a:lnTo>
                      <a:pt x="305" y="0"/>
                    </a:lnTo>
                    <a:lnTo>
                      <a:pt x="305" y="4"/>
                    </a:lnTo>
                    <a:lnTo>
                      <a:pt x="309" y="4"/>
                    </a:lnTo>
                    <a:lnTo>
                      <a:pt x="309" y="8"/>
                    </a:lnTo>
                    <a:lnTo>
                      <a:pt x="309" y="8"/>
                    </a:lnTo>
                    <a:lnTo>
                      <a:pt x="318" y="8"/>
                    </a:lnTo>
                    <a:lnTo>
                      <a:pt x="326" y="8"/>
                    </a:lnTo>
                    <a:lnTo>
                      <a:pt x="326" y="8"/>
                    </a:lnTo>
                    <a:lnTo>
                      <a:pt x="326" y="13"/>
                    </a:lnTo>
                    <a:lnTo>
                      <a:pt x="326" y="17"/>
                    </a:lnTo>
                    <a:lnTo>
                      <a:pt x="326" y="17"/>
                    </a:lnTo>
                    <a:lnTo>
                      <a:pt x="326" y="21"/>
                    </a:lnTo>
                    <a:lnTo>
                      <a:pt x="331" y="21"/>
                    </a:lnTo>
                    <a:lnTo>
                      <a:pt x="331" y="26"/>
                    </a:lnTo>
                    <a:lnTo>
                      <a:pt x="335" y="26"/>
                    </a:lnTo>
                    <a:lnTo>
                      <a:pt x="335" y="21"/>
                    </a:lnTo>
                    <a:lnTo>
                      <a:pt x="339" y="21"/>
                    </a:lnTo>
                    <a:lnTo>
                      <a:pt x="344" y="17"/>
                    </a:lnTo>
                    <a:lnTo>
                      <a:pt x="344" y="17"/>
                    </a:lnTo>
                    <a:lnTo>
                      <a:pt x="348" y="17"/>
                    </a:lnTo>
                    <a:lnTo>
                      <a:pt x="361" y="17"/>
                    </a:lnTo>
                    <a:lnTo>
                      <a:pt x="366" y="17"/>
                    </a:lnTo>
                    <a:lnTo>
                      <a:pt x="370" y="26"/>
                    </a:lnTo>
                    <a:lnTo>
                      <a:pt x="370" y="30"/>
                    </a:lnTo>
                    <a:lnTo>
                      <a:pt x="374" y="39"/>
                    </a:lnTo>
                    <a:lnTo>
                      <a:pt x="374" y="39"/>
                    </a:lnTo>
                    <a:lnTo>
                      <a:pt x="370" y="43"/>
                    </a:lnTo>
                    <a:lnTo>
                      <a:pt x="370" y="43"/>
                    </a:lnTo>
                    <a:lnTo>
                      <a:pt x="370" y="43"/>
                    </a:lnTo>
                    <a:lnTo>
                      <a:pt x="370" y="48"/>
                    </a:lnTo>
                    <a:lnTo>
                      <a:pt x="370" y="48"/>
                    </a:lnTo>
                    <a:lnTo>
                      <a:pt x="370" y="48"/>
                    </a:lnTo>
                    <a:lnTo>
                      <a:pt x="374" y="52"/>
                    </a:lnTo>
                    <a:lnTo>
                      <a:pt x="379" y="52"/>
                    </a:lnTo>
                    <a:lnTo>
                      <a:pt x="383" y="52"/>
                    </a:lnTo>
                    <a:lnTo>
                      <a:pt x="383" y="52"/>
                    </a:lnTo>
                    <a:lnTo>
                      <a:pt x="387" y="52"/>
                    </a:lnTo>
                    <a:lnTo>
                      <a:pt x="387" y="56"/>
                    </a:lnTo>
                    <a:lnTo>
                      <a:pt x="392" y="56"/>
                    </a:lnTo>
                    <a:lnTo>
                      <a:pt x="392" y="61"/>
                    </a:lnTo>
                    <a:lnTo>
                      <a:pt x="392" y="65"/>
                    </a:lnTo>
                    <a:lnTo>
                      <a:pt x="392" y="74"/>
                    </a:lnTo>
                    <a:lnTo>
                      <a:pt x="392" y="78"/>
                    </a:lnTo>
                    <a:lnTo>
                      <a:pt x="392" y="78"/>
                    </a:lnTo>
                    <a:lnTo>
                      <a:pt x="396" y="78"/>
                    </a:lnTo>
                    <a:lnTo>
                      <a:pt x="396" y="78"/>
                    </a:lnTo>
                    <a:lnTo>
                      <a:pt x="400" y="78"/>
                    </a:lnTo>
                    <a:lnTo>
                      <a:pt x="396" y="74"/>
                    </a:lnTo>
                    <a:lnTo>
                      <a:pt x="396" y="69"/>
                    </a:lnTo>
                    <a:lnTo>
                      <a:pt x="396" y="65"/>
                    </a:lnTo>
                    <a:lnTo>
                      <a:pt x="400" y="65"/>
                    </a:lnTo>
                    <a:lnTo>
                      <a:pt x="400" y="65"/>
                    </a:lnTo>
                    <a:lnTo>
                      <a:pt x="405" y="69"/>
                    </a:lnTo>
                    <a:lnTo>
                      <a:pt x="405" y="74"/>
                    </a:lnTo>
                    <a:lnTo>
                      <a:pt x="405" y="74"/>
                    </a:lnTo>
                    <a:lnTo>
                      <a:pt x="405" y="78"/>
                    </a:lnTo>
                    <a:lnTo>
                      <a:pt x="400" y="87"/>
                    </a:lnTo>
                    <a:lnTo>
                      <a:pt x="405" y="87"/>
                    </a:lnTo>
                    <a:lnTo>
                      <a:pt x="405" y="87"/>
                    </a:lnTo>
                    <a:lnTo>
                      <a:pt x="409" y="87"/>
                    </a:lnTo>
                    <a:lnTo>
                      <a:pt x="413" y="91"/>
                    </a:lnTo>
                    <a:lnTo>
                      <a:pt x="418" y="91"/>
                    </a:lnTo>
                    <a:lnTo>
                      <a:pt x="431" y="91"/>
                    </a:lnTo>
                    <a:lnTo>
                      <a:pt x="435" y="78"/>
                    </a:lnTo>
                    <a:lnTo>
                      <a:pt x="435" y="74"/>
                    </a:lnTo>
                    <a:lnTo>
                      <a:pt x="435" y="74"/>
                    </a:lnTo>
                    <a:lnTo>
                      <a:pt x="435" y="69"/>
                    </a:lnTo>
                    <a:lnTo>
                      <a:pt x="435" y="65"/>
                    </a:lnTo>
                    <a:lnTo>
                      <a:pt x="439" y="65"/>
                    </a:lnTo>
                    <a:lnTo>
                      <a:pt x="439" y="61"/>
                    </a:lnTo>
                    <a:lnTo>
                      <a:pt x="444" y="61"/>
                    </a:lnTo>
                    <a:lnTo>
                      <a:pt x="439" y="65"/>
                    </a:lnTo>
                    <a:lnTo>
                      <a:pt x="444" y="78"/>
                    </a:lnTo>
                    <a:lnTo>
                      <a:pt x="444" y="78"/>
                    </a:lnTo>
                    <a:lnTo>
                      <a:pt x="448" y="82"/>
                    </a:lnTo>
                    <a:lnTo>
                      <a:pt x="452" y="82"/>
                    </a:lnTo>
                    <a:lnTo>
                      <a:pt x="452" y="82"/>
                    </a:lnTo>
                    <a:lnTo>
                      <a:pt x="452" y="87"/>
                    </a:lnTo>
                    <a:lnTo>
                      <a:pt x="448" y="87"/>
                    </a:lnTo>
                    <a:lnTo>
                      <a:pt x="448" y="91"/>
                    </a:lnTo>
                    <a:lnTo>
                      <a:pt x="448" y="95"/>
                    </a:lnTo>
                    <a:lnTo>
                      <a:pt x="448" y="100"/>
                    </a:lnTo>
                    <a:lnTo>
                      <a:pt x="448" y="117"/>
                    </a:lnTo>
                    <a:lnTo>
                      <a:pt x="452" y="121"/>
                    </a:lnTo>
                    <a:lnTo>
                      <a:pt x="452" y="126"/>
                    </a:lnTo>
                    <a:lnTo>
                      <a:pt x="457" y="126"/>
                    </a:lnTo>
                    <a:lnTo>
                      <a:pt x="457" y="130"/>
                    </a:lnTo>
                    <a:lnTo>
                      <a:pt x="461" y="134"/>
                    </a:lnTo>
                    <a:lnTo>
                      <a:pt x="461" y="139"/>
                    </a:lnTo>
                    <a:lnTo>
                      <a:pt x="461" y="143"/>
                    </a:lnTo>
                    <a:lnTo>
                      <a:pt x="457" y="143"/>
                    </a:lnTo>
                    <a:lnTo>
                      <a:pt x="448" y="152"/>
                    </a:lnTo>
                    <a:lnTo>
                      <a:pt x="439" y="156"/>
                    </a:lnTo>
                    <a:lnTo>
                      <a:pt x="435" y="156"/>
                    </a:lnTo>
                    <a:lnTo>
                      <a:pt x="435" y="165"/>
                    </a:lnTo>
                    <a:lnTo>
                      <a:pt x="431" y="169"/>
                    </a:lnTo>
                    <a:lnTo>
                      <a:pt x="426" y="174"/>
                    </a:lnTo>
                    <a:lnTo>
                      <a:pt x="426" y="174"/>
                    </a:lnTo>
                    <a:lnTo>
                      <a:pt x="422" y="174"/>
                    </a:lnTo>
                    <a:lnTo>
                      <a:pt x="413" y="187"/>
                    </a:lnTo>
                    <a:lnTo>
                      <a:pt x="418" y="191"/>
                    </a:lnTo>
                    <a:lnTo>
                      <a:pt x="418" y="191"/>
                    </a:lnTo>
                    <a:lnTo>
                      <a:pt x="422" y="191"/>
                    </a:lnTo>
                    <a:lnTo>
                      <a:pt x="422" y="191"/>
                    </a:lnTo>
                    <a:lnTo>
                      <a:pt x="426" y="187"/>
                    </a:lnTo>
                    <a:lnTo>
                      <a:pt x="426" y="187"/>
                    </a:lnTo>
                    <a:lnTo>
                      <a:pt x="435" y="182"/>
                    </a:lnTo>
                    <a:lnTo>
                      <a:pt x="435" y="182"/>
                    </a:lnTo>
                    <a:lnTo>
                      <a:pt x="461" y="178"/>
                    </a:lnTo>
                    <a:lnTo>
                      <a:pt x="461" y="182"/>
                    </a:lnTo>
                    <a:lnTo>
                      <a:pt x="470" y="187"/>
                    </a:lnTo>
                    <a:lnTo>
                      <a:pt x="470" y="208"/>
                    </a:lnTo>
                    <a:lnTo>
                      <a:pt x="461" y="217"/>
                    </a:lnTo>
                    <a:lnTo>
                      <a:pt x="457" y="221"/>
                    </a:lnTo>
                    <a:lnTo>
                      <a:pt x="461" y="226"/>
                    </a:lnTo>
                    <a:lnTo>
                      <a:pt x="461" y="230"/>
                    </a:lnTo>
                    <a:lnTo>
                      <a:pt x="461" y="230"/>
                    </a:lnTo>
                    <a:lnTo>
                      <a:pt x="461" y="234"/>
                    </a:lnTo>
                    <a:lnTo>
                      <a:pt x="461" y="239"/>
                    </a:lnTo>
                    <a:lnTo>
                      <a:pt x="457" y="239"/>
                    </a:lnTo>
                    <a:lnTo>
                      <a:pt x="457" y="243"/>
                    </a:lnTo>
                    <a:lnTo>
                      <a:pt x="452" y="252"/>
                    </a:lnTo>
                    <a:lnTo>
                      <a:pt x="452" y="252"/>
                    </a:lnTo>
                    <a:lnTo>
                      <a:pt x="457" y="256"/>
                    </a:lnTo>
                    <a:lnTo>
                      <a:pt x="457" y="256"/>
                    </a:lnTo>
                    <a:lnTo>
                      <a:pt x="466" y="261"/>
                    </a:lnTo>
                    <a:lnTo>
                      <a:pt x="466" y="265"/>
                    </a:lnTo>
                    <a:lnTo>
                      <a:pt x="466" y="274"/>
                    </a:lnTo>
                    <a:lnTo>
                      <a:pt x="466" y="278"/>
                    </a:lnTo>
                    <a:lnTo>
                      <a:pt x="470" y="278"/>
                    </a:lnTo>
                    <a:lnTo>
                      <a:pt x="470" y="282"/>
                    </a:lnTo>
                    <a:lnTo>
                      <a:pt x="461" y="300"/>
                    </a:lnTo>
                    <a:lnTo>
                      <a:pt x="457" y="304"/>
                    </a:lnTo>
                    <a:lnTo>
                      <a:pt x="457" y="304"/>
                    </a:lnTo>
                    <a:lnTo>
                      <a:pt x="452" y="304"/>
                    </a:lnTo>
                    <a:lnTo>
                      <a:pt x="452" y="304"/>
                    </a:lnTo>
                    <a:lnTo>
                      <a:pt x="448" y="300"/>
                    </a:lnTo>
                    <a:lnTo>
                      <a:pt x="439" y="300"/>
                    </a:lnTo>
                    <a:lnTo>
                      <a:pt x="431" y="304"/>
                    </a:lnTo>
                    <a:lnTo>
                      <a:pt x="431" y="304"/>
                    </a:lnTo>
                    <a:lnTo>
                      <a:pt x="426" y="308"/>
                    </a:lnTo>
                    <a:lnTo>
                      <a:pt x="426" y="308"/>
                    </a:lnTo>
                    <a:lnTo>
                      <a:pt x="426" y="313"/>
                    </a:lnTo>
                    <a:lnTo>
                      <a:pt x="431" y="313"/>
                    </a:lnTo>
                    <a:lnTo>
                      <a:pt x="435" y="308"/>
                    </a:lnTo>
                    <a:lnTo>
                      <a:pt x="435" y="313"/>
                    </a:lnTo>
                    <a:lnTo>
                      <a:pt x="435" y="317"/>
                    </a:lnTo>
                    <a:lnTo>
                      <a:pt x="435" y="321"/>
                    </a:lnTo>
                    <a:lnTo>
                      <a:pt x="435" y="321"/>
                    </a:lnTo>
                    <a:lnTo>
                      <a:pt x="435" y="321"/>
                    </a:lnTo>
                    <a:lnTo>
                      <a:pt x="418" y="326"/>
                    </a:lnTo>
                    <a:lnTo>
                      <a:pt x="418" y="321"/>
                    </a:lnTo>
                    <a:lnTo>
                      <a:pt x="413" y="321"/>
                    </a:lnTo>
                    <a:lnTo>
                      <a:pt x="405" y="330"/>
                    </a:lnTo>
                    <a:lnTo>
                      <a:pt x="405" y="343"/>
                    </a:lnTo>
                    <a:lnTo>
                      <a:pt x="405" y="343"/>
                    </a:lnTo>
                    <a:lnTo>
                      <a:pt x="396" y="339"/>
                    </a:lnTo>
                    <a:lnTo>
                      <a:pt x="396" y="334"/>
                    </a:lnTo>
                    <a:lnTo>
                      <a:pt x="396" y="334"/>
                    </a:lnTo>
                    <a:lnTo>
                      <a:pt x="392" y="334"/>
                    </a:lnTo>
                    <a:lnTo>
                      <a:pt x="387" y="326"/>
                    </a:lnTo>
                    <a:lnTo>
                      <a:pt x="379" y="326"/>
                    </a:lnTo>
                    <a:lnTo>
                      <a:pt x="379" y="330"/>
                    </a:lnTo>
                    <a:lnTo>
                      <a:pt x="370" y="330"/>
                    </a:lnTo>
                    <a:lnTo>
                      <a:pt x="370" y="339"/>
                    </a:lnTo>
                    <a:lnTo>
                      <a:pt x="366" y="343"/>
                    </a:lnTo>
                    <a:lnTo>
                      <a:pt x="366" y="352"/>
                    </a:lnTo>
                    <a:lnTo>
                      <a:pt x="366" y="352"/>
                    </a:lnTo>
                    <a:lnTo>
                      <a:pt x="366" y="352"/>
                    </a:lnTo>
                    <a:lnTo>
                      <a:pt x="361" y="356"/>
                    </a:lnTo>
                    <a:lnTo>
                      <a:pt x="344" y="361"/>
                    </a:lnTo>
                    <a:lnTo>
                      <a:pt x="339" y="365"/>
                    </a:lnTo>
                    <a:lnTo>
                      <a:pt x="339" y="365"/>
                    </a:lnTo>
                    <a:lnTo>
                      <a:pt x="339" y="365"/>
                    </a:lnTo>
                    <a:lnTo>
                      <a:pt x="326" y="356"/>
                    </a:lnTo>
                    <a:lnTo>
                      <a:pt x="326" y="352"/>
                    </a:lnTo>
                    <a:lnTo>
                      <a:pt x="313" y="356"/>
                    </a:lnTo>
                    <a:lnTo>
                      <a:pt x="313" y="356"/>
                    </a:lnTo>
                    <a:lnTo>
                      <a:pt x="309" y="347"/>
                    </a:lnTo>
                    <a:lnTo>
                      <a:pt x="300" y="339"/>
                    </a:lnTo>
                    <a:lnTo>
                      <a:pt x="300" y="334"/>
                    </a:lnTo>
                    <a:lnTo>
                      <a:pt x="300" y="330"/>
                    </a:lnTo>
                    <a:lnTo>
                      <a:pt x="296" y="330"/>
                    </a:lnTo>
                    <a:lnTo>
                      <a:pt x="296" y="330"/>
                    </a:lnTo>
                    <a:lnTo>
                      <a:pt x="296" y="330"/>
                    </a:lnTo>
                    <a:lnTo>
                      <a:pt x="283" y="334"/>
                    </a:lnTo>
                    <a:lnTo>
                      <a:pt x="274" y="343"/>
                    </a:lnTo>
                    <a:lnTo>
                      <a:pt x="274" y="347"/>
                    </a:lnTo>
                    <a:lnTo>
                      <a:pt x="274" y="352"/>
                    </a:lnTo>
                    <a:lnTo>
                      <a:pt x="274" y="352"/>
                    </a:lnTo>
                    <a:lnTo>
                      <a:pt x="274" y="356"/>
                    </a:lnTo>
                    <a:lnTo>
                      <a:pt x="274" y="356"/>
                    </a:lnTo>
                    <a:lnTo>
                      <a:pt x="257" y="361"/>
                    </a:lnTo>
                    <a:lnTo>
                      <a:pt x="252" y="361"/>
                    </a:lnTo>
                    <a:lnTo>
                      <a:pt x="244" y="365"/>
                    </a:lnTo>
                    <a:lnTo>
                      <a:pt x="239" y="369"/>
                    </a:lnTo>
                    <a:lnTo>
                      <a:pt x="235" y="374"/>
                    </a:lnTo>
                    <a:lnTo>
                      <a:pt x="231" y="374"/>
                    </a:lnTo>
                    <a:lnTo>
                      <a:pt x="218" y="382"/>
                    </a:lnTo>
                    <a:lnTo>
                      <a:pt x="213" y="382"/>
                    </a:lnTo>
                    <a:lnTo>
                      <a:pt x="209" y="382"/>
                    </a:lnTo>
                    <a:lnTo>
                      <a:pt x="209" y="387"/>
                    </a:lnTo>
                    <a:lnTo>
                      <a:pt x="209" y="391"/>
                    </a:lnTo>
                    <a:lnTo>
                      <a:pt x="209" y="395"/>
                    </a:lnTo>
                    <a:lnTo>
                      <a:pt x="209" y="395"/>
                    </a:lnTo>
                    <a:lnTo>
                      <a:pt x="209" y="400"/>
                    </a:lnTo>
                    <a:lnTo>
                      <a:pt x="205" y="404"/>
                    </a:lnTo>
                    <a:lnTo>
                      <a:pt x="205" y="404"/>
                    </a:lnTo>
                    <a:lnTo>
                      <a:pt x="200" y="404"/>
                    </a:lnTo>
                    <a:lnTo>
                      <a:pt x="200" y="404"/>
                    </a:lnTo>
                    <a:lnTo>
                      <a:pt x="196" y="408"/>
                    </a:lnTo>
                    <a:lnTo>
                      <a:pt x="196" y="408"/>
                    </a:lnTo>
                    <a:lnTo>
                      <a:pt x="192" y="408"/>
                    </a:lnTo>
                    <a:lnTo>
                      <a:pt x="187" y="404"/>
                    </a:lnTo>
                    <a:lnTo>
                      <a:pt x="187" y="404"/>
                    </a:lnTo>
                    <a:lnTo>
                      <a:pt x="183" y="404"/>
                    </a:lnTo>
                    <a:lnTo>
                      <a:pt x="183" y="404"/>
                    </a:lnTo>
                    <a:lnTo>
                      <a:pt x="174" y="404"/>
                    </a:lnTo>
                    <a:lnTo>
                      <a:pt x="152" y="395"/>
                    </a:lnTo>
                    <a:lnTo>
                      <a:pt x="148" y="391"/>
                    </a:lnTo>
                    <a:lnTo>
                      <a:pt x="148" y="391"/>
                    </a:lnTo>
                    <a:lnTo>
                      <a:pt x="148" y="387"/>
                    </a:lnTo>
                    <a:lnTo>
                      <a:pt x="148" y="387"/>
                    </a:lnTo>
                    <a:lnTo>
                      <a:pt x="126" y="378"/>
                    </a:lnTo>
                    <a:lnTo>
                      <a:pt x="122" y="382"/>
                    </a:lnTo>
                    <a:lnTo>
                      <a:pt x="118" y="387"/>
                    </a:lnTo>
                    <a:lnTo>
                      <a:pt x="118" y="387"/>
                    </a:lnTo>
                    <a:lnTo>
                      <a:pt x="118" y="391"/>
                    </a:lnTo>
                    <a:lnTo>
                      <a:pt x="113" y="395"/>
                    </a:lnTo>
                    <a:lnTo>
                      <a:pt x="113" y="395"/>
                    </a:lnTo>
                    <a:lnTo>
                      <a:pt x="113" y="400"/>
                    </a:lnTo>
                    <a:lnTo>
                      <a:pt x="109" y="400"/>
                    </a:lnTo>
                    <a:lnTo>
                      <a:pt x="105" y="400"/>
                    </a:lnTo>
                    <a:lnTo>
                      <a:pt x="96" y="408"/>
                    </a:lnTo>
                    <a:lnTo>
                      <a:pt x="92" y="413"/>
                    </a:lnTo>
                    <a:lnTo>
                      <a:pt x="83" y="408"/>
                    </a:lnTo>
                    <a:lnTo>
                      <a:pt x="74" y="404"/>
                    </a:lnTo>
                    <a:lnTo>
                      <a:pt x="74" y="400"/>
                    </a:lnTo>
                    <a:lnTo>
                      <a:pt x="74" y="395"/>
                    </a:lnTo>
                    <a:lnTo>
                      <a:pt x="79" y="387"/>
                    </a:lnTo>
                    <a:lnTo>
                      <a:pt x="83" y="382"/>
                    </a:lnTo>
                    <a:lnTo>
                      <a:pt x="87" y="369"/>
                    </a:lnTo>
                    <a:lnTo>
                      <a:pt x="92" y="361"/>
                    </a:lnTo>
                    <a:lnTo>
                      <a:pt x="96" y="361"/>
                    </a:lnTo>
                    <a:lnTo>
                      <a:pt x="96" y="356"/>
                    </a:lnTo>
                    <a:lnTo>
                      <a:pt x="96" y="35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42">
                <a:extLst>
                  <a:ext uri="{FF2B5EF4-FFF2-40B4-BE49-F238E27FC236}">
                    <a16:creationId xmlns:a16="http://schemas.microsoft.com/office/drawing/2014/main" id="{4A2C168B-4FF4-5293-523C-80D70151B7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72139" y="5190458"/>
                <a:ext cx="1065893" cy="752475"/>
              </a:xfrm>
              <a:custGeom>
                <a:avLst/>
                <a:gdLst>
                  <a:gd name="T0" fmla="*/ 213 w 617"/>
                  <a:gd name="T1" fmla="*/ 422 h 456"/>
                  <a:gd name="T2" fmla="*/ 182 w 617"/>
                  <a:gd name="T3" fmla="*/ 391 h 456"/>
                  <a:gd name="T4" fmla="*/ 178 w 617"/>
                  <a:gd name="T5" fmla="*/ 352 h 456"/>
                  <a:gd name="T6" fmla="*/ 169 w 617"/>
                  <a:gd name="T7" fmla="*/ 326 h 456"/>
                  <a:gd name="T8" fmla="*/ 135 w 617"/>
                  <a:gd name="T9" fmla="*/ 322 h 456"/>
                  <a:gd name="T10" fmla="*/ 104 w 617"/>
                  <a:gd name="T11" fmla="*/ 317 h 456"/>
                  <a:gd name="T12" fmla="*/ 95 w 617"/>
                  <a:gd name="T13" fmla="*/ 291 h 456"/>
                  <a:gd name="T14" fmla="*/ 130 w 617"/>
                  <a:gd name="T15" fmla="*/ 274 h 456"/>
                  <a:gd name="T16" fmla="*/ 122 w 617"/>
                  <a:gd name="T17" fmla="*/ 222 h 456"/>
                  <a:gd name="T18" fmla="*/ 91 w 617"/>
                  <a:gd name="T19" fmla="*/ 217 h 456"/>
                  <a:gd name="T20" fmla="*/ 56 w 617"/>
                  <a:gd name="T21" fmla="*/ 213 h 456"/>
                  <a:gd name="T22" fmla="*/ 17 w 617"/>
                  <a:gd name="T23" fmla="*/ 191 h 456"/>
                  <a:gd name="T24" fmla="*/ 4 w 617"/>
                  <a:gd name="T25" fmla="*/ 178 h 456"/>
                  <a:gd name="T26" fmla="*/ 26 w 617"/>
                  <a:gd name="T27" fmla="*/ 169 h 456"/>
                  <a:gd name="T28" fmla="*/ 52 w 617"/>
                  <a:gd name="T29" fmla="*/ 143 h 456"/>
                  <a:gd name="T30" fmla="*/ 117 w 617"/>
                  <a:gd name="T31" fmla="*/ 165 h 456"/>
                  <a:gd name="T32" fmla="*/ 139 w 617"/>
                  <a:gd name="T33" fmla="*/ 152 h 456"/>
                  <a:gd name="T34" fmla="*/ 169 w 617"/>
                  <a:gd name="T35" fmla="*/ 130 h 456"/>
                  <a:gd name="T36" fmla="*/ 204 w 617"/>
                  <a:gd name="T37" fmla="*/ 104 h 456"/>
                  <a:gd name="T38" fmla="*/ 243 w 617"/>
                  <a:gd name="T39" fmla="*/ 117 h 456"/>
                  <a:gd name="T40" fmla="*/ 296 w 617"/>
                  <a:gd name="T41" fmla="*/ 104 h 456"/>
                  <a:gd name="T42" fmla="*/ 326 w 617"/>
                  <a:gd name="T43" fmla="*/ 95 h 456"/>
                  <a:gd name="T44" fmla="*/ 365 w 617"/>
                  <a:gd name="T45" fmla="*/ 82 h 456"/>
                  <a:gd name="T46" fmla="*/ 361 w 617"/>
                  <a:gd name="T47" fmla="*/ 65 h 456"/>
                  <a:gd name="T48" fmla="*/ 400 w 617"/>
                  <a:gd name="T49" fmla="*/ 39 h 456"/>
                  <a:gd name="T50" fmla="*/ 430 w 617"/>
                  <a:gd name="T51" fmla="*/ 39 h 456"/>
                  <a:gd name="T52" fmla="*/ 452 w 617"/>
                  <a:gd name="T53" fmla="*/ 26 h 456"/>
                  <a:gd name="T54" fmla="*/ 474 w 617"/>
                  <a:gd name="T55" fmla="*/ 30 h 456"/>
                  <a:gd name="T56" fmla="*/ 513 w 617"/>
                  <a:gd name="T57" fmla="*/ 4 h 456"/>
                  <a:gd name="T58" fmla="*/ 543 w 617"/>
                  <a:gd name="T59" fmla="*/ 13 h 456"/>
                  <a:gd name="T60" fmla="*/ 543 w 617"/>
                  <a:gd name="T61" fmla="*/ 43 h 456"/>
                  <a:gd name="T62" fmla="*/ 548 w 617"/>
                  <a:gd name="T63" fmla="*/ 65 h 456"/>
                  <a:gd name="T64" fmla="*/ 535 w 617"/>
                  <a:gd name="T65" fmla="*/ 104 h 456"/>
                  <a:gd name="T66" fmla="*/ 535 w 617"/>
                  <a:gd name="T67" fmla="*/ 130 h 456"/>
                  <a:gd name="T68" fmla="*/ 569 w 617"/>
                  <a:gd name="T69" fmla="*/ 143 h 456"/>
                  <a:gd name="T70" fmla="*/ 591 w 617"/>
                  <a:gd name="T71" fmla="*/ 139 h 456"/>
                  <a:gd name="T72" fmla="*/ 604 w 617"/>
                  <a:gd name="T73" fmla="*/ 152 h 456"/>
                  <a:gd name="T74" fmla="*/ 604 w 617"/>
                  <a:gd name="T75" fmla="*/ 200 h 456"/>
                  <a:gd name="T76" fmla="*/ 587 w 617"/>
                  <a:gd name="T77" fmla="*/ 230 h 456"/>
                  <a:gd name="T78" fmla="*/ 574 w 617"/>
                  <a:gd name="T79" fmla="*/ 291 h 456"/>
                  <a:gd name="T80" fmla="*/ 517 w 617"/>
                  <a:gd name="T81" fmla="*/ 352 h 456"/>
                  <a:gd name="T82" fmla="*/ 517 w 617"/>
                  <a:gd name="T83" fmla="*/ 378 h 456"/>
                  <a:gd name="T84" fmla="*/ 491 w 617"/>
                  <a:gd name="T85" fmla="*/ 395 h 456"/>
                  <a:gd name="T86" fmla="*/ 456 w 617"/>
                  <a:gd name="T87" fmla="*/ 430 h 456"/>
                  <a:gd name="T88" fmla="*/ 443 w 617"/>
                  <a:gd name="T89" fmla="*/ 448 h 456"/>
                  <a:gd name="T90" fmla="*/ 430 w 617"/>
                  <a:gd name="T91" fmla="*/ 439 h 456"/>
                  <a:gd name="T92" fmla="*/ 396 w 617"/>
                  <a:gd name="T93" fmla="*/ 452 h 456"/>
                  <a:gd name="T94" fmla="*/ 382 w 617"/>
                  <a:gd name="T95" fmla="*/ 435 h 456"/>
                  <a:gd name="T96" fmla="*/ 365 w 617"/>
                  <a:gd name="T97" fmla="*/ 417 h 456"/>
                  <a:gd name="T98" fmla="*/ 361 w 617"/>
                  <a:gd name="T99" fmla="*/ 439 h 456"/>
                  <a:gd name="T100" fmla="*/ 335 w 617"/>
                  <a:gd name="T101" fmla="*/ 417 h 456"/>
                  <a:gd name="T102" fmla="*/ 335 w 617"/>
                  <a:gd name="T103" fmla="*/ 435 h 456"/>
                  <a:gd name="T104" fmla="*/ 313 w 617"/>
                  <a:gd name="T105" fmla="*/ 448 h 456"/>
                  <a:gd name="T106" fmla="*/ 291 w 617"/>
                  <a:gd name="T107" fmla="*/ 448 h 456"/>
                  <a:gd name="T108" fmla="*/ 256 w 617"/>
                  <a:gd name="T109" fmla="*/ 443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17" h="456">
                    <a:moveTo>
                      <a:pt x="243" y="443"/>
                    </a:moveTo>
                    <a:lnTo>
                      <a:pt x="239" y="439"/>
                    </a:lnTo>
                    <a:lnTo>
                      <a:pt x="239" y="435"/>
                    </a:lnTo>
                    <a:lnTo>
                      <a:pt x="235" y="430"/>
                    </a:lnTo>
                    <a:lnTo>
                      <a:pt x="235" y="435"/>
                    </a:lnTo>
                    <a:lnTo>
                      <a:pt x="230" y="435"/>
                    </a:lnTo>
                    <a:lnTo>
                      <a:pt x="213" y="422"/>
                    </a:lnTo>
                    <a:lnTo>
                      <a:pt x="213" y="417"/>
                    </a:lnTo>
                    <a:lnTo>
                      <a:pt x="213" y="413"/>
                    </a:lnTo>
                    <a:lnTo>
                      <a:pt x="204" y="408"/>
                    </a:lnTo>
                    <a:lnTo>
                      <a:pt x="200" y="408"/>
                    </a:lnTo>
                    <a:lnTo>
                      <a:pt x="187" y="408"/>
                    </a:lnTo>
                    <a:lnTo>
                      <a:pt x="187" y="404"/>
                    </a:lnTo>
                    <a:lnTo>
                      <a:pt x="182" y="391"/>
                    </a:lnTo>
                    <a:lnTo>
                      <a:pt x="182" y="387"/>
                    </a:lnTo>
                    <a:lnTo>
                      <a:pt x="182" y="378"/>
                    </a:lnTo>
                    <a:lnTo>
                      <a:pt x="178" y="378"/>
                    </a:lnTo>
                    <a:lnTo>
                      <a:pt x="174" y="378"/>
                    </a:lnTo>
                    <a:lnTo>
                      <a:pt x="174" y="369"/>
                    </a:lnTo>
                    <a:lnTo>
                      <a:pt x="174" y="365"/>
                    </a:lnTo>
                    <a:lnTo>
                      <a:pt x="178" y="352"/>
                    </a:lnTo>
                    <a:lnTo>
                      <a:pt x="187" y="352"/>
                    </a:lnTo>
                    <a:lnTo>
                      <a:pt x="191" y="339"/>
                    </a:lnTo>
                    <a:lnTo>
                      <a:pt x="191" y="335"/>
                    </a:lnTo>
                    <a:lnTo>
                      <a:pt x="187" y="335"/>
                    </a:lnTo>
                    <a:lnTo>
                      <a:pt x="182" y="330"/>
                    </a:lnTo>
                    <a:lnTo>
                      <a:pt x="174" y="326"/>
                    </a:lnTo>
                    <a:lnTo>
                      <a:pt x="169" y="326"/>
                    </a:lnTo>
                    <a:lnTo>
                      <a:pt x="165" y="326"/>
                    </a:lnTo>
                    <a:lnTo>
                      <a:pt x="152" y="330"/>
                    </a:lnTo>
                    <a:lnTo>
                      <a:pt x="148" y="330"/>
                    </a:lnTo>
                    <a:lnTo>
                      <a:pt x="148" y="326"/>
                    </a:lnTo>
                    <a:lnTo>
                      <a:pt x="143" y="326"/>
                    </a:lnTo>
                    <a:lnTo>
                      <a:pt x="143" y="322"/>
                    </a:lnTo>
                    <a:lnTo>
                      <a:pt x="135" y="322"/>
                    </a:lnTo>
                    <a:lnTo>
                      <a:pt x="130" y="317"/>
                    </a:lnTo>
                    <a:lnTo>
                      <a:pt x="126" y="322"/>
                    </a:lnTo>
                    <a:lnTo>
                      <a:pt x="126" y="326"/>
                    </a:lnTo>
                    <a:lnTo>
                      <a:pt x="117" y="326"/>
                    </a:lnTo>
                    <a:lnTo>
                      <a:pt x="113" y="322"/>
                    </a:lnTo>
                    <a:lnTo>
                      <a:pt x="109" y="317"/>
                    </a:lnTo>
                    <a:lnTo>
                      <a:pt x="104" y="317"/>
                    </a:lnTo>
                    <a:lnTo>
                      <a:pt x="95" y="313"/>
                    </a:lnTo>
                    <a:lnTo>
                      <a:pt x="91" y="313"/>
                    </a:lnTo>
                    <a:lnTo>
                      <a:pt x="91" y="308"/>
                    </a:lnTo>
                    <a:lnTo>
                      <a:pt x="87" y="308"/>
                    </a:lnTo>
                    <a:lnTo>
                      <a:pt x="87" y="304"/>
                    </a:lnTo>
                    <a:lnTo>
                      <a:pt x="87" y="300"/>
                    </a:lnTo>
                    <a:lnTo>
                      <a:pt x="95" y="291"/>
                    </a:lnTo>
                    <a:lnTo>
                      <a:pt x="104" y="278"/>
                    </a:lnTo>
                    <a:lnTo>
                      <a:pt x="113" y="274"/>
                    </a:lnTo>
                    <a:lnTo>
                      <a:pt x="117" y="274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6" y="278"/>
                    </a:lnTo>
                    <a:lnTo>
                      <a:pt x="130" y="274"/>
                    </a:lnTo>
                    <a:lnTo>
                      <a:pt x="135" y="269"/>
                    </a:lnTo>
                    <a:lnTo>
                      <a:pt x="135" y="265"/>
                    </a:lnTo>
                    <a:lnTo>
                      <a:pt x="139" y="252"/>
                    </a:lnTo>
                    <a:lnTo>
                      <a:pt x="139" y="243"/>
                    </a:lnTo>
                    <a:lnTo>
                      <a:pt x="135" y="235"/>
                    </a:lnTo>
                    <a:lnTo>
                      <a:pt x="135" y="230"/>
                    </a:lnTo>
                    <a:lnTo>
                      <a:pt x="122" y="222"/>
                    </a:lnTo>
                    <a:lnTo>
                      <a:pt x="117" y="222"/>
                    </a:lnTo>
                    <a:lnTo>
                      <a:pt x="113" y="226"/>
                    </a:lnTo>
                    <a:lnTo>
                      <a:pt x="109" y="226"/>
                    </a:lnTo>
                    <a:lnTo>
                      <a:pt x="104" y="226"/>
                    </a:lnTo>
                    <a:lnTo>
                      <a:pt x="95" y="226"/>
                    </a:lnTo>
                    <a:lnTo>
                      <a:pt x="95" y="222"/>
                    </a:lnTo>
                    <a:lnTo>
                      <a:pt x="91" y="217"/>
                    </a:lnTo>
                    <a:lnTo>
                      <a:pt x="87" y="217"/>
                    </a:lnTo>
                    <a:lnTo>
                      <a:pt x="82" y="226"/>
                    </a:lnTo>
                    <a:lnTo>
                      <a:pt x="78" y="226"/>
                    </a:lnTo>
                    <a:lnTo>
                      <a:pt x="65" y="222"/>
                    </a:lnTo>
                    <a:lnTo>
                      <a:pt x="61" y="222"/>
                    </a:lnTo>
                    <a:lnTo>
                      <a:pt x="56" y="217"/>
                    </a:lnTo>
                    <a:lnTo>
                      <a:pt x="56" y="213"/>
                    </a:lnTo>
                    <a:lnTo>
                      <a:pt x="56" y="208"/>
                    </a:lnTo>
                    <a:lnTo>
                      <a:pt x="56" y="200"/>
                    </a:lnTo>
                    <a:lnTo>
                      <a:pt x="52" y="191"/>
                    </a:lnTo>
                    <a:lnTo>
                      <a:pt x="48" y="191"/>
                    </a:lnTo>
                    <a:lnTo>
                      <a:pt x="30" y="187"/>
                    </a:lnTo>
                    <a:lnTo>
                      <a:pt x="22" y="187"/>
                    </a:lnTo>
                    <a:lnTo>
                      <a:pt x="17" y="191"/>
                    </a:lnTo>
                    <a:lnTo>
                      <a:pt x="17" y="195"/>
                    </a:lnTo>
                    <a:lnTo>
                      <a:pt x="22" y="200"/>
                    </a:lnTo>
                    <a:lnTo>
                      <a:pt x="17" y="200"/>
                    </a:lnTo>
                    <a:lnTo>
                      <a:pt x="9" y="195"/>
                    </a:lnTo>
                    <a:lnTo>
                      <a:pt x="9" y="191"/>
                    </a:lnTo>
                    <a:lnTo>
                      <a:pt x="4" y="182"/>
                    </a:lnTo>
                    <a:lnTo>
                      <a:pt x="4" y="178"/>
                    </a:lnTo>
                    <a:lnTo>
                      <a:pt x="0" y="174"/>
                    </a:lnTo>
                    <a:lnTo>
                      <a:pt x="0" y="169"/>
                    </a:lnTo>
                    <a:lnTo>
                      <a:pt x="0" y="165"/>
                    </a:lnTo>
                    <a:lnTo>
                      <a:pt x="4" y="165"/>
                    </a:lnTo>
                    <a:lnTo>
                      <a:pt x="13" y="169"/>
                    </a:lnTo>
                    <a:lnTo>
                      <a:pt x="22" y="174"/>
                    </a:lnTo>
                    <a:lnTo>
                      <a:pt x="26" y="169"/>
                    </a:lnTo>
                    <a:lnTo>
                      <a:pt x="35" y="161"/>
                    </a:lnTo>
                    <a:lnTo>
                      <a:pt x="39" y="161"/>
                    </a:lnTo>
                    <a:lnTo>
                      <a:pt x="43" y="161"/>
                    </a:lnTo>
                    <a:lnTo>
                      <a:pt x="43" y="156"/>
                    </a:lnTo>
                    <a:lnTo>
                      <a:pt x="48" y="152"/>
                    </a:lnTo>
                    <a:lnTo>
                      <a:pt x="48" y="148"/>
                    </a:lnTo>
                    <a:lnTo>
                      <a:pt x="52" y="143"/>
                    </a:lnTo>
                    <a:lnTo>
                      <a:pt x="56" y="139"/>
                    </a:lnTo>
                    <a:lnTo>
                      <a:pt x="78" y="148"/>
                    </a:lnTo>
                    <a:lnTo>
                      <a:pt x="78" y="152"/>
                    </a:lnTo>
                    <a:lnTo>
                      <a:pt x="82" y="156"/>
                    </a:lnTo>
                    <a:lnTo>
                      <a:pt x="104" y="165"/>
                    </a:lnTo>
                    <a:lnTo>
                      <a:pt x="113" y="165"/>
                    </a:lnTo>
                    <a:lnTo>
                      <a:pt x="117" y="165"/>
                    </a:lnTo>
                    <a:lnTo>
                      <a:pt x="122" y="169"/>
                    </a:lnTo>
                    <a:lnTo>
                      <a:pt x="126" y="169"/>
                    </a:lnTo>
                    <a:lnTo>
                      <a:pt x="130" y="165"/>
                    </a:lnTo>
                    <a:lnTo>
                      <a:pt x="135" y="165"/>
                    </a:lnTo>
                    <a:lnTo>
                      <a:pt x="139" y="161"/>
                    </a:lnTo>
                    <a:lnTo>
                      <a:pt x="139" y="156"/>
                    </a:lnTo>
                    <a:lnTo>
                      <a:pt x="139" y="152"/>
                    </a:lnTo>
                    <a:lnTo>
                      <a:pt x="139" y="148"/>
                    </a:lnTo>
                    <a:lnTo>
                      <a:pt x="139" y="143"/>
                    </a:lnTo>
                    <a:lnTo>
                      <a:pt x="143" y="143"/>
                    </a:lnTo>
                    <a:lnTo>
                      <a:pt x="148" y="143"/>
                    </a:lnTo>
                    <a:lnTo>
                      <a:pt x="161" y="135"/>
                    </a:lnTo>
                    <a:lnTo>
                      <a:pt x="165" y="135"/>
                    </a:lnTo>
                    <a:lnTo>
                      <a:pt x="169" y="130"/>
                    </a:lnTo>
                    <a:lnTo>
                      <a:pt x="174" y="126"/>
                    </a:lnTo>
                    <a:lnTo>
                      <a:pt x="182" y="122"/>
                    </a:lnTo>
                    <a:lnTo>
                      <a:pt x="187" y="122"/>
                    </a:lnTo>
                    <a:lnTo>
                      <a:pt x="204" y="117"/>
                    </a:lnTo>
                    <a:lnTo>
                      <a:pt x="204" y="113"/>
                    </a:lnTo>
                    <a:lnTo>
                      <a:pt x="204" y="108"/>
                    </a:lnTo>
                    <a:lnTo>
                      <a:pt x="204" y="104"/>
                    </a:lnTo>
                    <a:lnTo>
                      <a:pt x="213" y="95"/>
                    </a:lnTo>
                    <a:lnTo>
                      <a:pt x="226" y="91"/>
                    </a:lnTo>
                    <a:lnTo>
                      <a:pt x="230" y="91"/>
                    </a:lnTo>
                    <a:lnTo>
                      <a:pt x="230" y="95"/>
                    </a:lnTo>
                    <a:lnTo>
                      <a:pt x="230" y="100"/>
                    </a:lnTo>
                    <a:lnTo>
                      <a:pt x="239" y="108"/>
                    </a:lnTo>
                    <a:lnTo>
                      <a:pt x="243" y="117"/>
                    </a:lnTo>
                    <a:lnTo>
                      <a:pt x="256" y="113"/>
                    </a:lnTo>
                    <a:lnTo>
                      <a:pt x="256" y="117"/>
                    </a:lnTo>
                    <a:lnTo>
                      <a:pt x="269" y="126"/>
                    </a:lnTo>
                    <a:lnTo>
                      <a:pt x="274" y="122"/>
                    </a:lnTo>
                    <a:lnTo>
                      <a:pt x="291" y="117"/>
                    </a:lnTo>
                    <a:lnTo>
                      <a:pt x="296" y="113"/>
                    </a:lnTo>
                    <a:lnTo>
                      <a:pt x="296" y="104"/>
                    </a:lnTo>
                    <a:lnTo>
                      <a:pt x="300" y="100"/>
                    </a:lnTo>
                    <a:lnTo>
                      <a:pt x="300" y="91"/>
                    </a:lnTo>
                    <a:lnTo>
                      <a:pt x="309" y="91"/>
                    </a:lnTo>
                    <a:lnTo>
                      <a:pt x="309" y="87"/>
                    </a:lnTo>
                    <a:lnTo>
                      <a:pt x="317" y="87"/>
                    </a:lnTo>
                    <a:lnTo>
                      <a:pt x="322" y="95"/>
                    </a:lnTo>
                    <a:lnTo>
                      <a:pt x="326" y="95"/>
                    </a:lnTo>
                    <a:lnTo>
                      <a:pt x="326" y="100"/>
                    </a:lnTo>
                    <a:lnTo>
                      <a:pt x="335" y="104"/>
                    </a:lnTo>
                    <a:lnTo>
                      <a:pt x="335" y="91"/>
                    </a:lnTo>
                    <a:lnTo>
                      <a:pt x="343" y="82"/>
                    </a:lnTo>
                    <a:lnTo>
                      <a:pt x="348" y="82"/>
                    </a:lnTo>
                    <a:lnTo>
                      <a:pt x="348" y="87"/>
                    </a:lnTo>
                    <a:lnTo>
                      <a:pt x="365" y="82"/>
                    </a:lnTo>
                    <a:lnTo>
                      <a:pt x="365" y="78"/>
                    </a:lnTo>
                    <a:lnTo>
                      <a:pt x="365" y="74"/>
                    </a:lnTo>
                    <a:lnTo>
                      <a:pt x="365" y="69"/>
                    </a:lnTo>
                    <a:lnTo>
                      <a:pt x="361" y="74"/>
                    </a:lnTo>
                    <a:lnTo>
                      <a:pt x="356" y="74"/>
                    </a:lnTo>
                    <a:lnTo>
                      <a:pt x="356" y="69"/>
                    </a:lnTo>
                    <a:lnTo>
                      <a:pt x="361" y="65"/>
                    </a:lnTo>
                    <a:lnTo>
                      <a:pt x="369" y="61"/>
                    </a:lnTo>
                    <a:lnTo>
                      <a:pt x="378" y="61"/>
                    </a:lnTo>
                    <a:lnTo>
                      <a:pt x="382" y="65"/>
                    </a:lnTo>
                    <a:lnTo>
                      <a:pt x="387" y="65"/>
                    </a:lnTo>
                    <a:lnTo>
                      <a:pt x="391" y="61"/>
                    </a:lnTo>
                    <a:lnTo>
                      <a:pt x="400" y="43"/>
                    </a:lnTo>
                    <a:lnTo>
                      <a:pt x="400" y="39"/>
                    </a:lnTo>
                    <a:lnTo>
                      <a:pt x="413" y="39"/>
                    </a:lnTo>
                    <a:lnTo>
                      <a:pt x="417" y="43"/>
                    </a:lnTo>
                    <a:lnTo>
                      <a:pt x="417" y="48"/>
                    </a:lnTo>
                    <a:lnTo>
                      <a:pt x="417" y="52"/>
                    </a:lnTo>
                    <a:lnTo>
                      <a:pt x="422" y="52"/>
                    </a:lnTo>
                    <a:lnTo>
                      <a:pt x="422" y="48"/>
                    </a:lnTo>
                    <a:lnTo>
                      <a:pt x="430" y="39"/>
                    </a:lnTo>
                    <a:lnTo>
                      <a:pt x="430" y="35"/>
                    </a:lnTo>
                    <a:lnTo>
                      <a:pt x="430" y="30"/>
                    </a:lnTo>
                    <a:lnTo>
                      <a:pt x="435" y="26"/>
                    </a:lnTo>
                    <a:lnTo>
                      <a:pt x="435" y="22"/>
                    </a:lnTo>
                    <a:lnTo>
                      <a:pt x="439" y="17"/>
                    </a:lnTo>
                    <a:lnTo>
                      <a:pt x="443" y="13"/>
                    </a:lnTo>
                    <a:lnTo>
                      <a:pt x="452" y="26"/>
                    </a:lnTo>
                    <a:lnTo>
                      <a:pt x="452" y="30"/>
                    </a:lnTo>
                    <a:lnTo>
                      <a:pt x="452" y="35"/>
                    </a:lnTo>
                    <a:lnTo>
                      <a:pt x="452" y="39"/>
                    </a:lnTo>
                    <a:lnTo>
                      <a:pt x="456" y="39"/>
                    </a:lnTo>
                    <a:lnTo>
                      <a:pt x="469" y="39"/>
                    </a:lnTo>
                    <a:lnTo>
                      <a:pt x="469" y="35"/>
                    </a:lnTo>
                    <a:lnTo>
                      <a:pt x="474" y="30"/>
                    </a:lnTo>
                    <a:lnTo>
                      <a:pt x="487" y="8"/>
                    </a:lnTo>
                    <a:lnTo>
                      <a:pt x="491" y="8"/>
                    </a:lnTo>
                    <a:lnTo>
                      <a:pt x="496" y="8"/>
                    </a:lnTo>
                    <a:lnTo>
                      <a:pt x="500" y="13"/>
                    </a:lnTo>
                    <a:lnTo>
                      <a:pt x="513" y="13"/>
                    </a:lnTo>
                    <a:lnTo>
                      <a:pt x="513" y="8"/>
                    </a:lnTo>
                    <a:lnTo>
                      <a:pt x="513" y="4"/>
                    </a:lnTo>
                    <a:lnTo>
                      <a:pt x="517" y="0"/>
                    </a:lnTo>
                    <a:lnTo>
                      <a:pt x="517" y="4"/>
                    </a:lnTo>
                    <a:lnTo>
                      <a:pt x="522" y="4"/>
                    </a:lnTo>
                    <a:lnTo>
                      <a:pt x="530" y="8"/>
                    </a:lnTo>
                    <a:lnTo>
                      <a:pt x="535" y="8"/>
                    </a:lnTo>
                    <a:lnTo>
                      <a:pt x="539" y="8"/>
                    </a:lnTo>
                    <a:lnTo>
                      <a:pt x="543" y="13"/>
                    </a:lnTo>
                    <a:lnTo>
                      <a:pt x="543" y="26"/>
                    </a:lnTo>
                    <a:lnTo>
                      <a:pt x="539" y="26"/>
                    </a:lnTo>
                    <a:lnTo>
                      <a:pt x="539" y="30"/>
                    </a:lnTo>
                    <a:lnTo>
                      <a:pt x="539" y="35"/>
                    </a:lnTo>
                    <a:lnTo>
                      <a:pt x="539" y="39"/>
                    </a:lnTo>
                    <a:lnTo>
                      <a:pt x="539" y="43"/>
                    </a:lnTo>
                    <a:lnTo>
                      <a:pt x="543" y="43"/>
                    </a:lnTo>
                    <a:lnTo>
                      <a:pt x="548" y="43"/>
                    </a:lnTo>
                    <a:lnTo>
                      <a:pt x="556" y="39"/>
                    </a:lnTo>
                    <a:lnTo>
                      <a:pt x="556" y="43"/>
                    </a:lnTo>
                    <a:lnTo>
                      <a:pt x="556" y="48"/>
                    </a:lnTo>
                    <a:lnTo>
                      <a:pt x="552" y="56"/>
                    </a:lnTo>
                    <a:lnTo>
                      <a:pt x="548" y="56"/>
                    </a:lnTo>
                    <a:lnTo>
                      <a:pt x="548" y="65"/>
                    </a:lnTo>
                    <a:lnTo>
                      <a:pt x="552" y="65"/>
                    </a:lnTo>
                    <a:lnTo>
                      <a:pt x="552" y="69"/>
                    </a:lnTo>
                    <a:lnTo>
                      <a:pt x="552" y="78"/>
                    </a:lnTo>
                    <a:lnTo>
                      <a:pt x="548" y="82"/>
                    </a:lnTo>
                    <a:lnTo>
                      <a:pt x="548" y="87"/>
                    </a:lnTo>
                    <a:lnTo>
                      <a:pt x="539" y="91"/>
                    </a:lnTo>
                    <a:lnTo>
                      <a:pt x="535" y="104"/>
                    </a:lnTo>
                    <a:lnTo>
                      <a:pt x="535" y="108"/>
                    </a:lnTo>
                    <a:lnTo>
                      <a:pt x="530" y="108"/>
                    </a:lnTo>
                    <a:lnTo>
                      <a:pt x="526" y="108"/>
                    </a:lnTo>
                    <a:lnTo>
                      <a:pt x="526" y="117"/>
                    </a:lnTo>
                    <a:lnTo>
                      <a:pt x="526" y="122"/>
                    </a:lnTo>
                    <a:lnTo>
                      <a:pt x="530" y="130"/>
                    </a:lnTo>
                    <a:lnTo>
                      <a:pt x="535" y="130"/>
                    </a:lnTo>
                    <a:lnTo>
                      <a:pt x="535" y="126"/>
                    </a:lnTo>
                    <a:lnTo>
                      <a:pt x="543" y="117"/>
                    </a:lnTo>
                    <a:lnTo>
                      <a:pt x="548" y="108"/>
                    </a:lnTo>
                    <a:lnTo>
                      <a:pt x="561" y="108"/>
                    </a:lnTo>
                    <a:lnTo>
                      <a:pt x="565" y="122"/>
                    </a:lnTo>
                    <a:lnTo>
                      <a:pt x="569" y="139"/>
                    </a:lnTo>
                    <a:lnTo>
                      <a:pt x="569" y="143"/>
                    </a:lnTo>
                    <a:lnTo>
                      <a:pt x="565" y="143"/>
                    </a:lnTo>
                    <a:lnTo>
                      <a:pt x="565" y="148"/>
                    </a:lnTo>
                    <a:lnTo>
                      <a:pt x="574" y="152"/>
                    </a:lnTo>
                    <a:lnTo>
                      <a:pt x="578" y="148"/>
                    </a:lnTo>
                    <a:lnTo>
                      <a:pt x="583" y="139"/>
                    </a:lnTo>
                    <a:lnTo>
                      <a:pt x="587" y="139"/>
                    </a:lnTo>
                    <a:lnTo>
                      <a:pt x="591" y="139"/>
                    </a:lnTo>
                    <a:lnTo>
                      <a:pt x="596" y="139"/>
                    </a:lnTo>
                    <a:lnTo>
                      <a:pt x="604" y="139"/>
                    </a:lnTo>
                    <a:lnTo>
                      <a:pt x="609" y="139"/>
                    </a:lnTo>
                    <a:lnTo>
                      <a:pt x="613" y="139"/>
                    </a:lnTo>
                    <a:lnTo>
                      <a:pt x="609" y="143"/>
                    </a:lnTo>
                    <a:lnTo>
                      <a:pt x="604" y="143"/>
                    </a:lnTo>
                    <a:lnTo>
                      <a:pt x="604" y="152"/>
                    </a:lnTo>
                    <a:lnTo>
                      <a:pt x="613" y="165"/>
                    </a:lnTo>
                    <a:lnTo>
                      <a:pt x="617" y="169"/>
                    </a:lnTo>
                    <a:lnTo>
                      <a:pt x="617" y="174"/>
                    </a:lnTo>
                    <a:lnTo>
                      <a:pt x="617" y="178"/>
                    </a:lnTo>
                    <a:lnTo>
                      <a:pt x="609" y="182"/>
                    </a:lnTo>
                    <a:lnTo>
                      <a:pt x="604" y="187"/>
                    </a:lnTo>
                    <a:lnTo>
                      <a:pt x="604" y="200"/>
                    </a:lnTo>
                    <a:lnTo>
                      <a:pt x="609" y="204"/>
                    </a:lnTo>
                    <a:lnTo>
                      <a:pt x="609" y="208"/>
                    </a:lnTo>
                    <a:lnTo>
                      <a:pt x="600" y="222"/>
                    </a:lnTo>
                    <a:lnTo>
                      <a:pt x="596" y="222"/>
                    </a:lnTo>
                    <a:lnTo>
                      <a:pt x="591" y="222"/>
                    </a:lnTo>
                    <a:lnTo>
                      <a:pt x="587" y="226"/>
                    </a:lnTo>
                    <a:lnTo>
                      <a:pt x="587" y="230"/>
                    </a:lnTo>
                    <a:lnTo>
                      <a:pt x="587" y="235"/>
                    </a:lnTo>
                    <a:lnTo>
                      <a:pt x="578" y="248"/>
                    </a:lnTo>
                    <a:lnTo>
                      <a:pt x="569" y="261"/>
                    </a:lnTo>
                    <a:lnTo>
                      <a:pt x="569" y="269"/>
                    </a:lnTo>
                    <a:lnTo>
                      <a:pt x="569" y="274"/>
                    </a:lnTo>
                    <a:lnTo>
                      <a:pt x="569" y="287"/>
                    </a:lnTo>
                    <a:lnTo>
                      <a:pt x="574" y="291"/>
                    </a:lnTo>
                    <a:lnTo>
                      <a:pt x="574" y="295"/>
                    </a:lnTo>
                    <a:lnTo>
                      <a:pt x="569" y="308"/>
                    </a:lnTo>
                    <a:lnTo>
                      <a:pt x="565" y="317"/>
                    </a:lnTo>
                    <a:lnTo>
                      <a:pt x="548" y="335"/>
                    </a:lnTo>
                    <a:lnTo>
                      <a:pt x="535" y="339"/>
                    </a:lnTo>
                    <a:lnTo>
                      <a:pt x="526" y="339"/>
                    </a:lnTo>
                    <a:lnTo>
                      <a:pt x="517" y="352"/>
                    </a:lnTo>
                    <a:lnTo>
                      <a:pt x="522" y="361"/>
                    </a:lnTo>
                    <a:lnTo>
                      <a:pt x="526" y="365"/>
                    </a:lnTo>
                    <a:lnTo>
                      <a:pt x="526" y="369"/>
                    </a:lnTo>
                    <a:lnTo>
                      <a:pt x="522" y="369"/>
                    </a:lnTo>
                    <a:lnTo>
                      <a:pt x="517" y="369"/>
                    </a:lnTo>
                    <a:lnTo>
                      <a:pt x="517" y="374"/>
                    </a:lnTo>
                    <a:lnTo>
                      <a:pt x="517" y="378"/>
                    </a:lnTo>
                    <a:lnTo>
                      <a:pt x="513" y="378"/>
                    </a:lnTo>
                    <a:lnTo>
                      <a:pt x="504" y="382"/>
                    </a:lnTo>
                    <a:lnTo>
                      <a:pt x="500" y="382"/>
                    </a:lnTo>
                    <a:lnTo>
                      <a:pt x="500" y="378"/>
                    </a:lnTo>
                    <a:lnTo>
                      <a:pt x="496" y="378"/>
                    </a:lnTo>
                    <a:lnTo>
                      <a:pt x="491" y="378"/>
                    </a:lnTo>
                    <a:lnTo>
                      <a:pt x="491" y="395"/>
                    </a:lnTo>
                    <a:lnTo>
                      <a:pt x="487" y="404"/>
                    </a:lnTo>
                    <a:lnTo>
                      <a:pt x="474" y="404"/>
                    </a:lnTo>
                    <a:lnTo>
                      <a:pt x="461" y="408"/>
                    </a:lnTo>
                    <a:lnTo>
                      <a:pt x="461" y="413"/>
                    </a:lnTo>
                    <a:lnTo>
                      <a:pt x="461" y="417"/>
                    </a:lnTo>
                    <a:lnTo>
                      <a:pt x="456" y="426"/>
                    </a:lnTo>
                    <a:lnTo>
                      <a:pt x="456" y="430"/>
                    </a:lnTo>
                    <a:lnTo>
                      <a:pt x="448" y="430"/>
                    </a:lnTo>
                    <a:lnTo>
                      <a:pt x="443" y="430"/>
                    </a:lnTo>
                    <a:lnTo>
                      <a:pt x="443" y="435"/>
                    </a:lnTo>
                    <a:lnTo>
                      <a:pt x="443" y="439"/>
                    </a:lnTo>
                    <a:lnTo>
                      <a:pt x="443" y="443"/>
                    </a:lnTo>
                    <a:lnTo>
                      <a:pt x="448" y="443"/>
                    </a:lnTo>
                    <a:lnTo>
                      <a:pt x="443" y="448"/>
                    </a:lnTo>
                    <a:lnTo>
                      <a:pt x="439" y="443"/>
                    </a:lnTo>
                    <a:lnTo>
                      <a:pt x="435" y="439"/>
                    </a:lnTo>
                    <a:lnTo>
                      <a:pt x="426" y="430"/>
                    </a:lnTo>
                    <a:lnTo>
                      <a:pt x="426" y="426"/>
                    </a:lnTo>
                    <a:lnTo>
                      <a:pt x="430" y="426"/>
                    </a:lnTo>
                    <a:lnTo>
                      <a:pt x="422" y="430"/>
                    </a:lnTo>
                    <a:lnTo>
                      <a:pt x="430" y="439"/>
                    </a:lnTo>
                    <a:lnTo>
                      <a:pt x="426" y="443"/>
                    </a:lnTo>
                    <a:lnTo>
                      <a:pt x="426" y="448"/>
                    </a:lnTo>
                    <a:lnTo>
                      <a:pt x="417" y="448"/>
                    </a:lnTo>
                    <a:lnTo>
                      <a:pt x="413" y="448"/>
                    </a:lnTo>
                    <a:lnTo>
                      <a:pt x="409" y="448"/>
                    </a:lnTo>
                    <a:lnTo>
                      <a:pt x="404" y="452"/>
                    </a:lnTo>
                    <a:lnTo>
                      <a:pt x="396" y="452"/>
                    </a:lnTo>
                    <a:lnTo>
                      <a:pt x="396" y="456"/>
                    </a:lnTo>
                    <a:lnTo>
                      <a:pt x="387" y="452"/>
                    </a:lnTo>
                    <a:lnTo>
                      <a:pt x="391" y="448"/>
                    </a:lnTo>
                    <a:lnTo>
                      <a:pt x="391" y="443"/>
                    </a:lnTo>
                    <a:lnTo>
                      <a:pt x="396" y="443"/>
                    </a:lnTo>
                    <a:lnTo>
                      <a:pt x="391" y="439"/>
                    </a:lnTo>
                    <a:lnTo>
                      <a:pt x="382" y="435"/>
                    </a:lnTo>
                    <a:lnTo>
                      <a:pt x="378" y="439"/>
                    </a:lnTo>
                    <a:lnTo>
                      <a:pt x="374" y="435"/>
                    </a:lnTo>
                    <a:lnTo>
                      <a:pt x="369" y="430"/>
                    </a:lnTo>
                    <a:lnTo>
                      <a:pt x="369" y="426"/>
                    </a:lnTo>
                    <a:lnTo>
                      <a:pt x="374" y="422"/>
                    </a:lnTo>
                    <a:lnTo>
                      <a:pt x="369" y="422"/>
                    </a:lnTo>
                    <a:lnTo>
                      <a:pt x="365" y="417"/>
                    </a:lnTo>
                    <a:lnTo>
                      <a:pt x="361" y="417"/>
                    </a:lnTo>
                    <a:lnTo>
                      <a:pt x="365" y="422"/>
                    </a:lnTo>
                    <a:lnTo>
                      <a:pt x="369" y="422"/>
                    </a:lnTo>
                    <a:lnTo>
                      <a:pt x="365" y="430"/>
                    </a:lnTo>
                    <a:lnTo>
                      <a:pt x="369" y="435"/>
                    </a:lnTo>
                    <a:lnTo>
                      <a:pt x="365" y="435"/>
                    </a:lnTo>
                    <a:lnTo>
                      <a:pt x="361" y="439"/>
                    </a:lnTo>
                    <a:lnTo>
                      <a:pt x="356" y="435"/>
                    </a:lnTo>
                    <a:lnTo>
                      <a:pt x="352" y="426"/>
                    </a:lnTo>
                    <a:lnTo>
                      <a:pt x="348" y="417"/>
                    </a:lnTo>
                    <a:lnTo>
                      <a:pt x="348" y="413"/>
                    </a:lnTo>
                    <a:lnTo>
                      <a:pt x="335" y="408"/>
                    </a:lnTo>
                    <a:lnTo>
                      <a:pt x="335" y="413"/>
                    </a:lnTo>
                    <a:lnTo>
                      <a:pt x="335" y="417"/>
                    </a:lnTo>
                    <a:lnTo>
                      <a:pt x="339" y="426"/>
                    </a:lnTo>
                    <a:lnTo>
                      <a:pt x="343" y="430"/>
                    </a:lnTo>
                    <a:lnTo>
                      <a:pt x="339" y="439"/>
                    </a:lnTo>
                    <a:lnTo>
                      <a:pt x="335" y="443"/>
                    </a:lnTo>
                    <a:lnTo>
                      <a:pt x="330" y="443"/>
                    </a:lnTo>
                    <a:lnTo>
                      <a:pt x="330" y="439"/>
                    </a:lnTo>
                    <a:lnTo>
                      <a:pt x="335" y="435"/>
                    </a:lnTo>
                    <a:lnTo>
                      <a:pt x="326" y="430"/>
                    </a:lnTo>
                    <a:lnTo>
                      <a:pt x="322" y="435"/>
                    </a:lnTo>
                    <a:lnTo>
                      <a:pt x="322" y="439"/>
                    </a:lnTo>
                    <a:lnTo>
                      <a:pt x="322" y="443"/>
                    </a:lnTo>
                    <a:lnTo>
                      <a:pt x="322" y="448"/>
                    </a:lnTo>
                    <a:lnTo>
                      <a:pt x="317" y="448"/>
                    </a:lnTo>
                    <a:lnTo>
                      <a:pt x="313" y="448"/>
                    </a:lnTo>
                    <a:lnTo>
                      <a:pt x="317" y="443"/>
                    </a:lnTo>
                    <a:lnTo>
                      <a:pt x="313" y="439"/>
                    </a:lnTo>
                    <a:lnTo>
                      <a:pt x="309" y="443"/>
                    </a:lnTo>
                    <a:lnTo>
                      <a:pt x="304" y="448"/>
                    </a:lnTo>
                    <a:lnTo>
                      <a:pt x="300" y="443"/>
                    </a:lnTo>
                    <a:lnTo>
                      <a:pt x="296" y="448"/>
                    </a:lnTo>
                    <a:lnTo>
                      <a:pt x="291" y="448"/>
                    </a:lnTo>
                    <a:lnTo>
                      <a:pt x="291" y="443"/>
                    </a:lnTo>
                    <a:lnTo>
                      <a:pt x="282" y="439"/>
                    </a:lnTo>
                    <a:lnTo>
                      <a:pt x="278" y="435"/>
                    </a:lnTo>
                    <a:lnTo>
                      <a:pt x="274" y="435"/>
                    </a:lnTo>
                    <a:lnTo>
                      <a:pt x="274" y="439"/>
                    </a:lnTo>
                    <a:lnTo>
                      <a:pt x="269" y="439"/>
                    </a:lnTo>
                    <a:lnTo>
                      <a:pt x="256" y="443"/>
                    </a:lnTo>
                    <a:lnTo>
                      <a:pt x="243" y="44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43">
                <a:extLst>
                  <a:ext uri="{FF2B5EF4-FFF2-40B4-BE49-F238E27FC236}">
                    <a16:creationId xmlns:a16="http://schemas.microsoft.com/office/drawing/2014/main" id="{107918D5-98B0-7286-FCC1-E164273C81C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732627" y="5292057"/>
                <a:ext cx="1044726" cy="818774"/>
              </a:xfrm>
              <a:custGeom>
                <a:avLst/>
                <a:gdLst>
                  <a:gd name="T0" fmla="*/ 287 w 604"/>
                  <a:gd name="T1" fmla="*/ 269 h 495"/>
                  <a:gd name="T2" fmla="*/ 296 w 604"/>
                  <a:gd name="T3" fmla="*/ 308 h 495"/>
                  <a:gd name="T4" fmla="*/ 274 w 604"/>
                  <a:gd name="T5" fmla="*/ 317 h 495"/>
                  <a:gd name="T6" fmla="*/ 252 w 604"/>
                  <a:gd name="T7" fmla="*/ 330 h 495"/>
                  <a:gd name="T8" fmla="*/ 217 w 604"/>
                  <a:gd name="T9" fmla="*/ 347 h 495"/>
                  <a:gd name="T10" fmla="*/ 191 w 604"/>
                  <a:gd name="T11" fmla="*/ 347 h 495"/>
                  <a:gd name="T12" fmla="*/ 178 w 604"/>
                  <a:gd name="T13" fmla="*/ 361 h 495"/>
                  <a:gd name="T14" fmla="*/ 122 w 604"/>
                  <a:gd name="T15" fmla="*/ 378 h 495"/>
                  <a:gd name="T16" fmla="*/ 100 w 604"/>
                  <a:gd name="T17" fmla="*/ 387 h 495"/>
                  <a:gd name="T18" fmla="*/ 91 w 604"/>
                  <a:gd name="T19" fmla="*/ 382 h 495"/>
                  <a:gd name="T20" fmla="*/ 65 w 604"/>
                  <a:gd name="T21" fmla="*/ 395 h 495"/>
                  <a:gd name="T22" fmla="*/ 48 w 604"/>
                  <a:gd name="T23" fmla="*/ 421 h 495"/>
                  <a:gd name="T24" fmla="*/ 65 w 604"/>
                  <a:gd name="T25" fmla="*/ 447 h 495"/>
                  <a:gd name="T26" fmla="*/ 78 w 604"/>
                  <a:gd name="T27" fmla="*/ 469 h 495"/>
                  <a:gd name="T28" fmla="*/ 35 w 604"/>
                  <a:gd name="T29" fmla="*/ 491 h 495"/>
                  <a:gd name="T30" fmla="*/ 26 w 604"/>
                  <a:gd name="T31" fmla="*/ 478 h 495"/>
                  <a:gd name="T32" fmla="*/ 9 w 604"/>
                  <a:gd name="T33" fmla="*/ 395 h 495"/>
                  <a:gd name="T34" fmla="*/ 9 w 604"/>
                  <a:gd name="T35" fmla="*/ 378 h 495"/>
                  <a:gd name="T36" fmla="*/ 35 w 604"/>
                  <a:gd name="T37" fmla="*/ 343 h 495"/>
                  <a:gd name="T38" fmla="*/ 78 w 604"/>
                  <a:gd name="T39" fmla="*/ 317 h 495"/>
                  <a:gd name="T40" fmla="*/ 96 w 604"/>
                  <a:gd name="T41" fmla="*/ 278 h 495"/>
                  <a:gd name="T42" fmla="*/ 130 w 604"/>
                  <a:gd name="T43" fmla="*/ 200 h 495"/>
                  <a:gd name="T44" fmla="*/ 170 w 604"/>
                  <a:gd name="T45" fmla="*/ 143 h 495"/>
                  <a:gd name="T46" fmla="*/ 165 w 604"/>
                  <a:gd name="T47" fmla="*/ 82 h 495"/>
                  <a:gd name="T48" fmla="*/ 196 w 604"/>
                  <a:gd name="T49" fmla="*/ 39 h 495"/>
                  <a:gd name="T50" fmla="*/ 235 w 604"/>
                  <a:gd name="T51" fmla="*/ 56 h 495"/>
                  <a:gd name="T52" fmla="*/ 244 w 604"/>
                  <a:gd name="T53" fmla="*/ 17 h 495"/>
                  <a:gd name="T54" fmla="*/ 274 w 604"/>
                  <a:gd name="T55" fmla="*/ 4 h 495"/>
                  <a:gd name="T56" fmla="*/ 331 w 604"/>
                  <a:gd name="T57" fmla="*/ 13 h 495"/>
                  <a:gd name="T58" fmla="*/ 378 w 604"/>
                  <a:gd name="T59" fmla="*/ 4 h 495"/>
                  <a:gd name="T60" fmla="*/ 365 w 604"/>
                  <a:gd name="T61" fmla="*/ 43 h 495"/>
                  <a:gd name="T62" fmla="*/ 383 w 604"/>
                  <a:gd name="T63" fmla="*/ 78 h 495"/>
                  <a:gd name="T64" fmla="*/ 448 w 604"/>
                  <a:gd name="T65" fmla="*/ 47 h 495"/>
                  <a:gd name="T66" fmla="*/ 474 w 604"/>
                  <a:gd name="T67" fmla="*/ 39 h 495"/>
                  <a:gd name="T68" fmla="*/ 513 w 604"/>
                  <a:gd name="T69" fmla="*/ 34 h 495"/>
                  <a:gd name="T70" fmla="*/ 561 w 604"/>
                  <a:gd name="T71" fmla="*/ 47 h 495"/>
                  <a:gd name="T72" fmla="*/ 583 w 604"/>
                  <a:gd name="T73" fmla="*/ 100 h 495"/>
                  <a:gd name="T74" fmla="*/ 600 w 604"/>
                  <a:gd name="T75" fmla="*/ 134 h 495"/>
                  <a:gd name="T76" fmla="*/ 565 w 604"/>
                  <a:gd name="T77" fmla="*/ 161 h 495"/>
                  <a:gd name="T78" fmla="*/ 578 w 604"/>
                  <a:gd name="T79" fmla="*/ 169 h 495"/>
                  <a:gd name="T80" fmla="*/ 535 w 604"/>
                  <a:gd name="T81" fmla="*/ 204 h 495"/>
                  <a:gd name="T82" fmla="*/ 491 w 604"/>
                  <a:gd name="T83" fmla="*/ 213 h 495"/>
                  <a:gd name="T84" fmla="*/ 439 w 604"/>
                  <a:gd name="T85" fmla="*/ 230 h 495"/>
                  <a:gd name="T86" fmla="*/ 413 w 604"/>
                  <a:gd name="T87" fmla="*/ 239 h 495"/>
                  <a:gd name="T88" fmla="*/ 400 w 604"/>
                  <a:gd name="T89" fmla="*/ 252 h 495"/>
                  <a:gd name="T90" fmla="*/ 370 w 604"/>
                  <a:gd name="T91" fmla="*/ 256 h 495"/>
                  <a:gd name="T92" fmla="*/ 335 w 604"/>
                  <a:gd name="T93" fmla="*/ 243 h 495"/>
                  <a:gd name="T94" fmla="*/ 335 w 604"/>
                  <a:gd name="T95" fmla="*/ 208 h 495"/>
                  <a:gd name="T96" fmla="*/ 309 w 604"/>
                  <a:gd name="T97" fmla="*/ 243 h 495"/>
                  <a:gd name="T98" fmla="*/ 322 w 604"/>
                  <a:gd name="T99" fmla="*/ 278 h 495"/>
                  <a:gd name="T100" fmla="*/ 70 w 604"/>
                  <a:gd name="T101" fmla="*/ 404 h 495"/>
                  <a:gd name="T102" fmla="*/ 591 w 604"/>
                  <a:gd name="T103" fmla="*/ 152 h 495"/>
                  <a:gd name="T104" fmla="*/ 300 w 604"/>
                  <a:gd name="T105" fmla="*/ 234 h 495"/>
                  <a:gd name="T106" fmla="*/ 257 w 604"/>
                  <a:gd name="T107" fmla="*/ 352 h 495"/>
                  <a:gd name="T108" fmla="*/ 191 w 604"/>
                  <a:gd name="T109" fmla="*/ 356 h 495"/>
                  <a:gd name="T110" fmla="*/ 74 w 604"/>
                  <a:gd name="T111" fmla="*/ 426 h 495"/>
                  <a:gd name="T112" fmla="*/ 65 w 604"/>
                  <a:gd name="T113" fmla="*/ 421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04" h="495">
                    <a:moveTo>
                      <a:pt x="322" y="295"/>
                    </a:moveTo>
                    <a:lnTo>
                      <a:pt x="317" y="295"/>
                    </a:lnTo>
                    <a:lnTo>
                      <a:pt x="313" y="300"/>
                    </a:lnTo>
                    <a:lnTo>
                      <a:pt x="313" y="295"/>
                    </a:lnTo>
                    <a:lnTo>
                      <a:pt x="296" y="282"/>
                    </a:lnTo>
                    <a:lnTo>
                      <a:pt x="291" y="278"/>
                    </a:lnTo>
                    <a:lnTo>
                      <a:pt x="291" y="269"/>
                    </a:lnTo>
                    <a:lnTo>
                      <a:pt x="287" y="265"/>
                    </a:lnTo>
                    <a:lnTo>
                      <a:pt x="287" y="269"/>
                    </a:lnTo>
                    <a:lnTo>
                      <a:pt x="287" y="274"/>
                    </a:lnTo>
                    <a:lnTo>
                      <a:pt x="291" y="278"/>
                    </a:lnTo>
                    <a:lnTo>
                      <a:pt x="300" y="287"/>
                    </a:lnTo>
                    <a:lnTo>
                      <a:pt x="304" y="295"/>
                    </a:lnTo>
                    <a:lnTo>
                      <a:pt x="309" y="300"/>
                    </a:lnTo>
                    <a:lnTo>
                      <a:pt x="304" y="300"/>
                    </a:lnTo>
                    <a:lnTo>
                      <a:pt x="300" y="300"/>
                    </a:lnTo>
                    <a:lnTo>
                      <a:pt x="296" y="304"/>
                    </a:lnTo>
                    <a:lnTo>
                      <a:pt x="296" y="308"/>
                    </a:lnTo>
                    <a:lnTo>
                      <a:pt x="296" y="313"/>
                    </a:lnTo>
                    <a:lnTo>
                      <a:pt x="287" y="308"/>
                    </a:lnTo>
                    <a:lnTo>
                      <a:pt x="287" y="304"/>
                    </a:lnTo>
                    <a:lnTo>
                      <a:pt x="283" y="295"/>
                    </a:lnTo>
                    <a:lnTo>
                      <a:pt x="283" y="300"/>
                    </a:lnTo>
                    <a:lnTo>
                      <a:pt x="278" y="300"/>
                    </a:lnTo>
                    <a:lnTo>
                      <a:pt x="278" y="304"/>
                    </a:lnTo>
                    <a:lnTo>
                      <a:pt x="274" y="308"/>
                    </a:lnTo>
                    <a:lnTo>
                      <a:pt x="274" y="317"/>
                    </a:lnTo>
                    <a:lnTo>
                      <a:pt x="278" y="321"/>
                    </a:lnTo>
                    <a:lnTo>
                      <a:pt x="274" y="326"/>
                    </a:lnTo>
                    <a:lnTo>
                      <a:pt x="274" y="330"/>
                    </a:lnTo>
                    <a:lnTo>
                      <a:pt x="270" y="330"/>
                    </a:lnTo>
                    <a:lnTo>
                      <a:pt x="265" y="326"/>
                    </a:lnTo>
                    <a:lnTo>
                      <a:pt x="265" y="321"/>
                    </a:lnTo>
                    <a:lnTo>
                      <a:pt x="261" y="321"/>
                    </a:lnTo>
                    <a:lnTo>
                      <a:pt x="257" y="326"/>
                    </a:lnTo>
                    <a:lnTo>
                      <a:pt x="252" y="330"/>
                    </a:lnTo>
                    <a:lnTo>
                      <a:pt x="248" y="334"/>
                    </a:lnTo>
                    <a:lnTo>
                      <a:pt x="248" y="339"/>
                    </a:lnTo>
                    <a:lnTo>
                      <a:pt x="244" y="339"/>
                    </a:lnTo>
                    <a:lnTo>
                      <a:pt x="244" y="343"/>
                    </a:lnTo>
                    <a:lnTo>
                      <a:pt x="235" y="339"/>
                    </a:lnTo>
                    <a:lnTo>
                      <a:pt x="226" y="343"/>
                    </a:lnTo>
                    <a:lnTo>
                      <a:pt x="226" y="347"/>
                    </a:lnTo>
                    <a:lnTo>
                      <a:pt x="222" y="347"/>
                    </a:lnTo>
                    <a:lnTo>
                      <a:pt x="217" y="347"/>
                    </a:lnTo>
                    <a:lnTo>
                      <a:pt x="200" y="343"/>
                    </a:lnTo>
                    <a:lnTo>
                      <a:pt x="191" y="339"/>
                    </a:lnTo>
                    <a:lnTo>
                      <a:pt x="187" y="334"/>
                    </a:lnTo>
                    <a:lnTo>
                      <a:pt x="183" y="334"/>
                    </a:lnTo>
                    <a:lnTo>
                      <a:pt x="183" y="339"/>
                    </a:lnTo>
                    <a:lnTo>
                      <a:pt x="187" y="339"/>
                    </a:lnTo>
                    <a:lnTo>
                      <a:pt x="187" y="343"/>
                    </a:lnTo>
                    <a:lnTo>
                      <a:pt x="191" y="343"/>
                    </a:lnTo>
                    <a:lnTo>
                      <a:pt x="191" y="347"/>
                    </a:lnTo>
                    <a:lnTo>
                      <a:pt x="187" y="352"/>
                    </a:lnTo>
                    <a:lnTo>
                      <a:pt x="183" y="356"/>
                    </a:lnTo>
                    <a:lnTo>
                      <a:pt x="183" y="352"/>
                    </a:lnTo>
                    <a:lnTo>
                      <a:pt x="178" y="352"/>
                    </a:lnTo>
                    <a:lnTo>
                      <a:pt x="178" y="347"/>
                    </a:lnTo>
                    <a:lnTo>
                      <a:pt x="165" y="347"/>
                    </a:lnTo>
                    <a:lnTo>
                      <a:pt x="170" y="347"/>
                    </a:lnTo>
                    <a:lnTo>
                      <a:pt x="174" y="352"/>
                    </a:lnTo>
                    <a:lnTo>
                      <a:pt x="178" y="361"/>
                    </a:lnTo>
                    <a:lnTo>
                      <a:pt x="174" y="361"/>
                    </a:lnTo>
                    <a:lnTo>
                      <a:pt x="170" y="361"/>
                    </a:lnTo>
                    <a:lnTo>
                      <a:pt x="170" y="365"/>
                    </a:lnTo>
                    <a:lnTo>
                      <a:pt x="165" y="369"/>
                    </a:lnTo>
                    <a:lnTo>
                      <a:pt x="152" y="374"/>
                    </a:lnTo>
                    <a:lnTo>
                      <a:pt x="144" y="369"/>
                    </a:lnTo>
                    <a:lnTo>
                      <a:pt x="135" y="374"/>
                    </a:lnTo>
                    <a:lnTo>
                      <a:pt x="126" y="378"/>
                    </a:lnTo>
                    <a:lnTo>
                      <a:pt x="122" y="378"/>
                    </a:lnTo>
                    <a:lnTo>
                      <a:pt x="117" y="374"/>
                    </a:lnTo>
                    <a:lnTo>
                      <a:pt x="113" y="374"/>
                    </a:lnTo>
                    <a:lnTo>
                      <a:pt x="109" y="374"/>
                    </a:lnTo>
                    <a:lnTo>
                      <a:pt x="109" y="382"/>
                    </a:lnTo>
                    <a:lnTo>
                      <a:pt x="113" y="382"/>
                    </a:lnTo>
                    <a:lnTo>
                      <a:pt x="113" y="378"/>
                    </a:lnTo>
                    <a:lnTo>
                      <a:pt x="117" y="378"/>
                    </a:lnTo>
                    <a:lnTo>
                      <a:pt x="113" y="382"/>
                    </a:lnTo>
                    <a:lnTo>
                      <a:pt x="100" y="387"/>
                    </a:lnTo>
                    <a:lnTo>
                      <a:pt x="96" y="387"/>
                    </a:lnTo>
                    <a:lnTo>
                      <a:pt x="91" y="387"/>
                    </a:lnTo>
                    <a:lnTo>
                      <a:pt x="87" y="391"/>
                    </a:lnTo>
                    <a:lnTo>
                      <a:pt x="83" y="395"/>
                    </a:lnTo>
                    <a:lnTo>
                      <a:pt x="83" y="400"/>
                    </a:lnTo>
                    <a:lnTo>
                      <a:pt x="83" y="391"/>
                    </a:lnTo>
                    <a:lnTo>
                      <a:pt x="87" y="387"/>
                    </a:lnTo>
                    <a:lnTo>
                      <a:pt x="91" y="387"/>
                    </a:lnTo>
                    <a:lnTo>
                      <a:pt x="91" y="382"/>
                    </a:lnTo>
                    <a:lnTo>
                      <a:pt x="83" y="387"/>
                    </a:lnTo>
                    <a:lnTo>
                      <a:pt x="83" y="391"/>
                    </a:lnTo>
                    <a:lnTo>
                      <a:pt x="78" y="395"/>
                    </a:lnTo>
                    <a:lnTo>
                      <a:pt x="83" y="400"/>
                    </a:lnTo>
                    <a:lnTo>
                      <a:pt x="74" y="404"/>
                    </a:lnTo>
                    <a:lnTo>
                      <a:pt x="70" y="404"/>
                    </a:lnTo>
                    <a:lnTo>
                      <a:pt x="65" y="404"/>
                    </a:lnTo>
                    <a:lnTo>
                      <a:pt x="65" y="400"/>
                    </a:lnTo>
                    <a:lnTo>
                      <a:pt x="65" y="395"/>
                    </a:lnTo>
                    <a:lnTo>
                      <a:pt x="65" y="391"/>
                    </a:lnTo>
                    <a:lnTo>
                      <a:pt x="61" y="391"/>
                    </a:lnTo>
                    <a:lnTo>
                      <a:pt x="61" y="395"/>
                    </a:lnTo>
                    <a:lnTo>
                      <a:pt x="61" y="400"/>
                    </a:lnTo>
                    <a:lnTo>
                      <a:pt x="61" y="404"/>
                    </a:lnTo>
                    <a:lnTo>
                      <a:pt x="61" y="408"/>
                    </a:lnTo>
                    <a:lnTo>
                      <a:pt x="57" y="413"/>
                    </a:lnTo>
                    <a:lnTo>
                      <a:pt x="57" y="417"/>
                    </a:lnTo>
                    <a:lnTo>
                      <a:pt x="48" y="421"/>
                    </a:lnTo>
                    <a:lnTo>
                      <a:pt x="44" y="426"/>
                    </a:lnTo>
                    <a:lnTo>
                      <a:pt x="44" y="430"/>
                    </a:lnTo>
                    <a:lnTo>
                      <a:pt x="44" y="439"/>
                    </a:lnTo>
                    <a:lnTo>
                      <a:pt x="48" y="439"/>
                    </a:lnTo>
                    <a:lnTo>
                      <a:pt x="52" y="439"/>
                    </a:lnTo>
                    <a:lnTo>
                      <a:pt x="57" y="439"/>
                    </a:lnTo>
                    <a:lnTo>
                      <a:pt x="61" y="439"/>
                    </a:lnTo>
                    <a:lnTo>
                      <a:pt x="65" y="443"/>
                    </a:lnTo>
                    <a:lnTo>
                      <a:pt x="65" y="447"/>
                    </a:lnTo>
                    <a:lnTo>
                      <a:pt x="65" y="452"/>
                    </a:lnTo>
                    <a:lnTo>
                      <a:pt x="61" y="447"/>
                    </a:lnTo>
                    <a:lnTo>
                      <a:pt x="61" y="443"/>
                    </a:lnTo>
                    <a:lnTo>
                      <a:pt x="57" y="447"/>
                    </a:lnTo>
                    <a:lnTo>
                      <a:pt x="61" y="456"/>
                    </a:lnTo>
                    <a:lnTo>
                      <a:pt x="65" y="461"/>
                    </a:lnTo>
                    <a:lnTo>
                      <a:pt x="70" y="465"/>
                    </a:lnTo>
                    <a:lnTo>
                      <a:pt x="74" y="465"/>
                    </a:lnTo>
                    <a:lnTo>
                      <a:pt x="78" y="469"/>
                    </a:lnTo>
                    <a:lnTo>
                      <a:pt x="78" y="474"/>
                    </a:lnTo>
                    <a:lnTo>
                      <a:pt x="70" y="482"/>
                    </a:lnTo>
                    <a:lnTo>
                      <a:pt x="70" y="487"/>
                    </a:lnTo>
                    <a:lnTo>
                      <a:pt x="61" y="491"/>
                    </a:lnTo>
                    <a:lnTo>
                      <a:pt x="57" y="495"/>
                    </a:lnTo>
                    <a:lnTo>
                      <a:pt x="48" y="495"/>
                    </a:lnTo>
                    <a:lnTo>
                      <a:pt x="44" y="495"/>
                    </a:lnTo>
                    <a:lnTo>
                      <a:pt x="39" y="491"/>
                    </a:lnTo>
                    <a:lnTo>
                      <a:pt x="35" y="491"/>
                    </a:lnTo>
                    <a:lnTo>
                      <a:pt x="30" y="491"/>
                    </a:lnTo>
                    <a:lnTo>
                      <a:pt x="26" y="495"/>
                    </a:lnTo>
                    <a:lnTo>
                      <a:pt x="22" y="487"/>
                    </a:lnTo>
                    <a:lnTo>
                      <a:pt x="30" y="482"/>
                    </a:lnTo>
                    <a:lnTo>
                      <a:pt x="30" y="487"/>
                    </a:lnTo>
                    <a:lnTo>
                      <a:pt x="35" y="482"/>
                    </a:lnTo>
                    <a:lnTo>
                      <a:pt x="35" y="478"/>
                    </a:lnTo>
                    <a:lnTo>
                      <a:pt x="30" y="478"/>
                    </a:lnTo>
                    <a:lnTo>
                      <a:pt x="26" y="478"/>
                    </a:lnTo>
                    <a:lnTo>
                      <a:pt x="17" y="474"/>
                    </a:lnTo>
                    <a:lnTo>
                      <a:pt x="9" y="461"/>
                    </a:lnTo>
                    <a:lnTo>
                      <a:pt x="4" y="443"/>
                    </a:lnTo>
                    <a:lnTo>
                      <a:pt x="0" y="439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4" y="426"/>
                    </a:lnTo>
                    <a:lnTo>
                      <a:pt x="0" y="417"/>
                    </a:lnTo>
                    <a:lnTo>
                      <a:pt x="9" y="395"/>
                    </a:lnTo>
                    <a:lnTo>
                      <a:pt x="13" y="395"/>
                    </a:lnTo>
                    <a:lnTo>
                      <a:pt x="17" y="395"/>
                    </a:lnTo>
                    <a:lnTo>
                      <a:pt x="17" y="391"/>
                    </a:lnTo>
                    <a:lnTo>
                      <a:pt x="22" y="387"/>
                    </a:lnTo>
                    <a:lnTo>
                      <a:pt x="22" y="382"/>
                    </a:lnTo>
                    <a:lnTo>
                      <a:pt x="17" y="382"/>
                    </a:lnTo>
                    <a:lnTo>
                      <a:pt x="13" y="387"/>
                    </a:lnTo>
                    <a:lnTo>
                      <a:pt x="9" y="382"/>
                    </a:lnTo>
                    <a:lnTo>
                      <a:pt x="9" y="378"/>
                    </a:lnTo>
                    <a:lnTo>
                      <a:pt x="4" y="374"/>
                    </a:lnTo>
                    <a:lnTo>
                      <a:pt x="4" y="369"/>
                    </a:lnTo>
                    <a:lnTo>
                      <a:pt x="9" y="369"/>
                    </a:lnTo>
                    <a:lnTo>
                      <a:pt x="17" y="369"/>
                    </a:lnTo>
                    <a:lnTo>
                      <a:pt x="17" y="365"/>
                    </a:lnTo>
                    <a:lnTo>
                      <a:pt x="22" y="356"/>
                    </a:lnTo>
                    <a:lnTo>
                      <a:pt x="22" y="352"/>
                    </a:lnTo>
                    <a:lnTo>
                      <a:pt x="22" y="347"/>
                    </a:lnTo>
                    <a:lnTo>
                      <a:pt x="35" y="343"/>
                    </a:lnTo>
                    <a:lnTo>
                      <a:pt x="48" y="343"/>
                    </a:lnTo>
                    <a:lnTo>
                      <a:pt x="52" y="334"/>
                    </a:lnTo>
                    <a:lnTo>
                      <a:pt x="52" y="317"/>
                    </a:lnTo>
                    <a:lnTo>
                      <a:pt x="57" y="317"/>
                    </a:lnTo>
                    <a:lnTo>
                      <a:pt x="61" y="317"/>
                    </a:lnTo>
                    <a:lnTo>
                      <a:pt x="61" y="321"/>
                    </a:lnTo>
                    <a:lnTo>
                      <a:pt x="65" y="321"/>
                    </a:lnTo>
                    <a:lnTo>
                      <a:pt x="74" y="317"/>
                    </a:lnTo>
                    <a:lnTo>
                      <a:pt x="78" y="317"/>
                    </a:lnTo>
                    <a:lnTo>
                      <a:pt x="78" y="313"/>
                    </a:lnTo>
                    <a:lnTo>
                      <a:pt x="78" y="308"/>
                    </a:lnTo>
                    <a:lnTo>
                      <a:pt x="83" y="308"/>
                    </a:lnTo>
                    <a:lnTo>
                      <a:pt x="87" y="308"/>
                    </a:lnTo>
                    <a:lnTo>
                      <a:pt x="87" y="304"/>
                    </a:lnTo>
                    <a:lnTo>
                      <a:pt x="83" y="300"/>
                    </a:lnTo>
                    <a:lnTo>
                      <a:pt x="78" y="291"/>
                    </a:lnTo>
                    <a:lnTo>
                      <a:pt x="87" y="278"/>
                    </a:lnTo>
                    <a:lnTo>
                      <a:pt x="96" y="278"/>
                    </a:lnTo>
                    <a:lnTo>
                      <a:pt x="109" y="274"/>
                    </a:lnTo>
                    <a:lnTo>
                      <a:pt x="126" y="256"/>
                    </a:lnTo>
                    <a:lnTo>
                      <a:pt x="130" y="247"/>
                    </a:lnTo>
                    <a:lnTo>
                      <a:pt x="135" y="234"/>
                    </a:lnTo>
                    <a:lnTo>
                      <a:pt x="135" y="230"/>
                    </a:lnTo>
                    <a:lnTo>
                      <a:pt x="130" y="226"/>
                    </a:lnTo>
                    <a:lnTo>
                      <a:pt x="130" y="213"/>
                    </a:lnTo>
                    <a:lnTo>
                      <a:pt x="130" y="208"/>
                    </a:lnTo>
                    <a:lnTo>
                      <a:pt x="130" y="200"/>
                    </a:lnTo>
                    <a:lnTo>
                      <a:pt x="139" y="187"/>
                    </a:lnTo>
                    <a:lnTo>
                      <a:pt x="148" y="174"/>
                    </a:lnTo>
                    <a:lnTo>
                      <a:pt x="148" y="169"/>
                    </a:lnTo>
                    <a:lnTo>
                      <a:pt x="148" y="165"/>
                    </a:lnTo>
                    <a:lnTo>
                      <a:pt x="152" y="161"/>
                    </a:lnTo>
                    <a:lnTo>
                      <a:pt x="157" y="161"/>
                    </a:lnTo>
                    <a:lnTo>
                      <a:pt x="161" y="161"/>
                    </a:lnTo>
                    <a:lnTo>
                      <a:pt x="170" y="147"/>
                    </a:lnTo>
                    <a:lnTo>
                      <a:pt x="170" y="143"/>
                    </a:lnTo>
                    <a:lnTo>
                      <a:pt x="165" y="139"/>
                    </a:lnTo>
                    <a:lnTo>
                      <a:pt x="165" y="126"/>
                    </a:lnTo>
                    <a:lnTo>
                      <a:pt x="170" y="121"/>
                    </a:lnTo>
                    <a:lnTo>
                      <a:pt x="178" y="117"/>
                    </a:lnTo>
                    <a:lnTo>
                      <a:pt x="178" y="113"/>
                    </a:lnTo>
                    <a:lnTo>
                      <a:pt x="178" y="108"/>
                    </a:lnTo>
                    <a:lnTo>
                      <a:pt x="174" y="104"/>
                    </a:lnTo>
                    <a:lnTo>
                      <a:pt x="165" y="91"/>
                    </a:lnTo>
                    <a:lnTo>
                      <a:pt x="165" y="82"/>
                    </a:lnTo>
                    <a:lnTo>
                      <a:pt x="170" y="82"/>
                    </a:lnTo>
                    <a:lnTo>
                      <a:pt x="174" y="78"/>
                    </a:lnTo>
                    <a:lnTo>
                      <a:pt x="183" y="74"/>
                    </a:lnTo>
                    <a:lnTo>
                      <a:pt x="183" y="65"/>
                    </a:lnTo>
                    <a:lnTo>
                      <a:pt x="183" y="61"/>
                    </a:lnTo>
                    <a:lnTo>
                      <a:pt x="178" y="56"/>
                    </a:lnTo>
                    <a:lnTo>
                      <a:pt x="183" y="39"/>
                    </a:lnTo>
                    <a:lnTo>
                      <a:pt x="191" y="39"/>
                    </a:lnTo>
                    <a:lnTo>
                      <a:pt x="196" y="39"/>
                    </a:lnTo>
                    <a:lnTo>
                      <a:pt x="204" y="39"/>
                    </a:lnTo>
                    <a:lnTo>
                      <a:pt x="217" y="39"/>
                    </a:lnTo>
                    <a:lnTo>
                      <a:pt x="222" y="39"/>
                    </a:lnTo>
                    <a:lnTo>
                      <a:pt x="222" y="43"/>
                    </a:lnTo>
                    <a:lnTo>
                      <a:pt x="226" y="43"/>
                    </a:lnTo>
                    <a:lnTo>
                      <a:pt x="226" y="47"/>
                    </a:lnTo>
                    <a:lnTo>
                      <a:pt x="226" y="52"/>
                    </a:lnTo>
                    <a:lnTo>
                      <a:pt x="230" y="52"/>
                    </a:lnTo>
                    <a:lnTo>
                      <a:pt x="235" y="56"/>
                    </a:lnTo>
                    <a:lnTo>
                      <a:pt x="239" y="56"/>
                    </a:lnTo>
                    <a:lnTo>
                      <a:pt x="244" y="56"/>
                    </a:lnTo>
                    <a:lnTo>
                      <a:pt x="252" y="52"/>
                    </a:lnTo>
                    <a:lnTo>
                      <a:pt x="248" y="47"/>
                    </a:lnTo>
                    <a:lnTo>
                      <a:pt x="248" y="34"/>
                    </a:lnTo>
                    <a:lnTo>
                      <a:pt x="239" y="26"/>
                    </a:lnTo>
                    <a:lnTo>
                      <a:pt x="235" y="21"/>
                    </a:lnTo>
                    <a:lnTo>
                      <a:pt x="239" y="21"/>
                    </a:lnTo>
                    <a:lnTo>
                      <a:pt x="244" y="17"/>
                    </a:lnTo>
                    <a:lnTo>
                      <a:pt x="248" y="17"/>
                    </a:lnTo>
                    <a:lnTo>
                      <a:pt x="252" y="13"/>
                    </a:lnTo>
                    <a:lnTo>
                      <a:pt x="257" y="13"/>
                    </a:lnTo>
                    <a:lnTo>
                      <a:pt x="257" y="8"/>
                    </a:lnTo>
                    <a:lnTo>
                      <a:pt x="261" y="4"/>
                    </a:lnTo>
                    <a:lnTo>
                      <a:pt x="265" y="4"/>
                    </a:lnTo>
                    <a:lnTo>
                      <a:pt x="270" y="0"/>
                    </a:lnTo>
                    <a:lnTo>
                      <a:pt x="270" y="4"/>
                    </a:lnTo>
                    <a:lnTo>
                      <a:pt x="274" y="4"/>
                    </a:lnTo>
                    <a:lnTo>
                      <a:pt x="278" y="8"/>
                    </a:lnTo>
                    <a:lnTo>
                      <a:pt x="283" y="13"/>
                    </a:lnTo>
                    <a:lnTo>
                      <a:pt x="291" y="13"/>
                    </a:lnTo>
                    <a:lnTo>
                      <a:pt x="313" y="13"/>
                    </a:lnTo>
                    <a:lnTo>
                      <a:pt x="317" y="8"/>
                    </a:lnTo>
                    <a:lnTo>
                      <a:pt x="317" y="4"/>
                    </a:lnTo>
                    <a:lnTo>
                      <a:pt x="322" y="4"/>
                    </a:lnTo>
                    <a:lnTo>
                      <a:pt x="326" y="4"/>
                    </a:lnTo>
                    <a:lnTo>
                      <a:pt x="331" y="13"/>
                    </a:lnTo>
                    <a:lnTo>
                      <a:pt x="335" y="17"/>
                    </a:lnTo>
                    <a:lnTo>
                      <a:pt x="352" y="13"/>
                    </a:lnTo>
                    <a:lnTo>
                      <a:pt x="357" y="8"/>
                    </a:lnTo>
                    <a:lnTo>
                      <a:pt x="361" y="8"/>
                    </a:lnTo>
                    <a:lnTo>
                      <a:pt x="361" y="4"/>
                    </a:lnTo>
                    <a:lnTo>
                      <a:pt x="370" y="0"/>
                    </a:lnTo>
                    <a:lnTo>
                      <a:pt x="374" y="0"/>
                    </a:lnTo>
                    <a:lnTo>
                      <a:pt x="374" y="4"/>
                    </a:lnTo>
                    <a:lnTo>
                      <a:pt x="378" y="4"/>
                    </a:lnTo>
                    <a:lnTo>
                      <a:pt x="378" y="8"/>
                    </a:lnTo>
                    <a:lnTo>
                      <a:pt x="383" y="8"/>
                    </a:lnTo>
                    <a:lnTo>
                      <a:pt x="387" y="8"/>
                    </a:lnTo>
                    <a:lnTo>
                      <a:pt x="387" y="13"/>
                    </a:lnTo>
                    <a:lnTo>
                      <a:pt x="391" y="26"/>
                    </a:lnTo>
                    <a:lnTo>
                      <a:pt x="383" y="30"/>
                    </a:lnTo>
                    <a:lnTo>
                      <a:pt x="378" y="30"/>
                    </a:lnTo>
                    <a:lnTo>
                      <a:pt x="365" y="39"/>
                    </a:lnTo>
                    <a:lnTo>
                      <a:pt x="365" y="43"/>
                    </a:lnTo>
                    <a:lnTo>
                      <a:pt x="361" y="52"/>
                    </a:lnTo>
                    <a:lnTo>
                      <a:pt x="361" y="61"/>
                    </a:lnTo>
                    <a:lnTo>
                      <a:pt x="357" y="61"/>
                    </a:lnTo>
                    <a:lnTo>
                      <a:pt x="352" y="65"/>
                    </a:lnTo>
                    <a:lnTo>
                      <a:pt x="357" y="69"/>
                    </a:lnTo>
                    <a:lnTo>
                      <a:pt x="365" y="78"/>
                    </a:lnTo>
                    <a:lnTo>
                      <a:pt x="370" y="82"/>
                    </a:lnTo>
                    <a:lnTo>
                      <a:pt x="374" y="82"/>
                    </a:lnTo>
                    <a:lnTo>
                      <a:pt x="383" y="78"/>
                    </a:lnTo>
                    <a:lnTo>
                      <a:pt x="391" y="74"/>
                    </a:lnTo>
                    <a:lnTo>
                      <a:pt x="396" y="74"/>
                    </a:lnTo>
                    <a:lnTo>
                      <a:pt x="400" y="69"/>
                    </a:lnTo>
                    <a:lnTo>
                      <a:pt x="413" y="61"/>
                    </a:lnTo>
                    <a:lnTo>
                      <a:pt x="417" y="61"/>
                    </a:lnTo>
                    <a:lnTo>
                      <a:pt x="426" y="61"/>
                    </a:lnTo>
                    <a:lnTo>
                      <a:pt x="431" y="56"/>
                    </a:lnTo>
                    <a:lnTo>
                      <a:pt x="435" y="52"/>
                    </a:lnTo>
                    <a:lnTo>
                      <a:pt x="448" y="47"/>
                    </a:lnTo>
                    <a:lnTo>
                      <a:pt x="452" y="47"/>
                    </a:lnTo>
                    <a:lnTo>
                      <a:pt x="461" y="56"/>
                    </a:lnTo>
                    <a:lnTo>
                      <a:pt x="461" y="61"/>
                    </a:lnTo>
                    <a:lnTo>
                      <a:pt x="465" y="61"/>
                    </a:lnTo>
                    <a:lnTo>
                      <a:pt x="474" y="65"/>
                    </a:lnTo>
                    <a:lnTo>
                      <a:pt x="483" y="65"/>
                    </a:lnTo>
                    <a:lnTo>
                      <a:pt x="478" y="56"/>
                    </a:lnTo>
                    <a:lnTo>
                      <a:pt x="474" y="47"/>
                    </a:lnTo>
                    <a:lnTo>
                      <a:pt x="474" y="39"/>
                    </a:lnTo>
                    <a:lnTo>
                      <a:pt x="478" y="34"/>
                    </a:lnTo>
                    <a:lnTo>
                      <a:pt x="483" y="34"/>
                    </a:lnTo>
                    <a:lnTo>
                      <a:pt x="487" y="34"/>
                    </a:lnTo>
                    <a:lnTo>
                      <a:pt x="487" y="30"/>
                    </a:lnTo>
                    <a:lnTo>
                      <a:pt x="496" y="30"/>
                    </a:lnTo>
                    <a:lnTo>
                      <a:pt x="500" y="34"/>
                    </a:lnTo>
                    <a:lnTo>
                      <a:pt x="504" y="34"/>
                    </a:lnTo>
                    <a:lnTo>
                      <a:pt x="509" y="34"/>
                    </a:lnTo>
                    <a:lnTo>
                      <a:pt x="513" y="34"/>
                    </a:lnTo>
                    <a:lnTo>
                      <a:pt x="526" y="34"/>
                    </a:lnTo>
                    <a:lnTo>
                      <a:pt x="531" y="39"/>
                    </a:lnTo>
                    <a:lnTo>
                      <a:pt x="539" y="47"/>
                    </a:lnTo>
                    <a:lnTo>
                      <a:pt x="544" y="47"/>
                    </a:lnTo>
                    <a:lnTo>
                      <a:pt x="548" y="47"/>
                    </a:lnTo>
                    <a:lnTo>
                      <a:pt x="552" y="43"/>
                    </a:lnTo>
                    <a:lnTo>
                      <a:pt x="557" y="43"/>
                    </a:lnTo>
                    <a:lnTo>
                      <a:pt x="561" y="43"/>
                    </a:lnTo>
                    <a:lnTo>
                      <a:pt x="561" y="47"/>
                    </a:lnTo>
                    <a:lnTo>
                      <a:pt x="561" y="52"/>
                    </a:lnTo>
                    <a:lnTo>
                      <a:pt x="561" y="56"/>
                    </a:lnTo>
                    <a:lnTo>
                      <a:pt x="565" y="61"/>
                    </a:lnTo>
                    <a:lnTo>
                      <a:pt x="574" y="65"/>
                    </a:lnTo>
                    <a:lnTo>
                      <a:pt x="583" y="82"/>
                    </a:lnTo>
                    <a:lnTo>
                      <a:pt x="583" y="87"/>
                    </a:lnTo>
                    <a:lnTo>
                      <a:pt x="578" y="91"/>
                    </a:lnTo>
                    <a:lnTo>
                      <a:pt x="578" y="95"/>
                    </a:lnTo>
                    <a:lnTo>
                      <a:pt x="583" y="100"/>
                    </a:lnTo>
                    <a:lnTo>
                      <a:pt x="587" y="108"/>
                    </a:lnTo>
                    <a:lnTo>
                      <a:pt x="587" y="117"/>
                    </a:lnTo>
                    <a:lnTo>
                      <a:pt x="591" y="117"/>
                    </a:lnTo>
                    <a:lnTo>
                      <a:pt x="591" y="121"/>
                    </a:lnTo>
                    <a:lnTo>
                      <a:pt x="596" y="126"/>
                    </a:lnTo>
                    <a:lnTo>
                      <a:pt x="600" y="126"/>
                    </a:lnTo>
                    <a:lnTo>
                      <a:pt x="600" y="130"/>
                    </a:lnTo>
                    <a:lnTo>
                      <a:pt x="604" y="130"/>
                    </a:lnTo>
                    <a:lnTo>
                      <a:pt x="600" y="134"/>
                    </a:lnTo>
                    <a:lnTo>
                      <a:pt x="596" y="130"/>
                    </a:lnTo>
                    <a:lnTo>
                      <a:pt x="591" y="130"/>
                    </a:lnTo>
                    <a:lnTo>
                      <a:pt x="583" y="130"/>
                    </a:lnTo>
                    <a:lnTo>
                      <a:pt x="583" y="139"/>
                    </a:lnTo>
                    <a:lnTo>
                      <a:pt x="583" y="147"/>
                    </a:lnTo>
                    <a:lnTo>
                      <a:pt x="578" y="152"/>
                    </a:lnTo>
                    <a:lnTo>
                      <a:pt x="578" y="156"/>
                    </a:lnTo>
                    <a:lnTo>
                      <a:pt x="574" y="161"/>
                    </a:lnTo>
                    <a:lnTo>
                      <a:pt x="565" y="161"/>
                    </a:lnTo>
                    <a:lnTo>
                      <a:pt x="561" y="161"/>
                    </a:lnTo>
                    <a:lnTo>
                      <a:pt x="557" y="161"/>
                    </a:lnTo>
                    <a:lnTo>
                      <a:pt x="557" y="156"/>
                    </a:lnTo>
                    <a:lnTo>
                      <a:pt x="557" y="161"/>
                    </a:lnTo>
                    <a:lnTo>
                      <a:pt x="557" y="165"/>
                    </a:lnTo>
                    <a:lnTo>
                      <a:pt x="561" y="165"/>
                    </a:lnTo>
                    <a:lnTo>
                      <a:pt x="565" y="165"/>
                    </a:lnTo>
                    <a:lnTo>
                      <a:pt x="574" y="165"/>
                    </a:lnTo>
                    <a:lnTo>
                      <a:pt x="578" y="169"/>
                    </a:lnTo>
                    <a:lnTo>
                      <a:pt x="578" y="174"/>
                    </a:lnTo>
                    <a:lnTo>
                      <a:pt x="574" y="174"/>
                    </a:lnTo>
                    <a:lnTo>
                      <a:pt x="557" y="174"/>
                    </a:lnTo>
                    <a:lnTo>
                      <a:pt x="561" y="191"/>
                    </a:lnTo>
                    <a:lnTo>
                      <a:pt x="561" y="195"/>
                    </a:lnTo>
                    <a:lnTo>
                      <a:pt x="557" y="200"/>
                    </a:lnTo>
                    <a:lnTo>
                      <a:pt x="548" y="204"/>
                    </a:lnTo>
                    <a:lnTo>
                      <a:pt x="544" y="200"/>
                    </a:lnTo>
                    <a:lnTo>
                      <a:pt x="535" y="204"/>
                    </a:lnTo>
                    <a:lnTo>
                      <a:pt x="531" y="208"/>
                    </a:lnTo>
                    <a:lnTo>
                      <a:pt x="531" y="213"/>
                    </a:lnTo>
                    <a:lnTo>
                      <a:pt x="526" y="213"/>
                    </a:lnTo>
                    <a:lnTo>
                      <a:pt x="522" y="213"/>
                    </a:lnTo>
                    <a:lnTo>
                      <a:pt x="509" y="221"/>
                    </a:lnTo>
                    <a:lnTo>
                      <a:pt x="504" y="221"/>
                    </a:lnTo>
                    <a:lnTo>
                      <a:pt x="504" y="226"/>
                    </a:lnTo>
                    <a:lnTo>
                      <a:pt x="500" y="221"/>
                    </a:lnTo>
                    <a:lnTo>
                      <a:pt x="491" y="213"/>
                    </a:lnTo>
                    <a:lnTo>
                      <a:pt x="487" y="213"/>
                    </a:lnTo>
                    <a:lnTo>
                      <a:pt x="483" y="217"/>
                    </a:lnTo>
                    <a:lnTo>
                      <a:pt x="478" y="221"/>
                    </a:lnTo>
                    <a:lnTo>
                      <a:pt x="483" y="234"/>
                    </a:lnTo>
                    <a:lnTo>
                      <a:pt x="470" y="234"/>
                    </a:lnTo>
                    <a:lnTo>
                      <a:pt x="452" y="226"/>
                    </a:lnTo>
                    <a:lnTo>
                      <a:pt x="457" y="221"/>
                    </a:lnTo>
                    <a:lnTo>
                      <a:pt x="448" y="226"/>
                    </a:lnTo>
                    <a:lnTo>
                      <a:pt x="439" y="230"/>
                    </a:lnTo>
                    <a:lnTo>
                      <a:pt x="431" y="234"/>
                    </a:lnTo>
                    <a:lnTo>
                      <a:pt x="426" y="239"/>
                    </a:lnTo>
                    <a:lnTo>
                      <a:pt x="431" y="243"/>
                    </a:lnTo>
                    <a:lnTo>
                      <a:pt x="431" y="252"/>
                    </a:lnTo>
                    <a:lnTo>
                      <a:pt x="426" y="252"/>
                    </a:lnTo>
                    <a:lnTo>
                      <a:pt x="426" y="247"/>
                    </a:lnTo>
                    <a:lnTo>
                      <a:pt x="417" y="247"/>
                    </a:lnTo>
                    <a:lnTo>
                      <a:pt x="413" y="243"/>
                    </a:lnTo>
                    <a:lnTo>
                      <a:pt x="413" y="239"/>
                    </a:lnTo>
                    <a:lnTo>
                      <a:pt x="413" y="234"/>
                    </a:lnTo>
                    <a:lnTo>
                      <a:pt x="417" y="234"/>
                    </a:lnTo>
                    <a:lnTo>
                      <a:pt x="422" y="230"/>
                    </a:lnTo>
                    <a:lnTo>
                      <a:pt x="417" y="230"/>
                    </a:lnTo>
                    <a:lnTo>
                      <a:pt x="409" y="230"/>
                    </a:lnTo>
                    <a:lnTo>
                      <a:pt x="400" y="239"/>
                    </a:lnTo>
                    <a:lnTo>
                      <a:pt x="396" y="243"/>
                    </a:lnTo>
                    <a:lnTo>
                      <a:pt x="396" y="247"/>
                    </a:lnTo>
                    <a:lnTo>
                      <a:pt x="400" y="252"/>
                    </a:lnTo>
                    <a:lnTo>
                      <a:pt x="404" y="256"/>
                    </a:lnTo>
                    <a:lnTo>
                      <a:pt x="400" y="261"/>
                    </a:lnTo>
                    <a:lnTo>
                      <a:pt x="396" y="256"/>
                    </a:lnTo>
                    <a:lnTo>
                      <a:pt x="387" y="252"/>
                    </a:lnTo>
                    <a:lnTo>
                      <a:pt x="383" y="252"/>
                    </a:lnTo>
                    <a:lnTo>
                      <a:pt x="378" y="252"/>
                    </a:lnTo>
                    <a:lnTo>
                      <a:pt x="378" y="256"/>
                    </a:lnTo>
                    <a:lnTo>
                      <a:pt x="374" y="256"/>
                    </a:lnTo>
                    <a:lnTo>
                      <a:pt x="370" y="256"/>
                    </a:lnTo>
                    <a:lnTo>
                      <a:pt x="365" y="261"/>
                    </a:lnTo>
                    <a:lnTo>
                      <a:pt x="361" y="261"/>
                    </a:lnTo>
                    <a:lnTo>
                      <a:pt x="357" y="261"/>
                    </a:lnTo>
                    <a:lnTo>
                      <a:pt x="352" y="261"/>
                    </a:lnTo>
                    <a:lnTo>
                      <a:pt x="348" y="265"/>
                    </a:lnTo>
                    <a:lnTo>
                      <a:pt x="344" y="269"/>
                    </a:lnTo>
                    <a:lnTo>
                      <a:pt x="339" y="261"/>
                    </a:lnTo>
                    <a:lnTo>
                      <a:pt x="339" y="252"/>
                    </a:lnTo>
                    <a:lnTo>
                      <a:pt x="335" y="243"/>
                    </a:lnTo>
                    <a:lnTo>
                      <a:pt x="317" y="239"/>
                    </a:lnTo>
                    <a:lnTo>
                      <a:pt x="317" y="234"/>
                    </a:lnTo>
                    <a:lnTo>
                      <a:pt x="317" y="221"/>
                    </a:lnTo>
                    <a:lnTo>
                      <a:pt x="313" y="226"/>
                    </a:lnTo>
                    <a:lnTo>
                      <a:pt x="313" y="221"/>
                    </a:lnTo>
                    <a:lnTo>
                      <a:pt x="313" y="217"/>
                    </a:lnTo>
                    <a:lnTo>
                      <a:pt x="317" y="213"/>
                    </a:lnTo>
                    <a:lnTo>
                      <a:pt x="326" y="208"/>
                    </a:lnTo>
                    <a:lnTo>
                      <a:pt x="335" y="208"/>
                    </a:lnTo>
                    <a:lnTo>
                      <a:pt x="326" y="208"/>
                    </a:lnTo>
                    <a:lnTo>
                      <a:pt x="322" y="208"/>
                    </a:lnTo>
                    <a:lnTo>
                      <a:pt x="309" y="217"/>
                    </a:lnTo>
                    <a:lnTo>
                      <a:pt x="309" y="221"/>
                    </a:lnTo>
                    <a:lnTo>
                      <a:pt x="309" y="230"/>
                    </a:lnTo>
                    <a:lnTo>
                      <a:pt x="304" y="230"/>
                    </a:lnTo>
                    <a:lnTo>
                      <a:pt x="300" y="230"/>
                    </a:lnTo>
                    <a:lnTo>
                      <a:pt x="300" y="234"/>
                    </a:lnTo>
                    <a:lnTo>
                      <a:pt x="309" y="243"/>
                    </a:lnTo>
                    <a:lnTo>
                      <a:pt x="304" y="247"/>
                    </a:lnTo>
                    <a:lnTo>
                      <a:pt x="309" y="247"/>
                    </a:lnTo>
                    <a:lnTo>
                      <a:pt x="313" y="252"/>
                    </a:lnTo>
                    <a:lnTo>
                      <a:pt x="317" y="256"/>
                    </a:lnTo>
                    <a:lnTo>
                      <a:pt x="317" y="265"/>
                    </a:lnTo>
                    <a:lnTo>
                      <a:pt x="317" y="269"/>
                    </a:lnTo>
                    <a:lnTo>
                      <a:pt x="317" y="274"/>
                    </a:lnTo>
                    <a:lnTo>
                      <a:pt x="317" y="278"/>
                    </a:lnTo>
                    <a:lnTo>
                      <a:pt x="322" y="278"/>
                    </a:lnTo>
                    <a:lnTo>
                      <a:pt x="322" y="291"/>
                    </a:lnTo>
                    <a:lnTo>
                      <a:pt x="322" y="295"/>
                    </a:lnTo>
                    <a:close/>
                    <a:moveTo>
                      <a:pt x="74" y="404"/>
                    </a:moveTo>
                    <a:lnTo>
                      <a:pt x="78" y="404"/>
                    </a:lnTo>
                    <a:lnTo>
                      <a:pt x="78" y="413"/>
                    </a:lnTo>
                    <a:lnTo>
                      <a:pt x="74" y="413"/>
                    </a:lnTo>
                    <a:lnTo>
                      <a:pt x="65" y="408"/>
                    </a:lnTo>
                    <a:lnTo>
                      <a:pt x="65" y="404"/>
                    </a:lnTo>
                    <a:lnTo>
                      <a:pt x="70" y="404"/>
                    </a:lnTo>
                    <a:lnTo>
                      <a:pt x="70" y="408"/>
                    </a:lnTo>
                    <a:lnTo>
                      <a:pt x="74" y="408"/>
                    </a:lnTo>
                    <a:lnTo>
                      <a:pt x="74" y="404"/>
                    </a:lnTo>
                    <a:close/>
                    <a:moveTo>
                      <a:pt x="600" y="143"/>
                    </a:moveTo>
                    <a:lnTo>
                      <a:pt x="604" y="147"/>
                    </a:lnTo>
                    <a:lnTo>
                      <a:pt x="604" y="152"/>
                    </a:lnTo>
                    <a:lnTo>
                      <a:pt x="600" y="152"/>
                    </a:lnTo>
                    <a:lnTo>
                      <a:pt x="596" y="152"/>
                    </a:lnTo>
                    <a:lnTo>
                      <a:pt x="591" y="152"/>
                    </a:lnTo>
                    <a:lnTo>
                      <a:pt x="587" y="152"/>
                    </a:lnTo>
                    <a:lnTo>
                      <a:pt x="587" y="147"/>
                    </a:lnTo>
                    <a:lnTo>
                      <a:pt x="591" y="147"/>
                    </a:lnTo>
                    <a:lnTo>
                      <a:pt x="600" y="143"/>
                    </a:lnTo>
                    <a:close/>
                    <a:moveTo>
                      <a:pt x="322" y="243"/>
                    </a:moveTo>
                    <a:lnTo>
                      <a:pt x="317" y="243"/>
                    </a:lnTo>
                    <a:lnTo>
                      <a:pt x="309" y="239"/>
                    </a:lnTo>
                    <a:lnTo>
                      <a:pt x="304" y="239"/>
                    </a:lnTo>
                    <a:lnTo>
                      <a:pt x="300" y="234"/>
                    </a:lnTo>
                    <a:lnTo>
                      <a:pt x="304" y="234"/>
                    </a:lnTo>
                    <a:lnTo>
                      <a:pt x="304" y="230"/>
                    </a:lnTo>
                    <a:lnTo>
                      <a:pt x="309" y="230"/>
                    </a:lnTo>
                    <a:lnTo>
                      <a:pt x="309" y="234"/>
                    </a:lnTo>
                    <a:lnTo>
                      <a:pt x="317" y="239"/>
                    </a:lnTo>
                    <a:lnTo>
                      <a:pt x="317" y="243"/>
                    </a:lnTo>
                    <a:lnTo>
                      <a:pt x="322" y="243"/>
                    </a:lnTo>
                    <a:close/>
                    <a:moveTo>
                      <a:pt x="261" y="356"/>
                    </a:moveTo>
                    <a:lnTo>
                      <a:pt x="257" y="352"/>
                    </a:lnTo>
                    <a:lnTo>
                      <a:pt x="252" y="347"/>
                    </a:lnTo>
                    <a:lnTo>
                      <a:pt x="257" y="343"/>
                    </a:lnTo>
                    <a:lnTo>
                      <a:pt x="261" y="339"/>
                    </a:lnTo>
                    <a:lnTo>
                      <a:pt x="265" y="339"/>
                    </a:lnTo>
                    <a:lnTo>
                      <a:pt x="261" y="347"/>
                    </a:lnTo>
                    <a:lnTo>
                      <a:pt x="261" y="356"/>
                    </a:lnTo>
                    <a:close/>
                    <a:moveTo>
                      <a:pt x="178" y="365"/>
                    </a:moveTo>
                    <a:lnTo>
                      <a:pt x="183" y="356"/>
                    </a:lnTo>
                    <a:lnTo>
                      <a:pt x="191" y="356"/>
                    </a:lnTo>
                    <a:lnTo>
                      <a:pt x="196" y="356"/>
                    </a:lnTo>
                    <a:lnTo>
                      <a:pt x="196" y="361"/>
                    </a:lnTo>
                    <a:lnTo>
                      <a:pt x="191" y="361"/>
                    </a:lnTo>
                    <a:lnTo>
                      <a:pt x="183" y="365"/>
                    </a:lnTo>
                    <a:lnTo>
                      <a:pt x="178" y="365"/>
                    </a:lnTo>
                    <a:close/>
                    <a:moveTo>
                      <a:pt x="70" y="417"/>
                    </a:moveTo>
                    <a:lnTo>
                      <a:pt x="74" y="417"/>
                    </a:lnTo>
                    <a:lnTo>
                      <a:pt x="74" y="421"/>
                    </a:lnTo>
                    <a:lnTo>
                      <a:pt x="74" y="426"/>
                    </a:lnTo>
                    <a:lnTo>
                      <a:pt x="70" y="426"/>
                    </a:lnTo>
                    <a:lnTo>
                      <a:pt x="65" y="426"/>
                    </a:lnTo>
                    <a:lnTo>
                      <a:pt x="61" y="426"/>
                    </a:lnTo>
                    <a:lnTo>
                      <a:pt x="57" y="426"/>
                    </a:lnTo>
                    <a:lnTo>
                      <a:pt x="52" y="426"/>
                    </a:lnTo>
                    <a:lnTo>
                      <a:pt x="52" y="421"/>
                    </a:lnTo>
                    <a:lnTo>
                      <a:pt x="57" y="417"/>
                    </a:lnTo>
                    <a:lnTo>
                      <a:pt x="61" y="417"/>
                    </a:lnTo>
                    <a:lnTo>
                      <a:pt x="65" y="421"/>
                    </a:lnTo>
                    <a:lnTo>
                      <a:pt x="70" y="417"/>
                    </a:lnTo>
                    <a:close/>
                  </a:path>
                </a:pathLst>
              </a:custGeom>
              <a:solidFill>
                <a:srgbClr val="EBE9E5"/>
              </a:solidFill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44">
                <a:extLst>
                  <a:ext uri="{FF2B5EF4-FFF2-40B4-BE49-F238E27FC236}">
                    <a16:creationId xmlns:a16="http://schemas.microsoft.com/office/drawing/2014/main" id="{5BD6B38D-3A51-3718-67C3-C5DE538361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85972" y="6120733"/>
                <a:ext cx="362857" cy="307975"/>
              </a:xfrm>
              <a:custGeom>
                <a:avLst/>
                <a:gdLst>
                  <a:gd name="T0" fmla="*/ 100 w 209"/>
                  <a:gd name="T1" fmla="*/ 182 h 187"/>
                  <a:gd name="T2" fmla="*/ 92 w 209"/>
                  <a:gd name="T3" fmla="*/ 182 h 187"/>
                  <a:gd name="T4" fmla="*/ 87 w 209"/>
                  <a:gd name="T5" fmla="*/ 182 h 187"/>
                  <a:gd name="T6" fmla="*/ 79 w 209"/>
                  <a:gd name="T7" fmla="*/ 178 h 187"/>
                  <a:gd name="T8" fmla="*/ 70 w 209"/>
                  <a:gd name="T9" fmla="*/ 178 h 187"/>
                  <a:gd name="T10" fmla="*/ 57 w 209"/>
                  <a:gd name="T11" fmla="*/ 178 h 187"/>
                  <a:gd name="T12" fmla="*/ 35 w 209"/>
                  <a:gd name="T13" fmla="*/ 169 h 187"/>
                  <a:gd name="T14" fmla="*/ 22 w 209"/>
                  <a:gd name="T15" fmla="*/ 165 h 187"/>
                  <a:gd name="T16" fmla="*/ 18 w 209"/>
                  <a:gd name="T17" fmla="*/ 161 h 187"/>
                  <a:gd name="T18" fmla="*/ 13 w 209"/>
                  <a:gd name="T19" fmla="*/ 161 h 187"/>
                  <a:gd name="T20" fmla="*/ 9 w 209"/>
                  <a:gd name="T21" fmla="*/ 156 h 187"/>
                  <a:gd name="T22" fmla="*/ 9 w 209"/>
                  <a:gd name="T23" fmla="*/ 147 h 187"/>
                  <a:gd name="T24" fmla="*/ 9 w 209"/>
                  <a:gd name="T25" fmla="*/ 139 h 187"/>
                  <a:gd name="T26" fmla="*/ 0 w 209"/>
                  <a:gd name="T27" fmla="*/ 108 h 187"/>
                  <a:gd name="T28" fmla="*/ 5 w 209"/>
                  <a:gd name="T29" fmla="*/ 87 h 187"/>
                  <a:gd name="T30" fmla="*/ 9 w 209"/>
                  <a:gd name="T31" fmla="*/ 78 h 187"/>
                  <a:gd name="T32" fmla="*/ 26 w 209"/>
                  <a:gd name="T33" fmla="*/ 65 h 187"/>
                  <a:gd name="T34" fmla="*/ 35 w 209"/>
                  <a:gd name="T35" fmla="*/ 56 h 187"/>
                  <a:gd name="T36" fmla="*/ 48 w 209"/>
                  <a:gd name="T37" fmla="*/ 52 h 187"/>
                  <a:gd name="T38" fmla="*/ 57 w 209"/>
                  <a:gd name="T39" fmla="*/ 39 h 187"/>
                  <a:gd name="T40" fmla="*/ 53 w 209"/>
                  <a:gd name="T41" fmla="*/ 43 h 187"/>
                  <a:gd name="T42" fmla="*/ 48 w 209"/>
                  <a:gd name="T43" fmla="*/ 47 h 187"/>
                  <a:gd name="T44" fmla="*/ 48 w 209"/>
                  <a:gd name="T45" fmla="*/ 39 h 187"/>
                  <a:gd name="T46" fmla="*/ 57 w 209"/>
                  <a:gd name="T47" fmla="*/ 30 h 187"/>
                  <a:gd name="T48" fmla="*/ 74 w 209"/>
                  <a:gd name="T49" fmla="*/ 34 h 187"/>
                  <a:gd name="T50" fmla="*/ 79 w 209"/>
                  <a:gd name="T51" fmla="*/ 30 h 187"/>
                  <a:gd name="T52" fmla="*/ 83 w 209"/>
                  <a:gd name="T53" fmla="*/ 21 h 187"/>
                  <a:gd name="T54" fmla="*/ 87 w 209"/>
                  <a:gd name="T55" fmla="*/ 17 h 187"/>
                  <a:gd name="T56" fmla="*/ 96 w 209"/>
                  <a:gd name="T57" fmla="*/ 21 h 187"/>
                  <a:gd name="T58" fmla="*/ 105 w 209"/>
                  <a:gd name="T59" fmla="*/ 21 h 187"/>
                  <a:gd name="T60" fmla="*/ 118 w 209"/>
                  <a:gd name="T61" fmla="*/ 21 h 187"/>
                  <a:gd name="T62" fmla="*/ 127 w 209"/>
                  <a:gd name="T63" fmla="*/ 21 h 187"/>
                  <a:gd name="T64" fmla="*/ 131 w 209"/>
                  <a:gd name="T65" fmla="*/ 13 h 187"/>
                  <a:gd name="T66" fmla="*/ 148 w 209"/>
                  <a:gd name="T67" fmla="*/ 13 h 187"/>
                  <a:gd name="T68" fmla="*/ 166 w 209"/>
                  <a:gd name="T69" fmla="*/ 13 h 187"/>
                  <a:gd name="T70" fmla="*/ 170 w 209"/>
                  <a:gd name="T71" fmla="*/ 4 h 187"/>
                  <a:gd name="T72" fmla="*/ 179 w 209"/>
                  <a:gd name="T73" fmla="*/ 4 h 187"/>
                  <a:gd name="T74" fmla="*/ 183 w 209"/>
                  <a:gd name="T75" fmla="*/ 13 h 187"/>
                  <a:gd name="T76" fmla="*/ 192 w 209"/>
                  <a:gd name="T77" fmla="*/ 13 h 187"/>
                  <a:gd name="T78" fmla="*/ 196 w 209"/>
                  <a:gd name="T79" fmla="*/ 13 h 187"/>
                  <a:gd name="T80" fmla="*/ 200 w 209"/>
                  <a:gd name="T81" fmla="*/ 21 h 187"/>
                  <a:gd name="T82" fmla="*/ 205 w 209"/>
                  <a:gd name="T83" fmla="*/ 47 h 187"/>
                  <a:gd name="T84" fmla="*/ 196 w 209"/>
                  <a:gd name="T85" fmla="*/ 56 h 187"/>
                  <a:gd name="T86" fmla="*/ 192 w 209"/>
                  <a:gd name="T87" fmla="*/ 56 h 187"/>
                  <a:gd name="T88" fmla="*/ 179 w 209"/>
                  <a:gd name="T89" fmla="*/ 74 h 187"/>
                  <a:gd name="T90" fmla="*/ 170 w 209"/>
                  <a:gd name="T91" fmla="*/ 91 h 187"/>
                  <a:gd name="T92" fmla="*/ 166 w 209"/>
                  <a:gd name="T93" fmla="*/ 91 h 187"/>
                  <a:gd name="T94" fmla="*/ 170 w 209"/>
                  <a:gd name="T95" fmla="*/ 95 h 187"/>
                  <a:gd name="T96" fmla="*/ 174 w 209"/>
                  <a:gd name="T97" fmla="*/ 91 h 187"/>
                  <a:gd name="T98" fmla="*/ 166 w 209"/>
                  <a:gd name="T99" fmla="*/ 113 h 187"/>
                  <a:gd name="T100" fmla="*/ 170 w 209"/>
                  <a:gd name="T101" fmla="*/ 126 h 187"/>
                  <a:gd name="T102" fmla="*/ 161 w 209"/>
                  <a:gd name="T103" fmla="*/ 134 h 187"/>
                  <a:gd name="T104" fmla="*/ 148 w 209"/>
                  <a:gd name="T105" fmla="*/ 139 h 187"/>
                  <a:gd name="T106" fmla="*/ 135 w 209"/>
                  <a:gd name="T107" fmla="*/ 152 h 187"/>
                  <a:gd name="T108" fmla="*/ 135 w 209"/>
                  <a:gd name="T109" fmla="*/ 156 h 187"/>
                  <a:gd name="T110" fmla="*/ 131 w 209"/>
                  <a:gd name="T111" fmla="*/ 161 h 187"/>
                  <a:gd name="T112" fmla="*/ 127 w 209"/>
                  <a:gd name="T113" fmla="*/ 165 h 187"/>
                  <a:gd name="T114" fmla="*/ 118 w 209"/>
                  <a:gd name="T115" fmla="*/ 161 h 187"/>
                  <a:gd name="T116" fmla="*/ 105 w 209"/>
                  <a:gd name="T117" fmla="*/ 165 h 187"/>
                  <a:gd name="T118" fmla="*/ 105 w 209"/>
                  <a:gd name="T119" fmla="*/ 178 h 187"/>
                  <a:gd name="T120" fmla="*/ 100 w 209"/>
                  <a:gd name="T121" fmla="*/ 182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09" h="187">
                    <a:moveTo>
                      <a:pt x="100" y="182"/>
                    </a:moveTo>
                    <a:lnTo>
                      <a:pt x="100" y="182"/>
                    </a:lnTo>
                    <a:lnTo>
                      <a:pt x="96" y="182"/>
                    </a:lnTo>
                    <a:lnTo>
                      <a:pt x="92" y="182"/>
                    </a:lnTo>
                    <a:lnTo>
                      <a:pt x="87" y="187"/>
                    </a:lnTo>
                    <a:lnTo>
                      <a:pt x="87" y="182"/>
                    </a:lnTo>
                    <a:lnTo>
                      <a:pt x="83" y="178"/>
                    </a:lnTo>
                    <a:lnTo>
                      <a:pt x="79" y="178"/>
                    </a:lnTo>
                    <a:lnTo>
                      <a:pt x="79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57" y="178"/>
                    </a:lnTo>
                    <a:lnTo>
                      <a:pt x="44" y="169"/>
                    </a:lnTo>
                    <a:lnTo>
                      <a:pt x="35" y="169"/>
                    </a:lnTo>
                    <a:lnTo>
                      <a:pt x="26" y="165"/>
                    </a:lnTo>
                    <a:lnTo>
                      <a:pt x="22" y="165"/>
                    </a:lnTo>
                    <a:lnTo>
                      <a:pt x="22" y="161"/>
                    </a:lnTo>
                    <a:lnTo>
                      <a:pt x="18" y="161"/>
                    </a:lnTo>
                    <a:lnTo>
                      <a:pt x="13" y="161"/>
                    </a:lnTo>
                    <a:lnTo>
                      <a:pt x="13" y="161"/>
                    </a:lnTo>
                    <a:lnTo>
                      <a:pt x="9" y="161"/>
                    </a:lnTo>
                    <a:lnTo>
                      <a:pt x="9" y="156"/>
                    </a:lnTo>
                    <a:lnTo>
                      <a:pt x="9" y="152"/>
                    </a:lnTo>
                    <a:lnTo>
                      <a:pt x="9" y="147"/>
                    </a:lnTo>
                    <a:lnTo>
                      <a:pt x="9" y="147"/>
                    </a:lnTo>
                    <a:lnTo>
                      <a:pt x="9" y="139"/>
                    </a:lnTo>
                    <a:lnTo>
                      <a:pt x="5" y="121"/>
                    </a:lnTo>
                    <a:lnTo>
                      <a:pt x="0" y="108"/>
                    </a:lnTo>
                    <a:lnTo>
                      <a:pt x="0" y="91"/>
                    </a:lnTo>
                    <a:lnTo>
                      <a:pt x="5" y="87"/>
                    </a:lnTo>
                    <a:lnTo>
                      <a:pt x="9" y="78"/>
                    </a:lnTo>
                    <a:lnTo>
                      <a:pt x="9" y="78"/>
                    </a:lnTo>
                    <a:lnTo>
                      <a:pt x="13" y="78"/>
                    </a:lnTo>
                    <a:lnTo>
                      <a:pt x="26" y="65"/>
                    </a:lnTo>
                    <a:lnTo>
                      <a:pt x="35" y="61"/>
                    </a:lnTo>
                    <a:lnTo>
                      <a:pt x="35" y="56"/>
                    </a:lnTo>
                    <a:lnTo>
                      <a:pt x="40" y="56"/>
                    </a:lnTo>
                    <a:lnTo>
                      <a:pt x="48" y="52"/>
                    </a:lnTo>
                    <a:lnTo>
                      <a:pt x="57" y="43"/>
                    </a:lnTo>
                    <a:lnTo>
                      <a:pt x="57" y="39"/>
                    </a:lnTo>
                    <a:lnTo>
                      <a:pt x="57" y="39"/>
                    </a:lnTo>
                    <a:lnTo>
                      <a:pt x="53" y="43"/>
                    </a:lnTo>
                    <a:lnTo>
                      <a:pt x="53" y="43"/>
                    </a:lnTo>
                    <a:lnTo>
                      <a:pt x="48" y="47"/>
                    </a:lnTo>
                    <a:lnTo>
                      <a:pt x="48" y="39"/>
                    </a:lnTo>
                    <a:lnTo>
                      <a:pt x="48" y="39"/>
                    </a:lnTo>
                    <a:lnTo>
                      <a:pt x="53" y="30"/>
                    </a:lnTo>
                    <a:lnTo>
                      <a:pt x="57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9" y="30"/>
                    </a:lnTo>
                    <a:lnTo>
                      <a:pt x="79" y="30"/>
                    </a:lnTo>
                    <a:lnTo>
                      <a:pt x="79" y="26"/>
                    </a:lnTo>
                    <a:lnTo>
                      <a:pt x="83" y="21"/>
                    </a:lnTo>
                    <a:lnTo>
                      <a:pt x="83" y="21"/>
                    </a:lnTo>
                    <a:lnTo>
                      <a:pt x="87" y="17"/>
                    </a:lnTo>
                    <a:lnTo>
                      <a:pt x="92" y="17"/>
                    </a:lnTo>
                    <a:lnTo>
                      <a:pt x="96" y="21"/>
                    </a:lnTo>
                    <a:lnTo>
                      <a:pt x="100" y="21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18" y="21"/>
                    </a:lnTo>
                    <a:lnTo>
                      <a:pt x="118" y="21"/>
                    </a:lnTo>
                    <a:lnTo>
                      <a:pt x="127" y="21"/>
                    </a:lnTo>
                    <a:lnTo>
                      <a:pt x="131" y="17"/>
                    </a:lnTo>
                    <a:lnTo>
                      <a:pt x="131" y="13"/>
                    </a:lnTo>
                    <a:lnTo>
                      <a:pt x="131" y="13"/>
                    </a:lnTo>
                    <a:lnTo>
                      <a:pt x="148" y="13"/>
                    </a:lnTo>
                    <a:lnTo>
                      <a:pt x="161" y="13"/>
                    </a:lnTo>
                    <a:lnTo>
                      <a:pt x="166" y="13"/>
                    </a:lnTo>
                    <a:lnTo>
                      <a:pt x="166" y="4"/>
                    </a:lnTo>
                    <a:lnTo>
                      <a:pt x="170" y="4"/>
                    </a:lnTo>
                    <a:lnTo>
                      <a:pt x="174" y="0"/>
                    </a:lnTo>
                    <a:lnTo>
                      <a:pt x="179" y="4"/>
                    </a:lnTo>
                    <a:lnTo>
                      <a:pt x="179" y="8"/>
                    </a:lnTo>
                    <a:lnTo>
                      <a:pt x="183" y="13"/>
                    </a:lnTo>
                    <a:lnTo>
                      <a:pt x="192" y="13"/>
                    </a:lnTo>
                    <a:lnTo>
                      <a:pt x="192" y="13"/>
                    </a:lnTo>
                    <a:lnTo>
                      <a:pt x="196" y="13"/>
                    </a:lnTo>
                    <a:lnTo>
                      <a:pt x="196" y="13"/>
                    </a:lnTo>
                    <a:lnTo>
                      <a:pt x="200" y="13"/>
                    </a:lnTo>
                    <a:lnTo>
                      <a:pt x="200" y="21"/>
                    </a:lnTo>
                    <a:lnTo>
                      <a:pt x="209" y="43"/>
                    </a:lnTo>
                    <a:lnTo>
                      <a:pt x="205" y="47"/>
                    </a:lnTo>
                    <a:lnTo>
                      <a:pt x="200" y="47"/>
                    </a:lnTo>
                    <a:lnTo>
                      <a:pt x="196" y="56"/>
                    </a:lnTo>
                    <a:lnTo>
                      <a:pt x="196" y="56"/>
                    </a:lnTo>
                    <a:lnTo>
                      <a:pt x="192" y="56"/>
                    </a:lnTo>
                    <a:lnTo>
                      <a:pt x="183" y="69"/>
                    </a:lnTo>
                    <a:lnTo>
                      <a:pt x="179" y="74"/>
                    </a:lnTo>
                    <a:lnTo>
                      <a:pt x="174" y="91"/>
                    </a:lnTo>
                    <a:lnTo>
                      <a:pt x="170" y="91"/>
                    </a:lnTo>
                    <a:lnTo>
                      <a:pt x="170" y="91"/>
                    </a:lnTo>
                    <a:lnTo>
                      <a:pt x="166" y="91"/>
                    </a:lnTo>
                    <a:lnTo>
                      <a:pt x="166" y="95"/>
                    </a:lnTo>
                    <a:lnTo>
                      <a:pt x="170" y="95"/>
                    </a:lnTo>
                    <a:lnTo>
                      <a:pt x="170" y="91"/>
                    </a:lnTo>
                    <a:lnTo>
                      <a:pt x="174" y="91"/>
                    </a:lnTo>
                    <a:lnTo>
                      <a:pt x="170" y="100"/>
                    </a:lnTo>
                    <a:lnTo>
                      <a:pt x="166" y="113"/>
                    </a:lnTo>
                    <a:lnTo>
                      <a:pt x="170" y="121"/>
                    </a:lnTo>
                    <a:lnTo>
                      <a:pt x="170" y="126"/>
                    </a:lnTo>
                    <a:lnTo>
                      <a:pt x="170" y="126"/>
                    </a:lnTo>
                    <a:lnTo>
                      <a:pt x="161" y="134"/>
                    </a:lnTo>
                    <a:lnTo>
                      <a:pt x="148" y="139"/>
                    </a:lnTo>
                    <a:lnTo>
                      <a:pt x="148" y="139"/>
                    </a:lnTo>
                    <a:lnTo>
                      <a:pt x="144" y="143"/>
                    </a:lnTo>
                    <a:lnTo>
                      <a:pt x="135" y="152"/>
                    </a:lnTo>
                    <a:lnTo>
                      <a:pt x="135" y="152"/>
                    </a:lnTo>
                    <a:lnTo>
                      <a:pt x="135" y="156"/>
                    </a:lnTo>
                    <a:lnTo>
                      <a:pt x="131" y="156"/>
                    </a:lnTo>
                    <a:lnTo>
                      <a:pt x="131" y="161"/>
                    </a:lnTo>
                    <a:lnTo>
                      <a:pt x="131" y="165"/>
                    </a:lnTo>
                    <a:lnTo>
                      <a:pt x="127" y="165"/>
                    </a:lnTo>
                    <a:lnTo>
                      <a:pt x="122" y="165"/>
                    </a:lnTo>
                    <a:lnTo>
                      <a:pt x="118" y="161"/>
                    </a:lnTo>
                    <a:lnTo>
                      <a:pt x="109" y="165"/>
                    </a:lnTo>
                    <a:lnTo>
                      <a:pt x="105" y="165"/>
                    </a:lnTo>
                    <a:lnTo>
                      <a:pt x="100" y="178"/>
                    </a:lnTo>
                    <a:lnTo>
                      <a:pt x="105" y="178"/>
                    </a:lnTo>
                    <a:lnTo>
                      <a:pt x="105" y="182"/>
                    </a:lnTo>
                    <a:lnTo>
                      <a:pt x="100" y="182"/>
                    </a:lnTo>
                    <a:lnTo>
                      <a:pt x="100" y="18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Gulim" pitchFamily="34" charset="-127"/>
                  <a:cs typeface="+mn-cs"/>
                </a:endParaRPr>
              </a:p>
            </p:txBody>
          </p:sp>
          <p:sp>
            <p:nvSpPr>
              <p:cNvPr id="29" name="Freeform 45">
                <a:extLst>
                  <a:ext uri="{FF2B5EF4-FFF2-40B4-BE49-F238E27FC236}">
                    <a16:creationId xmlns:a16="http://schemas.microsoft.com/office/drawing/2014/main" id="{C281AC5F-AA9E-F6B8-E4B8-5C62AC6C513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92032" y="3937920"/>
                <a:ext cx="645583" cy="722313"/>
              </a:xfrm>
              <a:custGeom>
                <a:avLst/>
                <a:gdLst>
                  <a:gd name="T0" fmla="*/ 56 w 374"/>
                  <a:gd name="T1" fmla="*/ 261 h 435"/>
                  <a:gd name="T2" fmla="*/ 78 w 374"/>
                  <a:gd name="T3" fmla="*/ 248 h 435"/>
                  <a:gd name="T4" fmla="*/ 87 w 374"/>
                  <a:gd name="T5" fmla="*/ 244 h 435"/>
                  <a:gd name="T6" fmla="*/ 87 w 374"/>
                  <a:gd name="T7" fmla="*/ 222 h 435"/>
                  <a:gd name="T8" fmla="*/ 61 w 374"/>
                  <a:gd name="T9" fmla="*/ 200 h 435"/>
                  <a:gd name="T10" fmla="*/ 52 w 374"/>
                  <a:gd name="T11" fmla="*/ 196 h 435"/>
                  <a:gd name="T12" fmla="*/ 30 w 374"/>
                  <a:gd name="T13" fmla="*/ 183 h 435"/>
                  <a:gd name="T14" fmla="*/ 13 w 374"/>
                  <a:gd name="T15" fmla="*/ 161 h 435"/>
                  <a:gd name="T16" fmla="*/ 4 w 374"/>
                  <a:gd name="T17" fmla="*/ 144 h 435"/>
                  <a:gd name="T18" fmla="*/ 30 w 374"/>
                  <a:gd name="T19" fmla="*/ 139 h 435"/>
                  <a:gd name="T20" fmla="*/ 30 w 374"/>
                  <a:gd name="T21" fmla="*/ 109 h 435"/>
                  <a:gd name="T22" fmla="*/ 48 w 374"/>
                  <a:gd name="T23" fmla="*/ 100 h 435"/>
                  <a:gd name="T24" fmla="*/ 39 w 374"/>
                  <a:gd name="T25" fmla="*/ 70 h 435"/>
                  <a:gd name="T26" fmla="*/ 69 w 374"/>
                  <a:gd name="T27" fmla="*/ 66 h 435"/>
                  <a:gd name="T28" fmla="*/ 104 w 374"/>
                  <a:gd name="T29" fmla="*/ 74 h 435"/>
                  <a:gd name="T30" fmla="*/ 109 w 374"/>
                  <a:gd name="T31" fmla="*/ 44 h 435"/>
                  <a:gd name="T32" fmla="*/ 95 w 374"/>
                  <a:gd name="T33" fmla="*/ 31 h 435"/>
                  <a:gd name="T34" fmla="*/ 87 w 374"/>
                  <a:gd name="T35" fmla="*/ 5 h 435"/>
                  <a:gd name="T36" fmla="*/ 113 w 374"/>
                  <a:gd name="T37" fmla="*/ 13 h 435"/>
                  <a:gd name="T38" fmla="*/ 135 w 374"/>
                  <a:gd name="T39" fmla="*/ 26 h 435"/>
                  <a:gd name="T40" fmla="*/ 178 w 374"/>
                  <a:gd name="T41" fmla="*/ 39 h 435"/>
                  <a:gd name="T42" fmla="*/ 196 w 374"/>
                  <a:gd name="T43" fmla="*/ 52 h 435"/>
                  <a:gd name="T44" fmla="*/ 217 w 374"/>
                  <a:gd name="T45" fmla="*/ 61 h 435"/>
                  <a:gd name="T46" fmla="*/ 230 w 374"/>
                  <a:gd name="T47" fmla="*/ 66 h 435"/>
                  <a:gd name="T48" fmla="*/ 217 w 374"/>
                  <a:gd name="T49" fmla="*/ 105 h 435"/>
                  <a:gd name="T50" fmla="*/ 243 w 374"/>
                  <a:gd name="T51" fmla="*/ 122 h 435"/>
                  <a:gd name="T52" fmla="*/ 282 w 374"/>
                  <a:gd name="T53" fmla="*/ 139 h 435"/>
                  <a:gd name="T54" fmla="*/ 296 w 374"/>
                  <a:gd name="T55" fmla="*/ 118 h 435"/>
                  <a:gd name="T56" fmla="*/ 317 w 374"/>
                  <a:gd name="T57" fmla="*/ 144 h 435"/>
                  <a:gd name="T58" fmla="*/ 309 w 374"/>
                  <a:gd name="T59" fmla="*/ 157 h 435"/>
                  <a:gd name="T60" fmla="*/ 278 w 374"/>
                  <a:gd name="T61" fmla="*/ 161 h 435"/>
                  <a:gd name="T62" fmla="*/ 269 w 374"/>
                  <a:gd name="T63" fmla="*/ 200 h 435"/>
                  <a:gd name="T64" fmla="*/ 287 w 374"/>
                  <a:gd name="T65" fmla="*/ 226 h 435"/>
                  <a:gd name="T66" fmla="*/ 309 w 374"/>
                  <a:gd name="T67" fmla="*/ 244 h 435"/>
                  <a:gd name="T68" fmla="*/ 304 w 374"/>
                  <a:gd name="T69" fmla="*/ 261 h 435"/>
                  <a:gd name="T70" fmla="*/ 335 w 374"/>
                  <a:gd name="T71" fmla="*/ 257 h 435"/>
                  <a:gd name="T72" fmla="*/ 369 w 374"/>
                  <a:gd name="T73" fmla="*/ 266 h 435"/>
                  <a:gd name="T74" fmla="*/ 361 w 374"/>
                  <a:gd name="T75" fmla="*/ 305 h 435"/>
                  <a:gd name="T76" fmla="*/ 361 w 374"/>
                  <a:gd name="T77" fmla="*/ 326 h 435"/>
                  <a:gd name="T78" fmla="*/ 335 w 374"/>
                  <a:gd name="T79" fmla="*/ 339 h 435"/>
                  <a:gd name="T80" fmla="*/ 330 w 374"/>
                  <a:gd name="T81" fmla="*/ 352 h 435"/>
                  <a:gd name="T82" fmla="*/ 326 w 374"/>
                  <a:gd name="T83" fmla="*/ 383 h 435"/>
                  <a:gd name="T84" fmla="*/ 317 w 374"/>
                  <a:gd name="T85" fmla="*/ 405 h 435"/>
                  <a:gd name="T86" fmla="*/ 304 w 374"/>
                  <a:gd name="T87" fmla="*/ 426 h 435"/>
                  <a:gd name="T88" fmla="*/ 278 w 374"/>
                  <a:gd name="T89" fmla="*/ 422 h 435"/>
                  <a:gd name="T90" fmla="*/ 252 w 374"/>
                  <a:gd name="T91" fmla="*/ 422 h 435"/>
                  <a:gd name="T92" fmla="*/ 217 w 374"/>
                  <a:gd name="T93" fmla="*/ 405 h 435"/>
                  <a:gd name="T94" fmla="*/ 200 w 374"/>
                  <a:gd name="T95" fmla="*/ 409 h 435"/>
                  <a:gd name="T96" fmla="*/ 187 w 374"/>
                  <a:gd name="T97" fmla="*/ 435 h 435"/>
                  <a:gd name="T98" fmla="*/ 178 w 374"/>
                  <a:gd name="T99" fmla="*/ 418 h 435"/>
                  <a:gd name="T100" fmla="*/ 174 w 374"/>
                  <a:gd name="T101" fmla="*/ 392 h 435"/>
                  <a:gd name="T102" fmla="*/ 156 w 374"/>
                  <a:gd name="T103" fmla="*/ 396 h 435"/>
                  <a:gd name="T104" fmla="*/ 135 w 374"/>
                  <a:gd name="T105" fmla="*/ 418 h 435"/>
                  <a:gd name="T106" fmla="*/ 122 w 374"/>
                  <a:gd name="T107" fmla="*/ 396 h 435"/>
                  <a:gd name="T108" fmla="*/ 100 w 374"/>
                  <a:gd name="T109" fmla="*/ 370 h 435"/>
                  <a:gd name="T110" fmla="*/ 104 w 374"/>
                  <a:gd name="T111" fmla="*/ 357 h 435"/>
                  <a:gd name="T112" fmla="*/ 91 w 374"/>
                  <a:gd name="T113" fmla="*/ 344 h 435"/>
                  <a:gd name="T114" fmla="*/ 104 w 374"/>
                  <a:gd name="T115" fmla="*/ 318 h 435"/>
                  <a:gd name="T116" fmla="*/ 74 w 374"/>
                  <a:gd name="T117" fmla="*/ 30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74" h="435">
                    <a:moveTo>
                      <a:pt x="52" y="287"/>
                    </a:moveTo>
                    <a:lnTo>
                      <a:pt x="52" y="283"/>
                    </a:lnTo>
                    <a:lnTo>
                      <a:pt x="52" y="279"/>
                    </a:lnTo>
                    <a:lnTo>
                      <a:pt x="52" y="279"/>
                    </a:lnTo>
                    <a:lnTo>
                      <a:pt x="52" y="279"/>
                    </a:lnTo>
                    <a:lnTo>
                      <a:pt x="56" y="261"/>
                    </a:lnTo>
                    <a:lnTo>
                      <a:pt x="61" y="261"/>
                    </a:lnTo>
                    <a:lnTo>
                      <a:pt x="65" y="257"/>
                    </a:lnTo>
                    <a:lnTo>
                      <a:pt x="69" y="252"/>
                    </a:lnTo>
                    <a:lnTo>
                      <a:pt x="74" y="252"/>
                    </a:lnTo>
                    <a:lnTo>
                      <a:pt x="78" y="252"/>
                    </a:lnTo>
                    <a:lnTo>
                      <a:pt x="78" y="248"/>
                    </a:lnTo>
                    <a:lnTo>
                      <a:pt x="82" y="252"/>
                    </a:lnTo>
                    <a:lnTo>
                      <a:pt x="87" y="252"/>
                    </a:lnTo>
                    <a:lnTo>
                      <a:pt x="87" y="248"/>
                    </a:lnTo>
                    <a:lnTo>
                      <a:pt x="87" y="248"/>
                    </a:lnTo>
                    <a:lnTo>
                      <a:pt x="87" y="244"/>
                    </a:lnTo>
                    <a:lnTo>
                      <a:pt x="87" y="244"/>
                    </a:lnTo>
                    <a:lnTo>
                      <a:pt x="87" y="239"/>
                    </a:lnTo>
                    <a:lnTo>
                      <a:pt x="87" y="235"/>
                    </a:lnTo>
                    <a:lnTo>
                      <a:pt x="87" y="231"/>
                    </a:lnTo>
                    <a:lnTo>
                      <a:pt x="87" y="231"/>
                    </a:lnTo>
                    <a:lnTo>
                      <a:pt x="87" y="226"/>
                    </a:lnTo>
                    <a:lnTo>
                      <a:pt x="87" y="222"/>
                    </a:lnTo>
                    <a:lnTo>
                      <a:pt x="87" y="218"/>
                    </a:lnTo>
                    <a:lnTo>
                      <a:pt x="82" y="200"/>
                    </a:lnTo>
                    <a:lnTo>
                      <a:pt x="78" y="187"/>
                    </a:lnTo>
                    <a:lnTo>
                      <a:pt x="69" y="192"/>
                    </a:lnTo>
                    <a:lnTo>
                      <a:pt x="65" y="196"/>
                    </a:lnTo>
                    <a:lnTo>
                      <a:pt x="61" y="200"/>
                    </a:lnTo>
                    <a:lnTo>
                      <a:pt x="61" y="200"/>
                    </a:lnTo>
                    <a:lnTo>
                      <a:pt x="61" y="200"/>
                    </a:lnTo>
                    <a:lnTo>
                      <a:pt x="56" y="200"/>
                    </a:lnTo>
                    <a:lnTo>
                      <a:pt x="56" y="200"/>
                    </a:lnTo>
                    <a:lnTo>
                      <a:pt x="52" y="196"/>
                    </a:lnTo>
                    <a:lnTo>
                      <a:pt x="52" y="196"/>
                    </a:lnTo>
                    <a:lnTo>
                      <a:pt x="48" y="192"/>
                    </a:lnTo>
                    <a:lnTo>
                      <a:pt x="43" y="187"/>
                    </a:lnTo>
                    <a:lnTo>
                      <a:pt x="39" y="187"/>
                    </a:lnTo>
                    <a:lnTo>
                      <a:pt x="35" y="187"/>
                    </a:lnTo>
                    <a:lnTo>
                      <a:pt x="30" y="187"/>
                    </a:lnTo>
                    <a:lnTo>
                      <a:pt x="30" y="183"/>
                    </a:lnTo>
                    <a:lnTo>
                      <a:pt x="26" y="179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6"/>
                    </a:lnTo>
                    <a:lnTo>
                      <a:pt x="22" y="161"/>
                    </a:lnTo>
                    <a:lnTo>
                      <a:pt x="13" y="161"/>
                    </a:lnTo>
                    <a:lnTo>
                      <a:pt x="9" y="157"/>
                    </a:lnTo>
                    <a:lnTo>
                      <a:pt x="4" y="157"/>
                    </a:lnTo>
                    <a:lnTo>
                      <a:pt x="4" y="157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4" y="144"/>
                    </a:lnTo>
                    <a:lnTo>
                      <a:pt x="9" y="144"/>
                    </a:lnTo>
                    <a:lnTo>
                      <a:pt x="9" y="144"/>
                    </a:lnTo>
                    <a:lnTo>
                      <a:pt x="13" y="148"/>
                    </a:lnTo>
                    <a:lnTo>
                      <a:pt x="17" y="144"/>
                    </a:lnTo>
                    <a:lnTo>
                      <a:pt x="26" y="139"/>
                    </a:lnTo>
                    <a:lnTo>
                      <a:pt x="30" y="139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30" y="113"/>
                    </a:lnTo>
                    <a:lnTo>
                      <a:pt x="30" y="109"/>
                    </a:lnTo>
                    <a:lnTo>
                      <a:pt x="30" y="105"/>
                    </a:lnTo>
                    <a:lnTo>
                      <a:pt x="35" y="105"/>
                    </a:lnTo>
                    <a:lnTo>
                      <a:pt x="39" y="100"/>
                    </a:lnTo>
                    <a:lnTo>
                      <a:pt x="39" y="100"/>
                    </a:lnTo>
                    <a:lnTo>
                      <a:pt x="43" y="100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74"/>
                    </a:lnTo>
                    <a:lnTo>
                      <a:pt x="43" y="74"/>
                    </a:lnTo>
                    <a:lnTo>
                      <a:pt x="39" y="74"/>
                    </a:lnTo>
                    <a:lnTo>
                      <a:pt x="39" y="70"/>
                    </a:lnTo>
                    <a:lnTo>
                      <a:pt x="39" y="70"/>
                    </a:lnTo>
                    <a:lnTo>
                      <a:pt x="39" y="66"/>
                    </a:lnTo>
                    <a:lnTo>
                      <a:pt x="48" y="57"/>
                    </a:lnTo>
                    <a:lnTo>
                      <a:pt x="52" y="57"/>
                    </a:lnTo>
                    <a:lnTo>
                      <a:pt x="65" y="61"/>
                    </a:lnTo>
                    <a:lnTo>
                      <a:pt x="69" y="66"/>
                    </a:lnTo>
                    <a:lnTo>
                      <a:pt x="78" y="79"/>
                    </a:lnTo>
                    <a:lnTo>
                      <a:pt x="82" y="79"/>
                    </a:lnTo>
                    <a:lnTo>
                      <a:pt x="82" y="83"/>
                    </a:lnTo>
                    <a:lnTo>
                      <a:pt x="87" y="83"/>
                    </a:lnTo>
                    <a:lnTo>
                      <a:pt x="91" y="79"/>
                    </a:lnTo>
                    <a:lnTo>
                      <a:pt x="104" y="74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17" y="61"/>
                    </a:lnTo>
                    <a:lnTo>
                      <a:pt x="113" y="52"/>
                    </a:lnTo>
                    <a:lnTo>
                      <a:pt x="109" y="44"/>
                    </a:lnTo>
                    <a:lnTo>
                      <a:pt x="109" y="44"/>
                    </a:lnTo>
                    <a:lnTo>
                      <a:pt x="109" y="39"/>
                    </a:lnTo>
                    <a:lnTo>
                      <a:pt x="109" y="39"/>
                    </a:lnTo>
                    <a:lnTo>
                      <a:pt x="109" y="31"/>
                    </a:lnTo>
                    <a:lnTo>
                      <a:pt x="104" y="31"/>
                    </a:lnTo>
                    <a:lnTo>
                      <a:pt x="100" y="31"/>
                    </a:lnTo>
                    <a:lnTo>
                      <a:pt x="95" y="31"/>
                    </a:lnTo>
                    <a:lnTo>
                      <a:pt x="82" y="22"/>
                    </a:lnTo>
                    <a:lnTo>
                      <a:pt x="78" y="18"/>
                    </a:lnTo>
                    <a:lnTo>
                      <a:pt x="74" y="9"/>
                    </a:lnTo>
                    <a:lnTo>
                      <a:pt x="82" y="9"/>
                    </a:lnTo>
                    <a:lnTo>
                      <a:pt x="82" y="5"/>
                    </a:lnTo>
                    <a:lnTo>
                      <a:pt x="87" y="5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9" y="13"/>
                    </a:lnTo>
                    <a:lnTo>
                      <a:pt x="113" y="13"/>
                    </a:lnTo>
                    <a:lnTo>
                      <a:pt x="117" y="13"/>
                    </a:lnTo>
                    <a:lnTo>
                      <a:pt x="122" y="13"/>
                    </a:lnTo>
                    <a:lnTo>
                      <a:pt x="135" y="18"/>
                    </a:lnTo>
                    <a:lnTo>
                      <a:pt x="135" y="18"/>
                    </a:lnTo>
                    <a:lnTo>
                      <a:pt x="135" y="22"/>
                    </a:lnTo>
                    <a:lnTo>
                      <a:pt x="135" y="26"/>
                    </a:lnTo>
                    <a:lnTo>
                      <a:pt x="143" y="35"/>
                    </a:lnTo>
                    <a:lnTo>
                      <a:pt x="143" y="35"/>
                    </a:lnTo>
                    <a:lnTo>
                      <a:pt x="152" y="39"/>
                    </a:lnTo>
                    <a:lnTo>
                      <a:pt x="156" y="39"/>
                    </a:lnTo>
                    <a:lnTo>
                      <a:pt x="169" y="39"/>
                    </a:lnTo>
                    <a:lnTo>
                      <a:pt x="178" y="39"/>
                    </a:lnTo>
                    <a:lnTo>
                      <a:pt x="187" y="44"/>
                    </a:lnTo>
                    <a:lnTo>
                      <a:pt x="187" y="44"/>
                    </a:lnTo>
                    <a:lnTo>
                      <a:pt x="191" y="44"/>
                    </a:lnTo>
                    <a:lnTo>
                      <a:pt x="191" y="48"/>
                    </a:lnTo>
                    <a:lnTo>
                      <a:pt x="191" y="52"/>
                    </a:lnTo>
                    <a:lnTo>
                      <a:pt x="196" y="52"/>
                    </a:lnTo>
                    <a:lnTo>
                      <a:pt x="196" y="52"/>
                    </a:lnTo>
                    <a:lnTo>
                      <a:pt x="200" y="61"/>
                    </a:lnTo>
                    <a:lnTo>
                      <a:pt x="200" y="66"/>
                    </a:lnTo>
                    <a:lnTo>
                      <a:pt x="209" y="66"/>
                    </a:lnTo>
                    <a:lnTo>
                      <a:pt x="213" y="61"/>
                    </a:lnTo>
                    <a:lnTo>
                      <a:pt x="217" y="61"/>
                    </a:lnTo>
                    <a:lnTo>
                      <a:pt x="222" y="57"/>
                    </a:lnTo>
                    <a:lnTo>
                      <a:pt x="226" y="57"/>
                    </a:lnTo>
                    <a:lnTo>
                      <a:pt x="226" y="57"/>
                    </a:lnTo>
                    <a:lnTo>
                      <a:pt x="230" y="61"/>
                    </a:lnTo>
                    <a:lnTo>
                      <a:pt x="230" y="61"/>
                    </a:lnTo>
                    <a:lnTo>
                      <a:pt x="230" y="66"/>
                    </a:lnTo>
                    <a:lnTo>
                      <a:pt x="226" y="79"/>
                    </a:lnTo>
                    <a:lnTo>
                      <a:pt x="226" y="83"/>
                    </a:lnTo>
                    <a:lnTo>
                      <a:pt x="222" y="92"/>
                    </a:lnTo>
                    <a:lnTo>
                      <a:pt x="222" y="100"/>
                    </a:lnTo>
                    <a:lnTo>
                      <a:pt x="217" y="100"/>
                    </a:lnTo>
                    <a:lnTo>
                      <a:pt x="217" y="105"/>
                    </a:lnTo>
                    <a:lnTo>
                      <a:pt x="226" y="109"/>
                    </a:lnTo>
                    <a:lnTo>
                      <a:pt x="226" y="109"/>
                    </a:lnTo>
                    <a:lnTo>
                      <a:pt x="230" y="109"/>
                    </a:lnTo>
                    <a:lnTo>
                      <a:pt x="235" y="109"/>
                    </a:lnTo>
                    <a:lnTo>
                      <a:pt x="239" y="113"/>
                    </a:lnTo>
                    <a:lnTo>
                      <a:pt x="243" y="122"/>
                    </a:lnTo>
                    <a:lnTo>
                      <a:pt x="243" y="126"/>
                    </a:lnTo>
                    <a:lnTo>
                      <a:pt x="243" y="131"/>
                    </a:lnTo>
                    <a:lnTo>
                      <a:pt x="252" y="139"/>
                    </a:lnTo>
                    <a:lnTo>
                      <a:pt x="256" y="144"/>
                    </a:lnTo>
                    <a:lnTo>
                      <a:pt x="282" y="139"/>
                    </a:lnTo>
                    <a:lnTo>
                      <a:pt x="282" y="139"/>
                    </a:lnTo>
                    <a:lnTo>
                      <a:pt x="282" y="135"/>
                    </a:lnTo>
                    <a:lnTo>
                      <a:pt x="282" y="135"/>
                    </a:lnTo>
                    <a:lnTo>
                      <a:pt x="282" y="131"/>
                    </a:lnTo>
                    <a:lnTo>
                      <a:pt x="287" y="118"/>
                    </a:lnTo>
                    <a:lnTo>
                      <a:pt x="291" y="118"/>
                    </a:lnTo>
                    <a:lnTo>
                      <a:pt x="296" y="118"/>
                    </a:lnTo>
                    <a:lnTo>
                      <a:pt x="300" y="118"/>
                    </a:lnTo>
                    <a:lnTo>
                      <a:pt x="300" y="122"/>
                    </a:lnTo>
                    <a:lnTo>
                      <a:pt x="304" y="122"/>
                    </a:lnTo>
                    <a:lnTo>
                      <a:pt x="313" y="126"/>
                    </a:lnTo>
                    <a:lnTo>
                      <a:pt x="317" y="135"/>
                    </a:lnTo>
                    <a:lnTo>
                      <a:pt x="317" y="144"/>
                    </a:lnTo>
                    <a:lnTo>
                      <a:pt x="317" y="152"/>
                    </a:lnTo>
                    <a:lnTo>
                      <a:pt x="313" y="157"/>
                    </a:lnTo>
                    <a:lnTo>
                      <a:pt x="313" y="161"/>
                    </a:lnTo>
                    <a:lnTo>
                      <a:pt x="313" y="161"/>
                    </a:lnTo>
                    <a:lnTo>
                      <a:pt x="309" y="157"/>
                    </a:lnTo>
                    <a:lnTo>
                      <a:pt x="309" y="157"/>
                    </a:lnTo>
                    <a:lnTo>
                      <a:pt x="296" y="148"/>
                    </a:lnTo>
                    <a:lnTo>
                      <a:pt x="287" y="148"/>
                    </a:lnTo>
                    <a:lnTo>
                      <a:pt x="274" y="152"/>
                    </a:lnTo>
                    <a:lnTo>
                      <a:pt x="274" y="157"/>
                    </a:lnTo>
                    <a:lnTo>
                      <a:pt x="278" y="161"/>
                    </a:lnTo>
                    <a:lnTo>
                      <a:pt x="278" y="161"/>
                    </a:lnTo>
                    <a:lnTo>
                      <a:pt x="282" y="161"/>
                    </a:lnTo>
                    <a:lnTo>
                      <a:pt x="282" y="174"/>
                    </a:lnTo>
                    <a:lnTo>
                      <a:pt x="287" y="179"/>
                    </a:lnTo>
                    <a:lnTo>
                      <a:pt x="282" y="183"/>
                    </a:lnTo>
                    <a:lnTo>
                      <a:pt x="274" y="192"/>
                    </a:lnTo>
                    <a:lnTo>
                      <a:pt x="269" y="200"/>
                    </a:lnTo>
                    <a:lnTo>
                      <a:pt x="265" y="200"/>
                    </a:lnTo>
                    <a:lnTo>
                      <a:pt x="265" y="209"/>
                    </a:lnTo>
                    <a:lnTo>
                      <a:pt x="269" y="213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7" y="226"/>
                    </a:lnTo>
                    <a:lnTo>
                      <a:pt x="291" y="226"/>
                    </a:lnTo>
                    <a:lnTo>
                      <a:pt x="291" y="226"/>
                    </a:lnTo>
                    <a:lnTo>
                      <a:pt x="300" y="231"/>
                    </a:lnTo>
                    <a:lnTo>
                      <a:pt x="309" y="231"/>
                    </a:lnTo>
                    <a:lnTo>
                      <a:pt x="309" y="239"/>
                    </a:lnTo>
                    <a:lnTo>
                      <a:pt x="309" y="244"/>
                    </a:lnTo>
                    <a:lnTo>
                      <a:pt x="309" y="252"/>
                    </a:lnTo>
                    <a:lnTo>
                      <a:pt x="309" y="252"/>
                    </a:lnTo>
                    <a:lnTo>
                      <a:pt x="304" y="257"/>
                    </a:lnTo>
                    <a:lnTo>
                      <a:pt x="304" y="257"/>
                    </a:lnTo>
                    <a:lnTo>
                      <a:pt x="304" y="261"/>
                    </a:lnTo>
                    <a:lnTo>
                      <a:pt x="304" y="261"/>
                    </a:lnTo>
                    <a:lnTo>
                      <a:pt x="309" y="266"/>
                    </a:lnTo>
                    <a:lnTo>
                      <a:pt x="313" y="266"/>
                    </a:lnTo>
                    <a:lnTo>
                      <a:pt x="322" y="266"/>
                    </a:lnTo>
                    <a:lnTo>
                      <a:pt x="330" y="261"/>
                    </a:lnTo>
                    <a:lnTo>
                      <a:pt x="330" y="261"/>
                    </a:lnTo>
                    <a:lnTo>
                      <a:pt x="335" y="257"/>
                    </a:lnTo>
                    <a:lnTo>
                      <a:pt x="335" y="257"/>
                    </a:lnTo>
                    <a:lnTo>
                      <a:pt x="348" y="257"/>
                    </a:lnTo>
                    <a:lnTo>
                      <a:pt x="352" y="266"/>
                    </a:lnTo>
                    <a:lnTo>
                      <a:pt x="369" y="266"/>
                    </a:lnTo>
                    <a:lnTo>
                      <a:pt x="369" y="266"/>
                    </a:lnTo>
                    <a:lnTo>
                      <a:pt x="369" y="266"/>
                    </a:lnTo>
                    <a:lnTo>
                      <a:pt x="374" y="274"/>
                    </a:lnTo>
                    <a:lnTo>
                      <a:pt x="369" y="287"/>
                    </a:lnTo>
                    <a:lnTo>
                      <a:pt x="365" y="309"/>
                    </a:lnTo>
                    <a:lnTo>
                      <a:pt x="361" y="309"/>
                    </a:lnTo>
                    <a:lnTo>
                      <a:pt x="361" y="309"/>
                    </a:lnTo>
                    <a:lnTo>
                      <a:pt x="361" y="305"/>
                    </a:lnTo>
                    <a:lnTo>
                      <a:pt x="356" y="309"/>
                    </a:lnTo>
                    <a:lnTo>
                      <a:pt x="352" y="313"/>
                    </a:lnTo>
                    <a:lnTo>
                      <a:pt x="352" y="322"/>
                    </a:lnTo>
                    <a:lnTo>
                      <a:pt x="352" y="322"/>
                    </a:lnTo>
                    <a:lnTo>
                      <a:pt x="352" y="322"/>
                    </a:lnTo>
                    <a:lnTo>
                      <a:pt x="361" y="326"/>
                    </a:lnTo>
                    <a:lnTo>
                      <a:pt x="361" y="331"/>
                    </a:lnTo>
                    <a:lnTo>
                      <a:pt x="361" y="335"/>
                    </a:lnTo>
                    <a:lnTo>
                      <a:pt x="352" y="339"/>
                    </a:lnTo>
                    <a:lnTo>
                      <a:pt x="339" y="344"/>
                    </a:lnTo>
                    <a:lnTo>
                      <a:pt x="335" y="344"/>
                    </a:lnTo>
                    <a:lnTo>
                      <a:pt x="335" y="339"/>
                    </a:lnTo>
                    <a:lnTo>
                      <a:pt x="330" y="339"/>
                    </a:lnTo>
                    <a:lnTo>
                      <a:pt x="330" y="344"/>
                    </a:lnTo>
                    <a:lnTo>
                      <a:pt x="326" y="344"/>
                    </a:lnTo>
                    <a:lnTo>
                      <a:pt x="326" y="344"/>
                    </a:lnTo>
                    <a:lnTo>
                      <a:pt x="330" y="348"/>
                    </a:lnTo>
                    <a:lnTo>
                      <a:pt x="330" y="352"/>
                    </a:lnTo>
                    <a:lnTo>
                      <a:pt x="330" y="357"/>
                    </a:lnTo>
                    <a:lnTo>
                      <a:pt x="330" y="366"/>
                    </a:lnTo>
                    <a:lnTo>
                      <a:pt x="330" y="370"/>
                    </a:lnTo>
                    <a:lnTo>
                      <a:pt x="335" y="374"/>
                    </a:lnTo>
                    <a:lnTo>
                      <a:pt x="330" y="383"/>
                    </a:lnTo>
                    <a:lnTo>
                      <a:pt x="326" y="383"/>
                    </a:lnTo>
                    <a:lnTo>
                      <a:pt x="326" y="387"/>
                    </a:lnTo>
                    <a:lnTo>
                      <a:pt x="322" y="392"/>
                    </a:lnTo>
                    <a:lnTo>
                      <a:pt x="322" y="392"/>
                    </a:lnTo>
                    <a:lnTo>
                      <a:pt x="326" y="396"/>
                    </a:lnTo>
                    <a:lnTo>
                      <a:pt x="322" y="396"/>
                    </a:lnTo>
                    <a:lnTo>
                      <a:pt x="317" y="405"/>
                    </a:lnTo>
                    <a:lnTo>
                      <a:pt x="317" y="405"/>
                    </a:lnTo>
                    <a:lnTo>
                      <a:pt x="313" y="405"/>
                    </a:lnTo>
                    <a:lnTo>
                      <a:pt x="313" y="409"/>
                    </a:lnTo>
                    <a:lnTo>
                      <a:pt x="309" y="413"/>
                    </a:lnTo>
                    <a:lnTo>
                      <a:pt x="309" y="418"/>
                    </a:lnTo>
                    <a:lnTo>
                      <a:pt x="304" y="426"/>
                    </a:lnTo>
                    <a:lnTo>
                      <a:pt x="287" y="431"/>
                    </a:lnTo>
                    <a:lnTo>
                      <a:pt x="282" y="431"/>
                    </a:lnTo>
                    <a:lnTo>
                      <a:pt x="282" y="431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78" y="422"/>
                    </a:lnTo>
                    <a:lnTo>
                      <a:pt x="269" y="418"/>
                    </a:lnTo>
                    <a:lnTo>
                      <a:pt x="269" y="418"/>
                    </a:lnTo>
                    <a:lnTo>
                      <a:pt x="265" y="422"/>
                    </a:lnTo>
                    <a:lnTo>
                      <a:pt x="265" y="422"/>
                    </a:lnTo>
                    <a:lnTo>
                      <a:pt x="261" y="422"/>
                    </a:lnTo>
                    <a:lnTo>
                      <a:pt x="252" y="422"/>
                    </a:lnTo>
                    <a:lnTo>
                      <a:pt x="248" y="422"/>
                    </a:lnTo>
                    <a:lnTo>
                      <a:pt x="235" y="422"/>
                    </a:lnTo>
                    <a:lnTo>
                      <a:pt x="230" y="418"/>
                    </a:lnTo>
                    <a:lnTo>
                      <a:pt x="230" y="413"/>
                    </a:lnTo>
                    <a:lnTo>
                      <a:pt x="222" y="409"/>
                    </a:lnTo>
                    <a:lnTo>
                      <a:pt x="217" y="405"/>
                    </a:lnTo>
                    <a:lnTo>
                      <a:pt x="209" y="396"/>
                    </a:lnTo>
                    <a:lnTo>
                      <a:pt x="204" y="396"/>
                    </a:lnTo>
                    <a:lnTo>
                      <a:pt x="204" y="396"/>
                    </a:lnTo>
                    <a:lnTo>
                      <a:pt x="200" y="400"/>
                    </a:lnTo>
                    <a:lnTo>
                      <a:pt x="200" y="405"/>
                    </a:lnTo>
                    <a:lnTo>
                      <a:pt x="200" y="409"/>
                    </a:lnTo>
                    <a:lnTo>
                      <a:pt x="200" y="409"/>
                    </a:lnTo>
                    <a:lnTo>
                      <a:pt x="200" y="418"/>
                    </a:lnTo>
                    <a:lnTo>
                      <a:pt x="200" y="418"/>
                    </a:lnTo>
                    <a:lnTo>
                      <a:pt x="191" y="426"/>
                    </a:lnTo>
                    <a:lnTo>
                      <a:pt x="187" y="431"/>
                    </a:lnTo>
                    <a:lnTo>
                      <a:pt x="187" y="435"/>
                    </a:lnTo>
                    <a:lnTo>
                      <a:pt x="174" y="435"/>
                    </a:lnTo>
                    <a:lnTo>
                      <a:pt x="174" y="435"/>
                    </a:lnTo>
                    <a:lnTo>
                      <a:pt x="169" y="431"/>
                    </a:lnTo>
                    <a:lnTo>
                      <a:pt x="169" y="422"/>
                    </a:lnTo>
                    <a:lnTo>
                      <a:pt x="174" y="418"/>
                    </a:lnTo>
                    <a:lnTo>
                      <a:pt x="178" y="418"/>
                    </a:lnTo>
                    <a:lnTo>
                      <a:pt x="182" y="409"/>
                    </a:lnTo>
                    <a:lnTo>
                      <a:pt x="182" y="409"/>
                    </a:lnTo>
                    <a:lnTo>
                      <a:pt x="182" y="400"/>
                    </a:lnTo>
                    <a:lnTo>
                      <a:pt x="182" y="400"/>
                    </a:lnTo>
                    <a:lnTo>
                      <a:pt x="174" y="392"/>
                    </a:lnTo>
                    <a:lnTo>
                      <a:pt x="174" y="392"/>
                    </a:lnTo>
                    <a:lnTo>
                      <a:pt x="169" y="392"/>
                    </a:lnTo>
                    <a:lnTo>
                      <a:pt x="165" y="392"/>
                    </a:lnTo>
                    <a:lnTo>
                      <a:pt x="161" y="392"/>
                    </a:lnTo>
                    <a:lnTo>
                      <a:pt x="161" y="392"/>
                    </a:lnTo>
                    <a:lnTo>
                      <a:pt x="161" y="392"/>
                    </a:lnTo>
                    <a:lnTo>
                      <a:pt x="156" y="396"/>
                    </a:lnTo>
                    <a:lnTo>
                      <a:pt x="156" y="396"/>
                    </a:lnTo>
                    <a:lnTo>
                      <a:pt x="156" y="400"/>
                    </a:lnTo>
                    <a:lnTo>
                      <a:pt x="156" y="405"/>
                    </a:lnTo>
                    <a:lnTo>
                      <a:pt x="156" y="409"/>
                    </a:lnTo>
                    <a:lnTo>
                      <a:pt x="143" y="413"/>
                    </a:lnTo>
                    <a:lnTo>
                      <a:pt x="135" y="418"/>
                    </a:lnTo>
                    <a:lnTo>
                      <a:pt x="126" y="418"/>
                    </a:lnTo>
                    <a:lnTo>
                      <a:pt x="126" y="413"/>
                    </a:lnTo>
                    <a:lnTo>
                      <a:pt x="122" y="405"/>
                    </a:lnTo>
                    <a:lnTo>
                      <a:pt x="122" y="400"/>
                    </a:lnTo>
                    <a:lnTo>
                      <a:pt x="122" y="400"/>
                    </a:lnTo>
                    <a:lnTo>
                      <a:pt x="122" y="396"/>
                    </a:lnTo>
                    <a:lnTo>
                      <a:pt x="117" y="387"/>
                    </a:lnTo>
                    <a:lnTo>
                      <a:pt x="117" y="383"/>
                    </a:lnTo>
                    <a:lnTo>
                      <a:pt x="109" y="379"/>
                    </a:lnTo>
                    <a:lnTo>
                      <a:pt x="109" y="379"/>
                    </a:lnTo>
                    <a:lnTo>
                      <a:pt x="104" y="379"/>
                    </a:lnTo>
                    <a:lnTo>
                      <a:pt x="100" y="370"/>
                    </a:lnTo>
                    <a:lnTo>
                      <a:pt x="104" y="370"/>
                    </a:lnTo>
                    <a:lnTo>
                      <a:pt x="104" y="366"/>
                    </a:lnTo>
                    <a:lnTo>
                      <a:pt x="104" y="366"/>
                    </a:lnTo>
                    <a:lnTo>
                      <a:pt x="104" y="361"/>
                    </a:lnTo>
                    <a:lnTo>
                      <a:pt x="104" y="361"/>
                    </a:lnTo>
                    <a:lnTo>
                      <a:pt x="104" y="357"/>
                    </a:lnTo>
                    <a:lnTo>
                      <a:pt x="100" y="357"/>
                    </a:lnTo>
                    <a:lnTo>
                      <a:pt x="100" y="352"/>
                    </a:lnTo>
                    <a:lnTo>
                      <a:pt x="95" y="352"/>
                    </a:lnTo>
                    <a:lnTo>
                      <a:pt x="91" y="348"/>
                    </a:lnTo>
                    <a:lnTo>
                      <a:pt x="91" y="348"/>
                    </a:lnTo>
                    <a:lnTo>
                      <a:pt x="91" y="344"/>
                    </a:lnTo>
                    <a:lnTo>
                      <a:pt x="91" y="339"/>
                    </a:lnTo>
                    <a:lnTo>
                      <a:pt x="95" y="331"/>
                    </a:lnTo>
                    <a:lnTo>
                      <a:pt x="95" y="326"/>
                    </a:lnTo>
                    <a:lnTo>
                      <a:pt x="100" y="326"/>
                    </a:lnTo>
                    <a:lnTo>
                      <a:pt x="100" y="326"/>
                    </a:lnTo>
                    <a:lnTo>
                      <a:pt x="104" y="318"/>
                    </a:lnTo>
                    <a:lnTo>
                      <a:pt x="109" y="318"/>
                    </a:lnTo>
                    <a:lnTo>
                      <a:pt x="104" y="313"/>
                    </a:lnTo>
                    <a:lnTo>
                      <a:pt x="87" y="309"/>
                    </a:lnTo>
                    <a:lnTo>
                      <a:pt x="87" y="309"/>
                    </a:lnTo>
                    <a:lnTo>
                      <a:pt x="82" y="305"/>
                    </a:lnTo>
                    <a:lnTo>
                      <a:pt x="74" y="300"/>
                    </a:lnTo>
                    <a:lnTo>
                      <a:pt x="65" y="300"/>
                    </a:lnTo>
                    <a:lnTo>
                      <a:pt x="52" y="292"/>
                    </a:lnTo>
                    <a:lnTo>
                      <a:pt x="52" y="292"/>
                    </a:lnTo>
                    <a:lnTo>
                      <a:pt x="52" y="28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46">
                <a:extLst>
                  <a:ext uri="{FF2B5EF4-FFF2-40B4-BE49-F238E27FC236}">
                    <a16:creationId xmlns:a16="http://schemas.microsoft.com/office/drawing/2014/main" id="{F7D1FC4D-C534-510E-FBDE-74FE8403174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04343" y="4587208"/>
                <a:ext cx="648607" cy="841375"/>
              </a:xfrm>
              <a:custGeom>
                <a:avLst/>
                <a:gdLst>
                  <a:gd name="T0" fmla="*/ 365 w 374"/>
                  <a:gd name="T1" fmla="*/ 143 h 508"/>
                  <a:gd name="T2" fmla="*/ 326 w 374"/>
                  <a:gd name="T3" fmla="*/ 169 h 508"/>
                  <a:gd name="T4" fmla="*/ 317 w 374"/>
                  <a:gd name="T5" fmla="*/ 182 h 508"/>
                  <a:gd name="T6" fmla="*/ 278 w 374"/>
                  <a:gd name="T7" fmla="*/ 208 h 508"/>
                  <a:gd name="T8" fmla="*/ 265 w 374"/>
                  <a:gd name="T9" fmla="*/ 260 h 508"/>
                  <a:gd name="T10" fmla="*/ 244 w 374"/>
                  <a:gd name="T11" fmla="*/ 304 h 508"/>
                  <a:gd name="T12" fmla="*/ 244 w 374"/>
                  <a:gd name="T13" fmla="*/ 317 h 508"/>
                  <a:gd name="T14" fmla="*/ 239 w 374"/>
                  <a:gd name="T15" fmla="*/ 352 h 508"/>
                  <a:gd name="T16" fmla="*/ 222 w 374"/>
                  <a:gd name="T17" fmla="*/ 369 h 508"/>
                  <a:gd name="T18" fmla="*/ 213 w 374"/>
                  <a:gd name="T19" fmla="*/ 417 h 508"/>
                  <a:gd name="T20" fmla="*/ 209 w 374"/>
                  <a:gd name="T21" fmla="*/ 443 h 508"/>
                  <a:gd name="T22" fmla="*/ 209 w 374"/>
                  <a:gd name="T23" fmla="*/ 460 h 508"/>
                  <a:gd name="T24" fmla="*/ 209 w 374"/>
                  <a:gd name="T25" fmla="*/ 491 h 508"/>
                  <a:gd name="T26" fmla="*/ 174 w 374"/>
                  <a:gd name="T27" fmla="*/ 473 h 508"/>
                  <a:gd name="T28" fmla="*/ 152 w 374"/>
                  <a:gd name="T29" fmla="*/ 487 h 508"/>
                  <a:gd name="T30" fmla="*/ 100 w 374"/>
                  <a:gd name="T31" fmla="*/ 508 h 508"/>
                  <a:gd name="T32" fmla="*/ 83 w 374"/>
                  <a:gd name="T33" fmla="*/ 487 h 508"/>
                  <a:gd name="T34" fmla="*/ 104 w 374"/>
                  <a:gd name="T35" fmla="*/ 456 h 508"/>
                  <a:gd name="T36" fmla="*/ 109 w 374"/>
                  <a:gd name="T37" fmla="*/ 434 h 508"/>
                  <a:gd name="T38" fmla="*/ 87 w 374"/>
                  <a:gd name="T39" fmla="*/ 430 h 508"/>
                  <a:gd name="T40" fmla="*/ 48 w 374"/>
                  <a:gd name="T41" fmla="*/ 430 h 508"/>
                  <a:gd name="T42" fmla="*/ 48 w 374"/>
                  <a:gd name="T43" fmla="*/ 413 h 508"/>
                  <a:gd name="T44" fmla="*/ 52 w 374"/>
                  <a:gd name="T45" fmla="*/ 387 h 508"/>
                  <a:gd name="T46" fmla="*/ 61 w 374"/>
                  <a:gd name="T47" fmla="*/ 365 h 508"/>
                  <a:gd name="T48" fmla="*/ 57 w 374"/>
                  <a:gd name="T49" fmla="*/ 360 h 508"/>
                  <a:gd name="T50" fmla="*/ 48 w 374"/>
                  <a:gd name="T51" fmla="*/ 356 h 508"/>
                  <a:gd name="T52" fmla="*/ 30 w 374"/>
                  <a:gd name="T53" fmla="*/ 321 h 508"/>
                  <a:gd name="T54" fmla="*/ 17 w 374"/>
                  <a:gd name="T55" fmla="*/ 282 h 508"/>
                  <a:gd name="T56" fmla="*/ 17 w 374"/>
                  <a:gd name="T57" fmla="*/ 260 h 508"/>
                  <a:gd name="T58" fmla="*/ 9 w 374"/>
                  <a:gd name="T59" fmla="*/ 226 h 508"/>
                  <a:gd name="T60" fmla="*/ 30 w 374"/>
                  <a:gd name="T61" fmla="*/ 195 h 508"/>
                  <a:gd name="T62" fmla="*/ 43 w 374"/>
                  <a:gd name="T63" fmla="*/ 178 h 508"/>
                  <a:gd name="T64" fmla="*/ 35 w 374"/>
                  <a:gd name="T65" fmla="*/ 152 h 508"/>
                  <a:gd name="T66" fmla="*/ 26 w 374"/>
                  <a:gd name="T67" fmla="*/ 126 h 508"/>
                  <a:gd name="T68" fmla="*/ 13 w 374"/>
                  <a:gd name="T69" fmla="*/ 113 h 508"/>
                  <a:gd name="T70" fmla="*/ 22 w 374"/>
                  <a:gd name="T71" fmla="*/ 100 h 508"/>
                  <a:gd name="T72" fmla="*/ 39 w 374"/>
                  <a:gd name="T73" fmla="*/ 82 h 508"/>
                  <a:gd name="T74" fmla="*/ 61 w 374"/>
                  <a:gd name="T75" fmla="*/ 82 h 508"/>
                  <a:gd name="T76" fmla="*/ 83 w 374"/>
                  <a:gd name="T77" fmla="*/ 65 h 508"/>
                  <a:gd name="T78" fmla="*/ 100 w 374"/>
                  <a:gd name="T79" fmla="*/ 52 h 508"/>
                  <a:gd name="T80" fmla="*/ 113 w 374"/>
                  <a:gd name="T81" fmla="*/ 52 h 508"/>
                  <a:gd name="T82" fmla="*/ 122 w 374"/>
                  <a:gd name="T83" fmla="*/ 39 h 508"/>
                  <a:gd name="T84" fmla="*/ 143 w 374"/>
                  <a:gd name="T85" fmla="*/ 30 h 508"/>
                  <a:gd name="T86" fmla="*/ 165 w 374"/>
                  <a:gd name="T87" fmla="*/ 34 h 508"/>
                  <a:gd name="T88" fmla="*/ 204 w 374"/>
                  <a:gd name="T89" fmla="*/ 17 h 508"/>
                  <a:gd name="T90" fmla="*/ 209 w 374"/>
                  <a:gd name="T91" fmla="*/ 0 h 508"/>
                  <a:gd name="T92" fmla="*/ 230 w 374"/>
                  <a:gd name="T93" fmla="*/ 17 h 508"/>
                  <a:gd name="T94" fmla="*/ 222 w 374"/>
                  <a:gd name="T95" fmla="*/ 43 h 508"/>
                  <a:gd name="T96" fmla="*/ 248 w 374"/>
                  <a:gd name="T97" fmla="*/ 17 h 508"/>
                  <a:gd name="T98" fmla="*/ 270 w 374"/>
                  <a:gd name="T99" fmla="*/ 17 h 508"/>
                  <a:gd name="T100" fmla="*/ 313 w 374"/>
                  <a:gd name="T101" fmla="*/ 30 h 508"/>
                  <a:gd name="T102" fmla="*/ 330 w 374"/>
                  <a:gd name="T103" fmla="*/ 39 h 508"/>
                  <a:gd name="T104" fmla="*/ 326 w 374"/>
                  <a:gd name="T105" fmla="*/ 56 h 508"/>
                  <a:gd name="T106" fmla="*/ 348 w 374"/>
                  <a:gd name="T107" fmla="*/ 82 h 508"/>
                  <a:gd name="T108" fmla="*/ 365 w 374"/>
                  <a:gd name="T109" fmla="*/ 1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4" h="508">
                    <a:moveTo>
                      <a:pt x="370" y="134"/>
                    </a:moveTo>
                    <a:lnTo>
                      <a:pt x="370" y="134"/>
                    </a:lnTo>
                    <a:lnTo>
                      <a:pt x="370" y="134"/>
                    </a:lnTo>
                    <a:lnTo>
                      <a:pt x="365" y="139"/>
                    </a:lnTo>
                    <a:lnTo>
                      <a:pt x="365" y="143"/>
                    </a:lnTo>
                    <a:lnTo>
                      <a:pt x="365" y="143"/>
                    </a:lnTo>
                    <a:lnTo>
                      <a:pt x="365" y="143"/>
                    </a:lnTo>
                    <a:lnTo>
                      <a:pt x="365" y="152"/>
                    </a:lnTo>
                    <a:lnTo>
                      <a:pt x="361" y="156"/>
                    </a:lnTo>
                    <a:lnTo>
                      <a:pt x="348" y="156"/>
                    </a:lnTo>
                    <a:lnTo>
                      <a:pt x="348" y="160"/>
                    </a:lnTo>
                    <a:lnTo>
                      <a:pt x="344" y="165"/>
                    </a:lnTo>
                    <a:lnTo>
                      <a:pt x="335" y="165"/>
                    </a:lnTo>
                    <a:lnTo>
                      <a:pt x="326" y="169"/>
                    </a:lnTo>
                    <a:lnTo>
                      <a:pt x="326" y="174"/>
                    </a:lnTo>
                    <a:lnTo>
                      <a:pt x="326" y="178"/>
                    </a:lnTo>
                    <a:lnTo>
                      <a:pt x="326" y="178"/>
                    </a:lnTo>
                    <a:lnTo>
                      <a:pt x="326" y="178"/>
                    </a:lnTo>
                    <a:lnTo>
                      <a:pt x="326" y="182"/>
                    </a:lnTo>
                    <a:lnTo>
                      <a:pt x="322" y="182"/>
                    </a:lnTo>
                    <a:lnTo>
                      <a:pt x="317" y="182"/>
                    </a:lnTo>
                    <a:lnTo>
                      <a:pt x="313" y="178"/>
                    </a:lnTo>
                    <a:lnTo>
                      <a:pt x="309" y="178"/>
                    </a:lnTo>
                    <a:lnTo>
                      <a:pt x="304" y="174"/>
                    </a:lnTo>
                    <a:lnTo>
                      <a:pt x="304" y="169"/>
                    </a:lnTo>
                    <a:lnTo>
                      <a:pt x="291" y="182"/>
                    </a:lnTo>
                    <a:lnTo>
                      <a:pt x="278" y="204"/>
                    </a:lnTo>
                    <a:lnTo>
                      <a:pt x="278" y="208"/>
                    </a:lnTo>
                    <a:lnTo>
                      <a:pt x="278" y="213"/>
                    </a:lnTo>
                    <a:lnTo>
                      <a:pt x="278" y="217"/>
                    </a:lnTo>
                    <a:lnTo>
                      <a:pt x="278" y="230"/>
                    </a:lnTo>
                    <a:lnTo>
                      <a:pt x="283" y="234"/>
                    </a:lnTo>
                    <a:lnTo>
                      <a:pt x="278" y="252"/>
                    </a:lnTo>
                    <a:lnTo>
                      <a:pt x="270" y="260"/>
                    </a:lnTo>
                    <a:lnTo>
                      <a:pt x="265" y="260"/>
                    </a:lnTo>
                    <a:lnTo>
                      <a:pt x="248" y="265"/>
                    </a:lnTo>
                    <a:lnTo>
                      <a:pt x="248" y="269"/>
                    </a:lnTo>
                    <a:lnTo>
                      <a:pt x="244" y="273"/>
                    </a:lnTo>
                    <a:lnTo>
                      <a:pt x="239" y="278"/>
                    </a:lnTo>
                    <a:lnTo>
                      <a:pt x="239" y="291"/>
                    </a:lnTo>
                    <a:lnTo>
                      <a:pt x="239" y="295"/>
                    </a:lnTo>
                    <a:lnTo>
                      <a:pt x="244" y="304"/>
                    </a:lnTo>
                    <a:lnTo>
                      <a:pt x="248" y="308"/>
                    </a:lnTo>
                    <a:lnTo>
                      <a:pt x="248" y="308"/>
                    </a:lnTo>
                    <a:lnTo>
                      <a:pt x="252" y="308"/>
                    </a:lnTo>
                    <a:lnTo>
                      <a:pt x="252" y="321"/>
                    </a:lnTo>
                    <a:lnTo>
                      <a:pt x="248" y="321"/>
                    </a:lnTo>
                    <a:lnTo>
                      <a:pt x="248" y="321"/>
                    </a:lnTo>
                    <a:lnTo>
                      <a:pt x="244" y="317"/>
                    </a:lnTo>
                    <a:lnTo>
                      <a:pt x="239" y="326"/>
                    </a:lnTo>
                    <a:lnTo>
                      <a:pt x="235" y="330"/>
                    </a:lnTo>
                    <a:lnTo>
                      <a:pt x="235" y="330"/>
                    </a:lnTo>
                    <a:lnTo>
                      <a:pt x="235" y="334"/>
                    </a:lnTo>
                    <a:lnTo>
                      <a:pt x="239" y="339"/>
                    </a:lnTo>
                    <a:lnTo>
                      <a:pt x="239" y="343"/>
                    </a:lnTo>
                    <a:lnTo>
                      <a:pt x="239" y="352"/>
                    </a:lnTo>
                    <a:lnTo>
                      <a:pt x="235" y="360"/>
                    </a:lnTo>
                    <a:lnTo>
                      <a:pt x="230" y="365"/>
                    </a:lnTo>
                    <a:lnTo>
                      <a:pt x="230" y="365"/>
                    </a:lnTo>
                    <a:lnTo>
                      <a:pt x="226" y="365"/>
                    </a:lnTo>
                    <a:lnTo>
                      <a:pt x="226" y="365"/>
                    </a:lnTo>
                    <a:lnTo>
                      <a:pt x="222" y="369"/>
                    </a:lnTo>
                    <a:lnTo>
                      <a:pt x="222" y="369"/>
                    </a:lnTo>
                    <a:lnTo>
                      <a:pt x="222" y="373"/>
                    </a:lnTo>
                    <a:lnTo>
                      <a:pt x="222" y="378"/>
                    </a:lnTo>
                    <a:lnTo>
                      <a:pt x="222" y="378"/>
                    </a:lnTo>
                    <a:lnTo>
                      <a:pt x="217" y="387"/>
                    </a:lnTo>
                    <a:lnTo>
                      <a:pt x="213" y="391"/>
                    </a:lnTo>
                    <a:lnTo>
                      <a:pt x="213" y="417"/>
                    </a:lnTo>
                    <a:lnTo>
                      <a:pt x="213" y="417"/>
                    </a:lnTo>
                    <a:lnTo>
                      <a:pt x="213" y="421"/>
                    </a:lnTo>
                    <a:lnTo>
                      <a:pt x="209" y="430"/>
                    </a:lnTo>
                    <a:lnTo>
                      <a:pt x="204" y="430"/>
                    </a:lnTo>
                    <a:lnTo>
                      <a:pt x="204" y="434"/>
                    </a:lnTo>
                    <a:lnTo>
                      <a:pt x="204" y="434"/>
                    </a:lnTo>
                    <a:lnTo>
                      <a:pt x="209" y="443"/>
                    </a:lnTo>
                    <a:lnTo>
                      <a:pt x="209" y="443"/>
                    </a:lnTo>
                    <a:lnTo>
                      <a:pt x="209" y="452"/>
                    </a:lnTo>
                    <a:lnTo>
                      <a:pt x="209" y="452"/>
                    </a:lnTo>
                    <a:lnTo>
                      <a:pt x="209" y="456"/>
                    </a:lnTo>
                    <a:lnTo>
                      <a:pt x="209" y="456"/>
                    </a:lnTo>
                    <a:lnTo>
                      <a:pt x="213" y="456"/>
                    </a:lnTo>
                    <a:lnTo>
                      <a:pt x="213" y="460"/>
                    </a:lnTo>
                    <a:lnTo>
                      <a:pt x="209" y="460"/>
                    </a:lnTo>
                    <a:lnTo>
                      <a:pt x="209" y="460"/>
                    </a:lnTo>
                    <a:lnTo>
                      <a:pt x="204" y="460"/>
                    </a:lnTo>
                    <a:lnTo>
                      <a:pt x="200" y="465"/>
                    </a:lnTo>
                    <a:lnTo>
                      <a:pt x="200" y="465"/>
                    </a:lnTo>
                    <a:lnTo>
                      <a:pt x="200" y="473"/>
                    </a:lnTo>
                    <a:lnTo>
                      <a:pt x="204" y="482"/>
                    </a:lnTo>
                    <a:lnTo>
                      <a:pt x="209" y="491"/>
                    </a:lnTo>
                    <a:lnTo>
                      <a:pt x="200" y="491"/>
                    </a:lnTo>
                    <a:lnTo>
                      <a:pt x="191" y="487"/>
                    </a:lnTo>
                    <a:lnTo>
                      <a:pt x="187" y="487"/>
                    </a:lnTo>
                    <a:lnTo>
                      <a:pt x="187" y="482"/>
                    </a:lnTo>
                    <a:lnTo>
                      <a:pt x="187" y="482"/>
                    </a:lnTo>
                    <a:lnTo>
                      <a:pt x="178" y="473"/>
                    </a:lnTo>
                    <a:lnTo>
                      <a:pt x="174" y="473"/>
                    </a:lnTo>
                    <a:lnTo>
                      <a:pt x="174" y="473"/>
                    </a:lnTo>
                    <a:lnTo>
                      <a:pt x="161" y="478"/>
                    </a:lnTo>
                    <a:lnTo>
                      <a:pt x="161" y="478"/>
                    </a:lnTo>
                    <a:lnTo>
                      <a:pt x="157" y="482"/>
                    </a:lnTo>
                    <a:lnTo>
                      <a:pt x="152" y="487"/>
                    </a:lnTo>
                    <a:lnTo>
                      <a:pt x="152" y="487"/>
                    </a:lnTo>
                    <a:lnTo>
                      <a:pt x="152" y="487"/>
                    </a:lnTo>
                    <a:lnTo>
                      <a:pt x="143" y="487"/>
                    </a:lnTo>
                    <a:lnTo>
                      <a:pt x="139" y="487"/>
                    </a:lnTo>
                    <a:lnTo>
                      <a:pt x="126" y="495"/>
                    </a:lnTo>
                    <a:lnTo>
                      <a:pt x="122" y="500"/>
                    </a:lnTo>
                    <a:lnTo>
                      <a:pt x="117" y="500"/>
                    </a:lnTo>
                    <a:lnTo>
                      <a:pt x="109" y="504"/>
                    </a:lnTo>
                    <a:lnTo>
                      <a:pt x="100" y="508"/>
                    </a:lnTo>
                    <a:lnTo>
                      <a:pt x="96" y="508"/>
                    </a:lnTo>
                    <a:lnTo>
                      <a:pt x="96" y="508"/>
                    </a:lnTo>
                    <a:lnTo>
                      <a:pt x="91" y="504"/>
                    </a:lnTo>
                    <a:lnTo>
                      <a:pt x="91" y="504"/>
                    </a:lnTo>
                    <a:lnTo>
                      <a:pt x="83" y="495"/>
                    </a:lnTo>
                    <a:lnTo>
                      <a:pt x="78" y="491"/>
                    </a:lnTo>
                    <a:lnTo>
                      <a:pt x="83" y="487"/>
                    </a:lnTo>
                    <a:lnTo>
                      <a:pt x="83" y="487"/>
                    </a:lnTo>
                    <a:lnTo>
                      <a:pt x="87" y="487"/>
                    </a:lnTo>
                    <a:lnTo>
                      <a:pt x="87" y="478"/>
                    </a:lnTo>
                    <a:lnTo>
                      <a:pt x="91" y="469"/>
                    </a:lnTo>
                    <a:lnTo>
                      <a:pt x="91" y="469"/>
                    </a:lnTo>
                    <a:lnTo>
                      <a:pt x="91" y="465"/>
                    </a:lnTo>
                    <a:lnTo>
                      <a:pt x="104" y="456"/>
                    </a:lnTo>
                    <a:lnTo>
                      <a:pt x="104" y="456"/>
                    </a:lnTo>
                    <a:lnTo>
                      <a:pt x="109" y="456"/>
                    </a:lnTo>
                    <a:lnTo>
                      <a:pt x="117" y="452"/>
                    </a:lnTo>
                    <a:lnTo>
                      <a:pt x="113" y="439"/>
                    </a:lnTo>
                    <a:lnTo>
                      <a:pt x="113" y="434"/>
                    </a:lnTo>
                    <a:lnTo>
                      <a:pt x="109" y="434"/>
                    </a:lnTo>
                    <a:lnTo>
                      <a:pt x="109" y="434"/>
                    </a:lnTo>
                    <a:lnTo>
                      <a:pt x="104" y="434"/>
                    </a:lnTo>
                    <a:lnTo>
                      <a:pt x="104" y="430"/>
                    </a:lnTo>
                    <a:lnTo>
                      <a:pt x="100" y="430"/>
                    </a:lnTo>
                    <a:lnTo>
                      <a:pt x="100" y="426"/>
                    </a:lnTo>
                    <a:lnTo>
                      <a:pt x="96" y="426"/>
                    </a:lnTo>
                    <a:lnTo>
                      <a:pt x="87" y="430"/>
                    </a:lnTo>
                    <a:lnTo>
                      <a:pt x="87" y="430"/>
                    </a:lnTo>
                    <a:lnTo>
                      <a:pt x="87" y="434"/>
                    </a:lnTo>
                    <a:lnTo>
                      <a:pt x="83" y="434"/>
                    </a:lnTo>
                    <a:lnTo>
                      <a:pt x="78" y="439"/>
                    </a:lnTo>
                    <a:lnTo>
                      <a:pt x="61" y="443"/>
                    </a:lnTo>
                    <a:lnTo>
                      <a:pt x="57" y="439"/>
                    </a:lnTo>
                    <a:lnTo>
                      <a:pt x="52" y="430"/>
                    </a:lnTo>
                    <a:lnTo>
                      <a:pt x="48" y="430"/>
                    </a:lnTo>
                    <a:lnTo>
                      <a:pt x="48" y="426"/>
                    </a:lnTo>
                    <a:lnTo>
                      <a:pt x="48" y="421"/>
                    </a:lnTo>
                    <a:lnTo>
                      <a:pt x="52" y="421"/>
                    </a:lnTo>
                    <a:lnTo>
                      <a:pt x="52" y="417"/>
                    </a:lnTo>
                    <a:lnTo>
                      <a:pt x="52" y="417"/>
                    </a:lnTo>
                    <a:lnTo>
                      <a:pt x="52" y="413"/>
                    </a:lnTo>
                    <a:lnTo>
                      <a:pt x="48" y="413"/>
                    </a:lnTo>
                    <a:lnTo>
                      <a:pt x="48" y="408"/>
                    </a:lnTo>
                    <a:lnTo>
                      <a:pt x="43" y="408"/>
                    </a:lnTo>
                    <a:lnTo>
                      <a:pt x="43" y="408"/>
                    </a:lnTo>
                    <a:lnTo>
                      <a:pt x="43" y="404"/>
                    </a:lnTo>
                    <a:lnTo>
                      <a:pt x="48" y="395"/>
                    </a:lnTo>
                    <a:lnTo>
                      <a:pt x="48" y="391"/>
                    </a:lnTo>
                    <a:lnTo>
                      <a:pt x="52" y="387"/>
                    </a:lnTo>
                    <a:lnTo>
                      <a:pt x="52" y="387"/>
                    </a:lnTo>
                    <a:lnTo>
                      <a:pt x="52" y="378"/>
                    </a:lnTo>
                    <a:lnTo>
                      <a:pt x="48" y="378"/>
                    </a:lnTo>
                    <a:lnTo>
                      <a:pt x="52" y="373"/>
                    </a:lnTo>
                    <a:lnTo>
                      <a:pt x="52" y="373"/>
                    </a:lnTo>
                    <a:lnTo>
                      <a:pt x="57" y="369"/>
                    </a:lnTo>
                    <a:lnTo>
                      <a:pt x="61" y="365"/>
                    </a:lnTo>
                    <a:lnTo>
                      <a:pt x="61" y="365"/>
                    </a:lnTo>
                    <a:lnTo>
                      <a:pt x="65" y="365"/>
                    </a:lnTo>
                    <a:lnTo>
                      <a:pt x="65" y="360"/>
                    </a:lnTo>
                    <a:lnTo>
                      <a:pt x="65" y="360"/>
                    </a:lnTo>
                    <a:lnTo>
                      <a:pt x="61" y="356"/>
                    </a:lnTo>
                    <a:lnTo>
                      <a:pt x="57" y="360"/>
                    </a:lnTo>
                    <a:lnTo>
                      <a:pt x="57" y="360"/>
                    </a:lnTo>
                    <a:lnTo>
                      <a:pt x="52" y="360"/>
                    </a:lnTo>
                    <a:lnTo>
                      <a:pt x="52" y="365"/>
                    </a:lnTo>
                    <a:lnTo>
                      <a:pt x="43" y="365"/>
                    </a:lnTo>
                    <a:lnTo>
                      <a:pt x="39" y="365"/>
                    </a:lnTo>
                    <a:lnTo>
                      <a:pt x="43" y="360"/>
                    </a:lnTo>
                    <a:lnTo>
                      <a:pt x="43" y="356"/>
                    </a:lnTo>
                    <a:lnTo>
                      <a:pt x="48" y="356"/>
                    </a:lnTo>
                    <a:lnTo>
                      <a:pt x="52" y="339"/>
                    </a:lnTo>
                    <a:lnTo>
                      <a:pt x="52" y="326"/>
                    </a:lnTo>
                    <a:lnTo>
                      <a:pt x="43" y="326"/>
                    </a:lnTo>
                    <a:lnTo>
                      <a:pt x="35" y="326"/>
                    </a:lnTo>
                    <a:lnTo>
                      <a:pt x="35" y="326"/>
                    </a:lnTo>
                    <a:lnTo>
                      <a:pt x="30" y="321"/>
                    </a:lnTo>
                    <a:lnTo>
                      <a:pt x="30" y="321"/>
                    </a:lnTo>
                    <a:lnTo>
                      <a:pt x="26" y="308"/>
                    </a:lnTo>
                    <a:lnTo>
                      <a:pt x="30" y="304"/>
                    </a:lnTo>
                    <a:lnTo>
                      <a:pt x="30" y="304"/>
                    </a:lnTo>
                    <a:lnTo>
                      <a:pt x="30" y="295"/>
                    </a:lnTo>
                    <a:lnTo>
                      <a:pt x="26" y="291"/>
                    </a:lnTo>
                    <a:lnTo>
                      <a:pt x="17" y="287"/>
                    </a:lnTo>
                    <a:lnTo>
                      <a:pt x="17" y="282"/>
                    </a:lnTo>
                    <a:lnTo>
                      <a:pt x="22" y="278"/>
                    </a:lnTo>
                    <a:lnTo>
                      <a:pt x="22" y="273"/>
                    </a:lnTo>
                    <a:lnTo>
                      <a:pt x="26" y="265"/>
                    </a:lnTo>
                    <a:lnTo>
                      <a:pt x="26" y="260"/>
                    </a:lnTo>
                    <a:lnTo>
                      <a:pt x="22" y="260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3" y="265"/>
                    </a:lnTo>
                    <a:lnTo>
                      <a:pt x="9" y="265"/>
                    </a:lnTo>
                    <a:lnTo>
                      <a:pt x="4" y="260"/>
                    </a:lnTo>
                    <a:lnTo>
                      <a:pt x="0" y="243"/>
                    </a:lnTo>
                    <a:lnTo>
                      <a:pt x="4" y="234"/>
                    </a:lnTo>
                    <a:lnTo>
                      <a:pt x="4" y="230"/>
                    </a:lnTo>
                    <a:lnTo>
                      <a:pt x="9" y="226"/>
                    </a:lnTo>
                    <a:lnTo>
                      <a:pt x="9" y="213"/>
                    </a:lnTo>
                    <a:lnTo>
                      <a:pt x="9" y="208"/>
                    </a:lnTo>
                    <a:lnTo>
                      <a:pt x="9" y="208"/>
                    </a:lnTo>
                    <a:lnTo>
                      <a:pt x="17" y="204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30" y="195"/>
                    </a:lnTo>
                    <a:lnTo>
                      <a:pt x="30" y="195"/>
                    </a:lnTo>
                    <a:lnTo>
                      <a:pt x="30" y="191"/>
                    </a:lnTo>
                    <a:lnTo>
                      <a:pt x="30" y="187"/>
                    </a:lnTo>
                    <a:lnTo>
                      <a:pt x="35" y="182"/>
                    </a:lnTo>
                    <a:lnTo>
                      <a:pt x="39" y="178"/>
                    </a:lnTo>
                    <a:lnTo>
                      <a:pt x="39" y="178"/>
                    </a:lnTo>
                    <a:lnTo>
                      <a:pt x="43" y="178"/>
                    </a:lnTo>
                    <a:lnTo>
                      <a:pt x="43" y="174"/>
                    </a:lnTo>
                    <a:lnTo>
                      <a:pt x="43" y="169"/>
                    </a:lnTo>
                    <a:lnTo>
                      <a:pt x="43" y="169"/>
                    </a:lnTo>
                    <a:lnTo>
                      <a:pt x="43" y="165"/>
                    </a:lnTo>
                    <a:lnTo>
                      <a:pt x="39" y="165"/>
                    </a:lnTo>
                    <a:lnTo>
                      <a:pt x="35" y="156"/>
                    </a:lnTo>
                    <a:lnTo>
                      <a:pt x="35" y="152"/>
                    </a:lnTo>
                    <a:lnTo>
                      <a:pt x="35" y="147"/>
                    </a:lnTo>
                    <a:lnTo>
                      <a:pt x="35" y="139"/>
                    </a:lnTo>
                    <a:lnTo>
                      <a:pt x="35" y="134"/>
                    </a:lnTo>
                    <a:lnTo>
                      <a:pt x="30" y="130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1"/>
                    </a:lnTo>
                    <a:lnTo>
                      <a:pt x="22" y="121"/>
                    </a:lnTo>
                    <a:lnTo>
                      <a:pt x="22" y="117"/>
                    </a:lnTo>
                    <a:lnTo>
                      <a:pt x="22" y="117"/>
                    </a:lnTo>
                    <a:lnTo>
                      <a:pt x="17" y="113"/>
                    </a:lnTo>
                    <a:lnTo>
                      <a:pt x="17" y="113"/>
                    </a:lnTo>
                    <a:lnTo>
                      <a:pt x="13" y="113"/>
                    </a:lnTo>
                    <a:lnTo>
                      <a:pt x="13" y="108"/>
                    </a:lnTo>
                    <a:lnTo>
                      <a:pt x="13" y="108"/>
                    </a:lnTo>
                    <a:lnTo>
                      <a:pt x="17" y="108"/>
                    </a:lnTo>
                    <a:lnTo>
                      <a:pt x="17" y="104"/>
                    </a:lnTo>
                    <a:lnTo>
                      <a:pt x="17" y="104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6" y="100"/>
                    </a:lnTo>
                    <a:lnTo>
                      <a:pt x="26" y="95"/>
                    </a:lnTo>
                    <a:lnTo>
                      <a:pt x="30" y="95"/>
                    </a:lnTo>
                    <a:lnTo>
                      <a:pt x="39" y="91"/>
                    </a:lnTo>
                    <a:lnTo>
                      <a:pt x="39" y="91"/>
                    </a:lnTo>
                    <a:lnTo>
                      <a:pt x="35" y="87"/>
                    </a:lnTo>
                    <a:lnTo>
                      <a:pt x="39" y="82"/>
                    </a:lnTo>
                    <a:lnTo>
                      <a:pt x="39" y="82"/>
                    </a:lnTo>
                    <a:lnTo>
                      <a:pt x="43" y="82"/>
                    </a:lnTo>
                    <a:lnTo>
                      <a:pt x="43" y="87"/>
                    </a:lnTo>
                    <a:lnTo>
                      <a:pt x="52" y="87"/>
                    </a:lnTo>
                    <a:lnTo>
                      <a:pt x="57" y="82"/>
                    </a:lnTo>
                    <a:lnTo>
                      <a:pt x="57" y="82"/>
                    </a:lnTo>
                    <a:lnTo>
                      <a:pt x="61" y="82"/>
                    </a:lnTo>
                    <a:lnTo>
                      <a:pt x="65" y="78"/>
                    </a:lnTo>
                    <a:lnTo>
                      <a:pt x="74" y="78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3" y="69"/>
                    </a:lnTo>
                    <a:lnTo>
                      <a:pt x="83" y="65"/>
                    </a:lnTo>
                    <a:lnTo>
                      <a:pt x="91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104" y="47"/>
                    </a:lnTo>
                    <a:lnTo>
                      <a:pt x="104" y="47"/>
                    </a:lnTo>
                    <a:lnTo>
                      <a:pt x="109" y="47"/>
                    </a:lnTo>
                    <a:lnTo>
                      <a:pt x="109" y="52"/>
                    </a:lnTo>
                    <a:lnTo>
                      <a:pt x="113" y="52"/>
                    </a:lnTo>
                    <a:lnTo>
                      <a:pt x="113" y="52"/>
                    </a:lnTo>
                    <a:lnTo>
                      <a:pt x="117" y="52"/>
                    </a:lnTo>
                    <a:lnTo>
                      <a:pt x="117" y="47"/>
                    </a:lnTo>
                    <a:lnTo>
                      <a:pt x="122" y="47"/>
                    </a:lnTo>
                    <a:lnTo>
                      <a:pt x="122" y="43"/>
                    </a:lnTo>
                    <a:lnTo>
                      <a:pt x="122" y="43"/>
                    </a:lnTo>
                    <a:lnTo>
                      <a:pt x="122" y="39"/>
                    </a:lnTo>
                    <a:lnTo>
                      <a:pt x="122" y="39"/>
                    </a:lnTo>
                    <a:lnTo>
                      <a:pt x="122" y="34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39" y="26"/>
                    </a:lnTo>
                    <a:lnTo>
                      <a:pt x="139" y="30"/>
                    </a:lnTo>
                    <a:lnTo>
                      <a:pt x="143" y="30"/>
                    </a:lnTo>
                    <a:lnTo>
                      <a:pt x="143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57" y="34"/>
                    </a:lnTo>
                    <a:lnTo>
                      <a:pt x="161" y="34"/>
                    </a:lnTo>
                    <a:lnTo>
                      <a:pt x="161" y="34"/>
                    </a:lnTo>
                    <a:lnTo>
                      <a:pt x="165" y="34"/>
                    </a:lnTo>
                    <a:lnTo>
                      <a:pt x="165" y="34"/>
                    </a:lnTo>
                    <a:lnTo>
                      <a:pt x="170" y="30"/>
                    </a:lnTo>
                    <a:lnTo>
                      <a:pt x="170" y="30"/>
                    </a:lnTo>
                    <a:lnTo>
                      <a:pt x="174" y="26"/>
                    </a:lnTo>
                    <a:lnTo>
                      <a:pt x="174" y="26"/>
                    </a:lnTo>
                    <a:lnTo>
                      <a:pt x="183" y="26"/>
                    </a:lnTo>
                    <a:lnTo>
                      <a:pt x="191" y="21"/>
                    </a:lnTo>
                    <a:lnTo>
                      <a:pt x="204" y="17"/>
                    </a:lnTo>
                    <a:lnTo>
                      <a:pt x="204" y="13"/>
                    </a:lnTo>
                    <a:lnTo>
                      <a:pt x="204" y="8"/>
                    </a:lnTo>
                    <a:lnTo>
                      <a:pt x="204" y="4"/>
                    </a:lnTo>
                    <a:lnTo>
                      <a:pt x="204" y="4"/>
                    </a:lnTo>
                    <a:lnTo>
                      <a:pt x="209" y="0"/>
                    </a:lnTo>
                    <a:lnTo>
                      <a:pt x="209" y="0"/>
                    </a:lnTo>
                    <a:lnTo>
                      <a:pt x="209" y="0"/>
                    </a:lnTo>
                    <a:lnTo>
                      <a:pt x="213" y="0"/>
                    </a:lnTo>
                    <a:lnTo>
                      <a:pt x="217" y="0"/>
                    </a:lnTo>
                    <a:lnTo>
                      <a:pt x="222" y="0"/>
                    </a:lnTo>
                    <a:lnTo>
                      <a:pt x="222" y="0"/>
                    </a:lnTo>
                    <a:lnTo>
                      <a:pt x="230" y="8"/>
                    </a:lnTo>
                    <a:lnTo>
                      <a:pt x="230" y="8"/>
                    </a:lnTo>
                    <a:lnTo>
                      <a:pt x="230" y="17"/>
                    </a:lnTo>
                    <a:lnTo>
                      <a:pt x="230" y="17"/>
                    </a:lnTo>
                    <a:lnTo>
                      <a:pt x="226" y="26"/>
                    </a:lnTo>
                    <a:lnTo>
                      <a:pt x="222" y="26"/>
                    </a:lnTo>
                    <a:lnTo>
                      <a:pt x="217" y="30"/>
                    </a:lnTo>
                    <a:lnTo>
                      <a:pt x="217" y="39"/>
                    </a:lnTo>
                    <a:lnTo>
                      <a:pt x="222" y="43"/>
                    </a:lnTo>
                    <a:lnTo>
                      <a:pt x="222" y="43"/>
                    </a:lnTo>
                    <a:lnTo>
                      <a:pt x="235" y="43"/>
                    </a:lnTo>
                    <a:lnTo>
                      <a:pt x="235" y="39"/>
                    </a:lnTo>
                    <a:lnTo>
                      <a:pt x="239" y="34"/>
                    </a:lnTo>
                    <a:lnTo>
                      <a:pt x="248" y="26"/>
                    </a:lnTo>
                    <a:lnTo>
                      <a:pt x="248" y="26"/>
                    </a:lnTo>
                    <a:lnTo>
                      <a:pt x="248" y="17"/>
                    </a:lnTo>
                    <a:lnTo>
                      <a:pt x="248" y="17"/>
                    </a:lnTo>
                    <a:lnTo>
                      <a:pt x="248" y="13"/>
                    </a:lnTo>
                    <a:lnTo>
                      <a:pt x="248" y="8"/>
                    </a:lnTo>
                    <a:lnTo>
                      <a:pt x="252" y="4"/>
                    </a:lnTo>
                    <a:lnTo>
                      <a:pt x="252" y="4"/>
                    </a:lnTo>
                    <a:lnTo>
                      <a:pt x="257" y="4"/>
                    </a:lnTo>
                    <a:lnTo>
                      <a:pt x="265" y="13"/>
                    </a:lnTo>
                    <a:lnTo>
                      <a:pt x="270" y="17"/>
                    </a:lnTo>
                    <a:lnTo>
                      <a:pt x="278" y="21"/>
                    </a:lnTo>
                    <a:lnTo>
                      <a:pt x="278" y="26"/>
                    </a:lnTo>
                    <a:lnTo>
                      <a:pt x="283" y="30"/>
                    </a:lnTo>
                    <a:lnTo>
                      <a:pt x="296" y="30"/>
                    </a:lnTo>
                    <a:lnTo>
                      <a:pt x="300" y="30"/>
                    </a:lnTo>
                    <a:lnTo>
                      <a:pt x="309" y="30"/>
                    </a:lnTo>
                    <a:lnTo>
                      <a:pt x="313" y="30"/>
                    </a:lnTo>
                    <a:lnTo>
                      <a:pt x="313" y="30"/>
                    </a:lnTo>
                    <a:lnTo>
                      <a:pt x="317" y="26"/>
                    </a:lnTo>
                    <a:lnTo>
                      <a:pt x="317" y="26"/>
                    </a:lnTo>
                    <a:lnTo>
                      <a:pt x="326" y="30"/>
                    </a:lnTo>
                    <a:lnTo>
                      <a:pt x="330" y="30"/>
                    </a:lnTo>
                    <a:lnTo>
                      <a:pt x="330" y="34"/>
                    </a:lnTo>
                    <a:lnTo>
                      <a:pt x="330" y="39"/>
                    </a:lnTo>
                    <a:lnTo>
                      <a:pt x="330" y="39"/>
                    </a:lnTo>
                    <a:lnTo>
                      <a:pt x="335" y="39"/>
                    </a:lnTo>
                    <a:lnTo>
                      <a:pt x="335" y="39"/>
                    </a:lnTo>
                    <a:lnTo>
                      <a:pt x="335" y="43"/>
                    </a:lnTo>
                    <a:lnTo>
                      <a:pt x="335" y="47"/>
                    </a:lnTo>
                    <a:lnTo>
                      <a:pt x="335" y="52"/>
                    </a:lnTo>
                    <a:lnTo>
                      <a:pt x="326" y="56"/>
                    </a:lnTo>
                    <a:lnTo>
                      <a:pt x="326" y="65"/>
                    </a:lnTo>
                    <a:lnTo>
                      <a:pt x="326" y="69"/>
                    </a:lnTo>
                    <a:lnTo>
                      <a:pt x="330" y="74"/>
                    </a:lnTo>
                    <a:lnTo>
                      <a:pt x="335" y="74"/>
                    </a:lnTo>
                    <a:lnTo>
                      <a:pt x="335" y="74"/>
                    </a:lnTo>
                    <a:lnTo>
                      <a:pt x="339" y="74"/>
                    </a:lnTo>
                    <a:lnTo>
                      <a:pt x="348" y="82"/>
                    </a:lnTo>
                    <a:lnTo>
                      <a:pt x="348" y="82"/>
                    </a:lnTo>
                    <a:lnTo>
                      <a:pt x="357" y="91"/>
                    </a:lnTo>
                    <a:lnTo>
                      <a:pt x="365" y="100"/>
                    </a:lnTo>
                    <a:lnTo>
                      <a:pt x="365" y="104"/>
                    </a:lnTo>
                    <a:lnTo>
                      <a:pt x="365" y="104"/>
                    </a:lnTo>
                    <a:lnTo>
                      <a:pt x="365" y="108"/>
                    </a:lnTo>
                    <a:lnTo>
                      <a:pt x="365" y="108"/>
                    </a:lnTo>
                    <a:lnTo>
                      <a:pt x="365" y="108"/>
                    </a:lnTo>
                    <a:lnTo>
                      <a:pt x="370" y="113"/>
                    </a:lnTo>
                    <a:lnTo>
                      <a:pt x="370" y="117"/>
                    </a:lnTo>
                    <a:lnTo>
                      <a:pt x="374" y="130"/>
                    </a:lnTo>
                    <a:lnTo>
                      <a:pt x="374" y="130"/>
                    </a:lnTo>
                    <a:lnTo>
                      <a:pt x="370" y="13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38" name="Freeform 47">
                <a:extLst>
                  <a:ext uri="{FF2B5EF4-FFF2-40B4-BE49-F238E27FC236}">
                    <a16:creationId xmlns:a16="http://schemas.microsoft.com/office/drawing/2014/main" id="{8E753C51-00BB-9A87-4E15-187BDAABDDA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772818" y="4363370"/>
                <a:ext cx="542774" cy="561976"/>
              </a:xfrm>
              <a:custGeom>
                <a:avLst/>
                <a:gdLst>
                  <a:gd name="T0" fmla="*/ 252 w 313"/>
                  <a:gd name="T1" fmla="*/ 222 h 339"/>
                  <a:gd name="T2" fmla="*/ 239 w 313"/>
                  <a:gd name="T3" fmla="*/ 261 h 339"/>
                  <a:gd name="T4" fmla="*/ 235 w 313"/>
                  <a:gd name="T5" fmla="*/ 274 h 339"/>
                  <a:gd name="T6" fmla="*/ 218 w 313"/>
                  <a:gd name="T7" fmla="*/ 304 h 339"/>
                  <a:gd name="T8" fmla="*/ 222 w 313"/>
                  <a:gd name="T9" fmla="*/ 326 h 339"/>
                  <a:gd name="T10" fmla="*/ 213 w 313"/>
                  <a:gd name="T11" fmla="*/ 335 h 339"/>
                  <a:gd name="T12" fmla="*/ 196 w 313"/>
                  <a:gd name="T13" fmla="*/ 322 h 339"/>
                  <a:gd name="T14" fmla="*/ 183 w 313"/>
                  <a:gd name="T15" fmla="*/ 330 h 339"/>
                  <a:gd name="T16" fmla="*/ 139 w 313"/>
                  <a:gd name="T17" fmla="*/ 309 h 339"/>
                  <a:gd name="T18" fmla="*/ 122 w 313"/>
                  <a:gd name="T19" fmla="*/ 335 h 339"/>
                  <a:gd name="T20" fmla="*/ 87 w 313"/>
                  <a:gd name="T21" fmla="*/ 313 h 339"/>
                  <a:gd name="T22" fmla="*/ 74 w 313"/>
                  <a:gd name="T23" fmla="*/ 274 h 339"/>
                  <a:gd name="T24" fmla="*/ 44 w 313"/>
                  <a:gd name="T25" fmla="*/ 269 h 339"/>
                  <a:gd name="T26" fmla="*/ 39 w 313"/>
                  <a:gd name="T27" fmla="*/ 243 h 339"/>
                  <a:gd name="T28" fmla="*/ 13 w 313"/>
                  <a:gd name="T29" fmla="*/ 209 h 339"/>
                  <a:gd name="T30" fmla="*/ 9 w 313"/>
                  <a:gd name="T31" fmla="*/ 187 h 339"/>
                  <a:gd name="T32" fmla="*/ 31 w 313"/>
                  <a:gd name="T33" fmla="*/ 156 h 339"/>
                  <a:gd name="T34" fmla="*/ 44 w 313"/>
                  <a:gd name="T35" fmla="*/ 135 h 339"/>
                  <a:gd name="T36" fmla="*/ 52 w 313"/>
                  <a:gd name="T37" fmla="*/ 109 h 339"/>
                  <a:gd name="T38" fmla="*/ 52 w 313"/>
                  <a:gd name="T39" fmla="*/ 82 h 339"/>
                  <a:gd name="T40" fmla="*/ 83 w 313"/>
                  <a:gd name="T41" fmla="*/ 69 h 339"/>
                  <a:gd name="T42" fmla="*/ 83 w 313"/>
                  <a:gd name="T43" fmla="*/ 52 h 339"/>
                  <a:gd name="T44" fmla="*/ 96 w 313"/>
                  <a:gd name="T45" fmla="*/ 4 h 339"/>
                  <a:gd name="T46" fmla="*/ 144 w 313"/>
                  <a:gd name="T47" fmla="*/ 17 h 339"/>
                  <a:gd name="T48" fmla="*/ 161 w 313"/>
                  <a:gd name="T49" fmla="*/ 30 h 339"/>
                  <a:gd name="T50" fmla="*/ 191 w 313"/>
                  <a:gd name="T51" fmla="*/ 0 h 339"/>
                  <a:gd name="T52" fmla="*/ 218 w 313"/>
                  <a:gd name="T53" fmla="*/ 17 h 339"/>
                  <a:gd name="T54" fmla="*/ 200 w 313"/>
                  <a:gd name="T55" fmla="*/ 43 h 339"/>
                  <a:gd name="T56" fmla="*/ 191 w 313"/>
                  <a:gd name="T57" fmla="*/ 61 h 339"/>
                  <a:gd name="T58" fmla="*/ 148 w 313"/>
                  <a:gd name="T59" fmla="*/ 82 h 339"/>
                  <a:gd name="T60" fmla="*/ 174 w 313"/>
                  <a:gd name="T61" fmla="*/ 69 h 339"/>
                  <a:gd name="T62" fmla="*/ 196 w 313"/>
                  <a:gd name="T63" fmla="*/ 82 h 339"/>
                  <a:gd name="T64" fmla="*/ 226 w 313"/>
                  <a:gd name="T65" fmla="*/ 56 h 339"/>
                  <a:gd name="T66" fmla="*/ 257 w 313"/>
                  <a:gd name="T67" fmla="*/ 78 h 339"/>
                  <a:gd name="T68" fmla="*/ 291 w 313"/>
                  <a:gd name="T69" fmla="*/ 82 h 339"/>
                  <a:gd name="T70" fmla="*/ 287 w 313"/>
                  <a:gd name="T71" fmla="*/ 91 h 339"/>
                  <a:gd name="T72" fmla="*/ 257 w 313"/>
                  <a:gd name="T73" fmla="*/ 122 h 339"/>
                  <a:gd name="T74" fmla="*/ 278 w 313"/>
                  <a:gd name="T75" fmla="*/ 117 h 339"/>
                  <a:gd name="T76" fmla="*/ 274 w 313"/>
                  <a:gd name="T77" fmla="*/ 113 h 339"/>
                  <a:gd name="T78" fmla="*/ 291 w 313"/>
                  <a:gd name="T79" fmla="*/ 135 h 339"/>
                  <a:gd name="T80" fmla="*/ 287 w 313"/>
                  <a:gd name="T81" fmla="*/ 143 h 339"/>
                  <a:gd name="T82" fmla="*/ 278 w 313"/>
                  <a:gd name="T83" fmla="*/ 148 h 339"/>
                  <a:gd name="T84" fmla="*/ 257 w 313"/>
                  <a:gd name="T85" fmla="*/ 156 h 339"/>
                  <a:gd name="T86" fmla="*/ 278 w 313"/>
                  <a:gd name="T87" fmla="*/ 161 h 339"/>
                  <a:gd name="T88" fmla="*/ 270 w 313"/>
                  <a:gd name="T89" fmla="*/ 174 h 339"/>
                  <a:gd name="T90" fmla="*/ 270 w 313"/>
                  <a:gd name="T91" fmla="*/ 191 h 339"/>
                  <a:gd name="T92" fmla="*/ 265 w 313"/>
                  <a:gd name="T93" fmla="*/ 195 h 339"/>
                  <a:gd name="T94" fmla="*/ 283 w 313"/>
                  <a:gd name="T95" fmla="*/ 217 h 339"/>
                  <a:gd name="T96" fmla="*/ 270 w 313"/>
                  <a:gd name="T97" fmla="*/ 226 h 339"/>
                  <a:gd name="T98" fmla="*/ 291 w 313"/>
                  <a:gd name="T99" fmla="*/ 43 h 339"/>
                  <a:gd name="T100" fmla="*/ 296 w 313"/>
                  <a:gd name="T101" fmla="*/ 48 h 339"/>
                  <a:gd name="T102" fmla="*/ 283 w 313"/>
                  <a:gd name="T103" fmla="*/ 65 h 339"/>
                  <a:gd name="T104" fmla="*/ 309 w 313"/>
                  <a:gd name="T105" fmla="*/ 65 h 339"/>
                  <a:gd name="T106" fmla="*/ 300 w 313"/>
                  <a:gd name="T107" fmla="*/ 69 h 339"/>
                  <a:gd name="T108" fmla="*/ 300 w 313"/>
                  <a:gd name="T109" fmla="*/ 95 h 339"/>
                  <a:gd name="T110" fmla="*/ 300 w 313"/>
                  <a:gd name="T111" fmla="*/ 87 h 339"/>
                  <a:gd name="T112" fmla="*/ 300 w 313"/>
                  <a:gd name="T113" fmla="*/ 95 h 339"/>
                  <a:gd name="T114" fmla="*/ 261 w 313"/>
                  <a:gd name="T115" fmla="*/ 248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13" h="339">
                    <a:moveTo>
                      <a:pt x="270" y="243"/>
                    </a:moveTo>
                    <a:lnTo>
                      <a:pt x="265" y="239"/>
                    </a:lnTo>
                    <a:lnTo>
                      <a:pt x="261" y="239"/>
                    </a:lnTo>
                    <a:lnTo>
                      <a:pt x="261" y="235"/>
                    </a:lnTo>
                    <a:lnTo>
                      <a:pt x="261" y="230"/>
                    </a:lnTo>
                    <a:lnTo>
                      <a:pt x="257" y="226"/>
                    </a:lnTo>
                    <a:lnTo>
                      <a:pt x="252" y="222"/>
                    </a:lnTo>
                    <a:lnTo>
                      <a:pt x="252" y="222"/>
                    </a:lnTo>
                    <a:lnTo>
                      <a:pt x="248" y="235"/>
                    </a:lnTo>
                    <a:lnTo>
                      <a:pt x="248" y="235"/>
                    </a:lnTo>
                    <a:lnTo>
                      <a:pt x="248" y="239"/>
                    </a:lnTo>
                    <a:lnTo>
                      <a:pt x="248" y="243"/>
                    </a:lnTo>
                    <a:lnTo>
                      <a:pt x="239" y="261"/>
                    </a:lnTo>
                    <a:lnTo>
                      <a:pt x="239" y="261"/>
                    </a:lnTo>
                    <a:lnTo>
                      <a:pt x="231" y="261"/>
                    </a:lnTo>
                    <a:lnTo>
                      <a:pt x="218" y="261"/>
                    </a:lnTo>
                    <a:lnTo>
                      <a:pt x="213" y="256"/>
                    </a:lnTo>
                    <a:lnTo>
                      <a:pt x="213" y="265"/>
                    </a:lnTo>
                    <a:lnTo>
                      <a:pt x="222" y="265"/>
                    </a:lnTo>
                    <a:lnTo>
                      <a:pt x="235" y="265"/>
                    </a:lnTo>
                    <a:lnTo>
                      <a:pt x="235" y="274"/>
                    </a:lnTo>
                    <a:lnTo>
                      <a:pt x="231" y="274"/>
                    </a:lnTo>
                    <a:lnTo>
                      <a:pt x="226" y="287"/>
                    </a:lnTo>
                    <a:lnTo>
                      <a:pt x="226" y="295"/>
                    </a:lnTo>
                    <a:lnTo>
                      <a:pt x="226" y="295"/>
                    </a:lnTo>
                    <a:lnTo>
                      <a:pt x="222" y="300"/>
                    </a:lnTo>
                    <a:lnTo>
                      <a:pt x="218" y="300"/>
                    </a:lnTo>
                    <a:lnTo>
                      <a:pt x="218" y="304"/>
                    </a:lnTo>
                    <a:lnTo>
                      <a:pt x="222" y="304"/>
                    </a:lnTo>
                    <a:lnTo>
                      <a:pt x="222" y="309"/>
                    </a:lnTo>
                    <a:lnTo>
                      <a:pt x="226" y="309"/>
                    </a:lnTo>
                    <a:lnTo>
                      <a:pt x="226" y="313"/>
                    </a:lnTo>
                    <a:lnTo>
                      <a:pt x="226" y="317"/>
                    </a:lnTo>
                    <a:lnTo>
                      <a:pt x="222" y="317"/>
                    </a:lnTo>
                    <a:lnTo>
                      <a:pt x="222" y="326"/>
                    </a:lnTo>
                    <a:lnTo>
                      <a:pt x="222" y="326"/>
                    </a:lnTo>
                    <a:lnTo>
                      <a:pt x="222" y="335"/>
                    </a:lnTo>
                    <a:lnTo>
                      <a:pt x="218" y="335"/>
                    </a:lnTo>
                    <a:lnTo>
                      <a:pt x="218" y="339"/>
                    </a:lnTo>
                    <a:lnTo>
                      <a:pt x="218" y="335"/>
                    </a:lnTo>
                    <a:lnTo>
                      <a:pt x="213" y="335"/>
                    </a:lnTo>
                    <a:lnTo>
                      <a:pt x="213" y="335"/>
                    </a:lnTo>
                    <a:lnTo>
                      <a:pt x="213" y="335"/>
                    </a:lnTo>
                    <a:lnTo>
                      <a:pt x="213" y="330"/>
                    </a:lnTo>
                    <a:lnTo>
                      <a:pt x="213" y="330"/>
                    </a:lnTo>
                    <a:lnTo>
                      <a:pt x="209" y="326"/>
                    </a:lnTo>
                    <a:lnTo>
                      <a:pt x="209" y="326"/>
                    </a:lnTo>
                    <a:lnTo>
                      <a:pt x="205" y="322"/>
                    </a:lnTo>
                    <a:lnTo>
                      <a:pt x="196" y="322"/>
                    </a:lnTo>
                    <a:lnTo>
                      <a:pt x="191" y="322"/>
                    </a:lnTo>
                    <a:lnTo>
                      <a:pt x="191" y="322"/>
                    </a:lnTo>
                    <a:lnTo>
                      <a:pt x="187" y="322"/>
                    </a:lnTo>
                    <a:lnTo>
                      <a:pt x="187" y="326"/>
                    </a:lnTo>
                    <a:lnTo>
                      <a:pt x="187" y="326"/>
                    </a:lnTo>
                    <a:lnTo>
                      <a:pt x="183" y="326"/>
                    </a:lnTo>
                    <a:lnTo>
                      <a:pt x="183" y="330"/>
                    </a:lnTo>
                    <a:lnTo>
                      <a:pt x="165" y="335"/>
                    </a:lnTo>
                    <a:lnTo>
                      <a:pt x="161" y="335"/>
                    </a:lnTo>
                    <a:lnTo>
                      <a:pt x="152" y="326"/>
                    </a:lnTo>
                    <a:lnTo>
                      <a:pt x="152" y="322"/>
                    </a:lnTo>
                    <a:lnTo>
                      <a:pt x="152" y="317"/>
                    </a:lnTo>
                    <a:lnTo>
                      <a:pt x="144" y="309"/>
                    </a:lnTo>
                    <a:lnTo>
                      <a:pt x="139" y="309"/>
                    </a:lnTo>
                    <a:lnTo>
                      <a:pt x="135" y="309"/>
                    </a:lnTo>
                    <a:lnTo>
                      <a:pt x="135" y="313"/>
                    </a:lnTo>
                    <a:lnTo>
                      <a:pt x="135" y="313"/>
                    </a:lnTo>
                    <a:lnTo>
                      <a:pt x="135" y="322"/>
                    </a:lnTo>
                    <a:lnTo>
                      <a:pt x="135" y="322"/>
                    </a:lnTo>
                    <a:lnTo>
                      <a:pt x="131" y="326"/>
                    </a:lnTo>
                    <a:lnTo>
                      <a:pt x="122" y="335"/>
                    </a:lnTo>
                    <a:lnTo>
                      <a:pt x="118" y="335"/>
                    </a:lnTo>
                    <a:lnTo>
                      <a:pt x="118" y="335"/>
                    </a:lnTo>
                    <a:lnTo>
                      <a:pt x="113" y="335"/>
                    </a:lnTo>
                    <a:lnTo>
                      <a:pt x="109" y="335"/>
                    </a:lnTo>
                    <a:lnTo>
                      <a:pt x="91" y="330"/>
                    </a:lnTo>
                    <a:lnTo>
                      <a:pt x="91" y="326"/>
                    </a:lnTo>
                    <a:lnTo>
                      <a:pt x="87" y="313"/>
                    </a:lnTo>
                    <a:lnTo>
                      <a:pt x="78" y="304"/>
                    </a:lnTo>
                    <a:lnTo>
                      <a:pt x="74" y="295"/>
                    </a:lnTo>
                    <a:lnTo>
                      <a:pt x="74" y="295"/>
                    </a:lnTo>
                    <a:lnTo>
                      <a:pt x="74" y="291"/>
                    </a:lnTo>
                    <a:lnTo>
                      <a:pt x="70" y="287"/>
                    </a:lnTo>
                    <a:lnTo>
                      <a:pt x="70" y="282"/>
                    </a:lnTo>
                    <a:lnTo>
                      <a:pt x="74" y="274"/>
                    </a:lnTo>
                    <a:lnTo>
                      <a:pt x="74" y="269"/>
                    </a:lnTo>
                    <a:lnTo>
                      <a:pt x="65" y="261"/>
                    </a:lnTo>
                    <a:lnTo>
                      <a:pt x="61" y="265"/>
                    </a:lnTo>
                    <a:lnTo>
                      <a:pt x="57" y="265"/>
                    </a:lnTo>
                    <a:lnTo>
                      <a:pt x="52" y="269"/>
                    </a:lnTo>
                    <a:lnTo>
                      <a:pt x="44" y="269"/>
                    </a:lnTo>
                    <a:lnTo>
                      <a:pt x="44" y="269"/>
                    </a:lnTo>
                    <a:lnTo>
                      <a:pt x="48" y="265"/>
                    </a:lnTo>
                    <a:lnTo>
                      <a:pt x="48" y="265"/>
                    </a:lnTo>
                    <a:lnTo>
                      <a:pt x="44" y="252"/>
                    </a:lnTo>
                    <a:lnTo>
                      <a:pt x="44" y="248"/>
                    </a:lnTo>
                    <a:lnTo>
                      <a:pt x="39" y="243"/>
                    </a:lnTo>
                    <a:lnTo>
                      <a:pt x="39" y="243"/>
                    </a:lnTo>
                    <a:lnTo>
                      <a:pt x="39" y="243"/>
                    </a:lnTo>
                    <a:lnTo>
                      <a:pt x="39" y="239"/>
                    </a:lnTo>
                    <a:lnTo>
                      <a:pt x="39" y="239"/>
                    </a:lnTo>
                    <a:lnTo>
                      <a:pt x="39" y="235"/>
                    </a:lnTo>
                    <a:lnTo>
                      <a:pt x="31" y="226"/>
                    </a:lnTo>
                    <a:lnTo>
                      <a:pt x="22" y="217"/>
                    </a:lnTo>
                    <a:lnTo>
                      <a:pt x="22" y="217"/>
                    </a:lnTo>
                    <a:lnTo>
                      <a:pt x="13" y="209"/>
                    </a:lnTo>
                    <a:lnTo>
                      <a:pt x="9" y="209"/>
                    </a:lnTo>
                    <a:lnTo>
                      <a:pt x="9" y="209"/>
                    </a:lnTo>
                    <a:lnTo>
                      <a:pt x="4" y="209"/>
                    </a:lnTo>
                    <a:lnTo>
                      <a:pt x="0" y="204"/>
                    </a:lnTo>
                    <a:lnTo>
                      <a:pt x="0" y="200"/>
                    </a:lnTo>
                    <a:lnTo>
                      <a:pt x="0" y="191"/>
                    </a:lnTo>
                    <a:lnTo>
                      <a:pt x="9" y="187"/>
                    </a:lnTo>
                    <a:lnTo>
                      <a:pt x="9" y="182"/>
                    </a:lnTo>
                    <a:lnTo>
                      <a:pt x="9" y="178"/>
                    </a:lnTo>
                    <a:lnTo>
                      <a:pt x="9" y="174"/>
                    </a:lnTo>
                    <a:lnTo>
                      <a:pt x="9" y="174"/>
                    </a:lnTo>
                    <a:lnTo>
                      <a:pt x="26" y="169"/>
                    </a:lnTo>
                    <a:lnTo>
                      <a:pt x="31" y="161"/>
                    </a:lnTo>
                    <a:lnTo>
                      <a:pt x="31" y="156"/>
                    </a:lnTo>
                    <a:lnTo>
                      <a:pt x="35" y="152"/>
                    </a:lnTo>
                    <a:lnTo>
                      <a:pt x="35" y="148"/>
                    </a:lnTo>
                    <a:lnTo>
                      <a:pt x="39" y="148"/>
                    </a:lnTo>
                    <a:lnTo>
                      <a:pt x="39" y="148"/>
                    </a:lnTo>
                    <a:lnTo>
                      <a:pt x="44" y="139"/>
                    </a:lnTo>
                    <a:lnTo>
                      <a:pt x="48" y="139"/>
                    </a:lnTo>
                    <a:lnTo>
                      <a:pt x="44" y="135"/>
                    </a:lnTo>
                    <a:lnTo>
                      <a:pt x="44" y="135"/>
                    </a:lnTo>
                    <a:lnTo>
                      <a:pt x="48" y="130"/>
                    </a:lnTo>
                    <a:lnTo>
                      <a:pt x="48" y="126"/>
                    </a:lnTo>
                    <a:lnTo>
                      <a:pt x="52" y="126"/>
                    </a:lnTo>
                    <a:lnTo>
                      <a:pt x="57" y="117"/>
                    </a:lnTo>
                    <a:lnTo>
                      <a:pt x="52" y="113"/>
                    </a:lnTo>
                    <a:lnTo>
                      <a:pt x="52" y="109"/>
                    </a:lnTo>
                    <a:lnTo>
                      <a:pt x="52" y="100"/>
                    </a:lnTo>
                    <a:lnTo>
                      <a:pt x="52" y="95"/>
                    </a:lnTo>
                    <a:lnTo>
                      <a:pt x="52" y="91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2" y="87"/>
                    </a:lnTo>
                    <a:lnTo>
                      <a:pt x="52" y="82"/>
                    </a:lnTo>
                    <a:lnTo>
                      <a:pt x="57" y="82"/>
                    </a:lnTo>
                    <a:lnTo>
                      <a:pt x="57" y="87"/>
                    </a:lnTo>
                    <a:lnTo>
                      <a:pt x="61" y="87"/>
                    </a:lnTo>
                    <a:lnTo>
                      <a:pt x="74" y="82"/>
                    </a:lnTo>
                    <a:lnTo>
                      <a:pt x="83" y="78"/>
                    </a:lnTo>
                    <a:lnTo>
                      <a:pt x="83" y="74"/>
                    </a:lnTo>
                    <a:lnTo>
                      <a:pt x="83" y="69"/>
                    </a:lnTo>
                    <a:lnTo>
                      <a:pt x="74" y="65"/>
                    </a:lnTo>
                    <a:lnTo>
                      <a:pt x="74" y="65"/>
                    </a:lnTo>
                    <a:lnTo>
                      <a:pt x="74" y="65"/>
                    </a:lnTo>
                    <a:lnTo>
                      <a:pt x="74" y="56"/>
                    </a:lnTo>
                    <a:lnTo>
                      <a:pt x="78" y="52"/>
                    </a:lnTo>
                    <a:lnTo>
                      <a:pt x="83" y="48"/>
                    </a:lnTo>
                    <a:lnTo>
                      <a:pt x="83" y="52"/>
                    </a:lnTo>
                    <a:lnTo>
                      <a:pt x="83" y="52"/>
                    </a:lnTo>
                    <a:lnTo>
                      <a:pt x="87" y="52"/>
                    </a:lnTo>
                    <a:lnTo>
                      <a:pt x="91" y="30"/>
                    </a:lnTo>
                    <a:lnTo>
                      <a:pt x="96" y="17"/>
                    </a:lnTo>
                    <a:lnTo>
                      <a:pt x="91" y="9"/>
                    </a:lnTo>
                    <a:lnTo>
                      <a:pt x="96" y="9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13" y="0"/>
                    </a:lnTo>
                    <a:lnTo>
                      <a:pt x="118" y="9"/>
                    </a:lnTo>
                    <a:lnTo>
                      <a:pt x="122" y="13"/>
                    </a:lnTo>
                    <a:lnTo>
                      <a:pt x="131" y="17"/>
                    </a:lnTo>
                    <a:lnTo>
                      <a:pt x="135" y="17"/>
                    </a:lnTo>
                    <a:lnTo>
                      <a:pt x="144" y="17"/>
                    </a:lnTo>
                    <a:lnTo>
                      <a:pt x="148" y="17"/>
                    </a:lnTo>
                    <a:lnTo>
                      <a:pt x="148" y="17"/>
                    </a:lnTo>
                    <a:lnTo>
                      <a:pt x="157" y="17"/>
                    </a:lnTo>
                    <a:lnTo>
                      <a:pt x="157" y="22"/>
                    </a:lnTo>
                    <a:lnTo>
                      <a:pt x="161" y="26"/>
                    </a:lnTo>
                    <a:lnTo>
                      <a:pt x="161" y="26"/>
                    </a:lnTo>
                    <a:lnTo>
                      <a:pt x="161" y="30"/>
                    </a:lnTo>
                    <a:lnTo>
                      <a:pt x="174" y="17"/>
                    </a:lnTo>
                    <a:lnTo>
                      <a:pt x="174" y="9"/>
                    </a:lnTo>
                    <a:lnTo>
                      <a:pt x="174" y="9"/>
                    </a:lnTo>
                    <a:lnTo>
                      <a:pt x="178" y="4"/>
                    </a:lnTo>
                    <a:lnTo>
                      <a:pt x="183" y="4"/>
                    </a:lnTo>
                    <a:lnTo>
                      <a:pt x="187" y="4"/>
                    </a:lnTo>
                    <a:lnTo>
                      <a:pt x="191" y="0"/>
                    </a:lnTo>
                    <a:lnTo>
                      <a:pt x="191" y="0"/>
                    </a:lnTo>
                    <a:lnTo>
                      <a:pt x="191" y="0"/>
                    </a:lnTo>
                    <a:lnTo>
                      <a:pt x="196" y="0"/>
                    </a:lnTo>
                    <a:lnTo>
                      <a:pt x="196" y="9"/>
                    </a:lnTo>
                    <a:lnTo>
                      <a:pt x="205" y="13"/>
                    </a:lnTo>
                    <a:lnTo>
                      <a:pt x="205" y="13"/>
                    </a:lnTo>
                    <a:lnTo>
                      <a:pt x="218" y="17"/>
                    </a:lnTo>
                    <a:lnTo>
                      <a:pt x="218" y="17"/>
                    </a:lnTo>
                    <a:lnTo>
                      <a:pt x="222" y="22"/>
                    </a:lnTo>
                    <a:lnTo>
                      <a:pt x="222" y="26"/>
                    </a:lnTo>
                    <a:lnTo>
                      <a:pt x="222" y="26"/>
                    </a:lnTo>
                    <a:lnTo>
                      <a:pt x="218" y="26"/>
                    </a:lnTo>
                    <a:lnTo>
                      <a:pt x="205" y="39"/>
                    </a:lnTo>
                    <a:lnTo>
                      <a:pt x="200" y="43"/>
                    </a:lnTo>
                    <a:lnTo>
                      <a:pt x="200" y="43"/>
                    </a:lnTo>
                    <a:lnTo>
                      <a:pt x="200" y="48"/>
                    </a:lnTo>
                    <a:lnTo>
                      <a:pt x="200" y="48"/>
                    </a:lnTo>
                    <a:lnTo>
                      <a:pt x="200" y="52"/>
                    </a:lnTo>
                    <a:lnTo>
                      <a:pt x="196" y="56"/>
                    </a:lnTo>
                    <a:lnTo>
                      <a:pt x="191" y="61"/>
                    </a:lnTo>
                    <a:lnTo>
                      <a:pt x="191" y="61"/>
                    </a:lnTo>
                    <a:lnTo>
                      <a:pt x="187" y="61"/>
                    </a:lnTo>
                    <a:lnTo>
                      <a:pt x="187" y="61"/>
                    </a:lnTo>
                    <a:lnTo>
                      <a:pt x="183" y="56"/>
                    </a:lnTo>
                    <a:lnTo>
                      <a:pt x="178" y="56"/>
                    </a:lnTo>
                    <a:lnTo>
                      <a:pt x="165" y="61"/>
                    </a:lnTo>
                    <a:lnTo>
                      <a:pt x="161" y="65"/>
                    </a:lnTo>
                    <a:lnTo>
                      <a:pt x="148" y="82"/>
                    </a:lnTo>
                    <a:lnTo>
                      <a:pt x="157" y="78"/>
                    </a:lnTo>
                    <a:lnTo>
                      <a:pt x="165" y="69"/>
                    </a:lnTo>
                    <a:lnTo>
                      <a:pt x="165" y="69"/>
                    </a:lnTo>
                    <a:lnTo>
                      <a:pt x="170" y="69"/>
                    </a:lnTo>
                    <a:lnTo>
                      <a:pt x="170" y="65"/>
                    </a:lnTo>
                    <a:lnTo>
                      <a:pt x="174" y="69"/>
                    </a:lnTo>
                    <a:lnTo>
                      <a:pt x="174" y="69"/>
                    </a:lnTo>
                    <a:lnTo>
                      <a:pt x="178" y="74"/>
                    </a:lnTo>
                    <a:lnTo>
                      <a:pt x="178" y="78"/>
                    </a:lnTo>
                    <a:lnTo>
                      <a:pt x="178" y="82"/>
                    </a:lnTo>
                    <a:lnTo>
                      <a:pt x="183" y="82"/>
                    </a:lnTo>
                    <a:lnTo>
                      <a:pt x="187" y="82"/>
                    </a:lnTo>
                    <a:lnTo>
                      <a:pt x="196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213" y="65"/>
                    </a:lnTo>
                    <a:lnTo>
                      <a:pt x="218" y="61"/>
                    </a:lnTo>
                    <a:lnTo>
                      <a:pt x="222" y="61"/>
                    </a:lnTo>
                    <a:lnTo>
                      <a:pt x="222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31" y="56"/>
                    </a:lnTo>
                    <a:lnTo>
                      <a:pt x="235" y="56"/>
                    </a:lnTo>
                    <a:lnTo>
                      <a:pt x="239" y="61"/>
                    </a:lnTo>
                    <a:lnTo>
                      <a:pt x="244" y="65"/>
                    </a:lnTo>
                    <a:lnTo>
                      <a:pt x="248" y="65"/>
                    </a:lnTo>
                    <a:lnTo>
                      <a:pt x="248" y="69"/>
                    </a:lnTo>
                    <a:lnTo>
                      <a:pt x="257" y="78"/>
                    </a:lnTo>
                    <a:lnTo>
                      <a:pt x="261" y="78"/>
                    </a:lnTo>
                    <a:lnTo>
                      <a:pt x="265" y="82"/>
                    </a:lnTo>
                    <a:lnTo>
                      <a:pt x="265" y="78"/>
                    </a:lnTo>
                    <a:lnTo>
                      <a:pt x="274" y="78"/>
                    </a:lnTo>
                    <a:lnTo>
                      <a:pt x="278" y="82"/>
                    </a:lnTo>
                    <a:lnTo>
                      <a:pt x="283" y="82"/>
                    </a:lnTo>
                    <a:lnTo>
                      <a:pt x="291" y="82"/>
                    </a:lnTo>
                    <a:lnTo>
                      <a:pt x="296" y="82"/>
                    </a:lnTo>
                    <a:lnTo>
                      <a:pt x="296" y="78"/>
                    </a:lnTo>
                    <a:lnTo>
                      <a:pt x="296" y="82"/>
                    </a:lnTo>
                    <a:lnTo>
                      <a:pt x="296" y="87"/>
                    </a:lnTo>
                    <a:lnTo>
                      <a:pt x="291" y="87"/>
                    </a:lnTo>
                    <a:lnTo>
                      <a:pt x="287" y="87"/>
                    </a:lnTo>
                    <a:lnTo>
                      <a:pt x="287" y="91"/>
                    </a:lnTo>
                    <a:lnTo>
                      <a:pt x="283" y="95"/>
                    </a:lnTo>
                    <a:lnTo>
                      <a:pt x="278" y="104"/>
                    </a:lnTo>
                    <a:lnTo>
                      <a:pt x="270" y="113"/>
                    </a:lnTo>
                    <a:lnTo>
                      <a:pt x="270" y="117"/>
                    </a:lnTo>
                    <a:lnTo>
                      <a:pt x="261" y="122"/>
                    </a:lnTo>
                    <a:lnTo>
                      <a:pt x="257" y="117"/>
                    </a:lnTo>
                    <a:lnTo>
                      <a:pt x="257" y="122"/>
                    </a:lnTo>
                    <a:lnTo>
                      <a:pt x="252" y="122"/>
                    </a:lnTo>
                    <a:lnTo>
                      <a:pt x="252" y="126"/>
                    </a:lnTo>
                    <a:lnTo>
                      <a:pt x="257" y="130"/>
                    </a:lnTo>
                    <a:lnTo>
                      <a:pt x="257" y="130"/>
                    </a:lnTo>
                    <a:lnTo>
                      <a:pt x="257" y="126"/>
                    </a:lnTo>
                    <a:lnTo>
                      <a:pt x="274" y="117"/>
                    </a:lnTo>
                    <a:lnTo>
                      <a:pt x="278" y="117"/>
                    </a:lnTo>
                    <a:lnTo>
                      <a:pt x="278" y="117"/>
                    </a:lnTo>
                    <a:lnTo>
                      <a:pt x="278" y="122"/>
                    </a:lnTo>
                    <a:lnTo>
                      <a:pt x="283" y="122"/>
                    </a:lnTo>
                    <a:lnTo>
                      <a:pt x="283" y="117"/>
                    </a:lnTo>
                    <a:lnTo>
                      <a:pt x="283" y="113"/>
                    </a:lnTo>
                    <a:lnTo>
                      <a:pt x="278" y="113"/>
                    </a:lnTo>
                    <a:lnTo>
                      <a:pt x="274" y="113"/>
                    </a:lnTo>
                    <a:lnTo>
                      <a:pt x="278" y="109"/>
                    </a:lnTo>
                    <a:lnTo>
                      <a:pt x="287" y="104"/>
                    </a:lnTo>
                    <a:lnTo>
                      <a:pt x="287" y="104"/>
                    </a:lnTo>
                    <a:lnTo>
                      <a:pt x="291" y="109"/>
                    </a:lnTo>
                    <a:lnTo>
                      <a:pt x="291" y="122"/>
                    </a:lnTo>
                    <a:lnTo>
                      <a:pt x="287" y="126"/>
                    </a:lnTo>
                    <a:lnTo>
                      <a:pt x="291" y="135"/>
                    </a:lnTo>
                    <a:lnTo>
                      <a:pt x="291" y="135"/>
                    </a:lnTo>
                    <a:lnTo>
                      <a:pt x="296" y="135"/>
                    </a:lnTo>
                    <a:lnTo>
                      <a:pt x="296" y="135"/>
                    </a:lnTo>
                    <a:lnTo>
                      <a:pt x="300" y="135"/>
                    </a:lnTo>
                    <a:lnTo>
                      <a:pt x="296" y="143"/>
                    </a:lnTo>
                    <a:lnTo>
                      <a:pt x="291" y="148"/>
                    </a:lnTo>
                    <a:lnTo>
                      <a:pt x="287" y="143"/>
                    </a:lnTo>
                    <a:lnTo>
                      <a:pt x="287" y="143"/>
                    </a:lnTo>
                    <a:lnTo>
                      <a:pt x="287" y="139"/>
                    </a:lnTo>
                    <a:lnTo>
                      <a:pt x="283" y="130"/>
                    </a:lnTo>
                    <a:lnTo>
                      <a:pt x="278" y="130"/>
                    </a:lnTo>
                    <a:lnTo>
                      <a:pt x="283" y="139"/>
                    </a:lnTo>
                    <a:lnTo>
                      <a:pt x="283" y="143"/>
                    </a:lnTo>
                    <a:lnTo>
                      <a:pt x="278" y="148"/>
                    </a:lnTo>
                    <a:lnTo>
                      <a:pt x="274" y="148"/>
                    </a:lnTo>
                    <a:lnTo>
                      <a:pt x="270" y="143"/>
                    </a:lnTo>
                    <a:lnTo>
                      <a:pt x="265" y="139"/>
                    </a:lnTo>
                    <a:lnTo>
                      <a:pt x="265" y="148"/>
                    </a:lnTo>
                    <a:lnTo>
                      <a:pt x="261" y="152"/>
                    </a:lnTo>
                    <a:lnTo>
                      <a:pt x="257" y="152"/>
                    </a:lnTo>
                    <a:lnTo>
                      <a:pt x="257" y="156"/>
                    </a:lnTo>
                    <a:lnTo>
                      <a:pt x="261" y="156"/>
                    </a:lnTo>
                    <a:lnTo>
                      <a:pt x="261" y="156"/>
                    </a:lnTo>
                    <a:lnTo>
                      <a:pt x="265" y="156"/>
                    </a:lnTo>
                    <a:lnTo>
                      <a:pt x="265" y="156"/>
                    </a:lnTo>
                    <a:lnTo>
                      <a:pt x="270" y="156"/>
                    </a:lnTo>
                    <a:lnTo>
                      <a:pt x="274" y="156"/>
                    </a:lnTo>
                    <a:lnTo>
                      <a:pt x="278" y="161"/>
                    </a:lnTo>
                    <a:lnTo>
                      <a:pt x="283" y="165"/>
                    </a:lnTo>
                    <a:lnTo>
                      <a:pt x="283" y="169"/>
                    </a:lnTo>
                    <a:lnTo>
                      <a:pt x="274" y="169"/>
                    </a:lnTo>
                    <a:lnTo>
                      <a:pt x="270" y="169"/>
                    </a:lnTo>
                    <a:lnTo>
                      <a:pt x="265" y="169"/>
                    </a:lnTo>
                    <a:lnTo>
                      <a:pt x="265" y="169"/>
                    </a:lnTo>
                    <a:lnTo>
                      <a:pt x="270" y="174"/>
                    </a:lnTo>
                    <a:lnTo>
                      <a:pt x="270" y="174"/>
                    </a:lnTo>
                    <a:lnTo>
                      <a:pt x="274" y="174"/>
                    </a:lnTo>
                    <a:lnTo>
                      <a:pt x="283" y="178"/>
                    </a:lnTo>
                    <a:lnTo>
                      <a:pt x="283" y="182"/>
                    </a:lnTo>
                    <a:lnTo>
                      <a:pt x="278" y="187"/>
                    </a:lnTo>
                    <a:lnTo>
                      <a:pt x="274" y="191"/>
                    </a:lnTo>
                    <a:lnTo>
                      <a:pt x="270" y="191"/>
                    </a:lnTo>
                    <a:lnTo>
                      <a:pt x="261" y="191"/>
                    </a:lnTo>
                    <a:lnTo>
                      <a:pt x="261" y="191"/>
                    </a:lnTo>
                    <a:lnTo>
                      <a:pt x="257" y="191"/>
                    </a:lnTo>
                    <a:lnTo>
                      <a:pt x="244" y="182"/>
                    </a:lnTo>
                    <a:lnTo>
                      <a:pt x="244" y="187"/>
                    </a:lnTo>
                    <a:lnTo>
                      <a:pt x="257" y="191"/>
                    </a:lnTo>
                    <a:lnTo>
                      <a:pt x="265" y="195"/>
                    </a:lnTo>
                    <a:lnTo>
                      <a:pt x="270" y="195"/>
                    </a:lnTo>
                    <a:lnTo>
                      <a:pt x="270" y="195"/>
                    </a:lnTo>
                    <a:lnTo>
                      <a:pt x="274" y="195"/>
                    </a:lnTo>
                    <a:lnTo>
                      <a:pt x="274" y="200"/>
                    </a:lnTo>
                    <a:lnTo>
                      <a:pt x="274" y="204"/>
                    </a:lnTo>
                    <a:lnTo>
                      <a:pt x="278" y="209"/>
                    </a:lnTo>
                    <a:lnTo>
                      <a:pt x="283" y="217"/>
                    </a:lnTo>
                    <a:lnTo>
                      <a:pt x="287" y="222"/>
                    </a:lnTo>
                    <a:lnTo>
                      <a:pt x="283" y="226"/>
                    </a:lnTo>
                    <a:lnTo>
                      <a:pt x="283" y="226"/>
                    </a:lnTo>
                    <a:lnTo>
                      <a:pt x="278" y="222"/>
                    </a:lnTo>
                    <a:lnTo>
                      <a:pt x="278" y="222"/>
                    </a:lnTo>
                    <a:lnTo>
                      <a:pt x="274" y="222"/>
                    </a:lnTo>
                    <a:lnTo>
                      <a:pt x="270" y="226"/>
                    </a:lnTo>
                    <a:lnTo>
                      <a:pt x="270" y="235"/>
                    </a:lnTo>
                    <a:lnTo>
                      <a:pt x="270" y="239"/>
                    </a:lnTo>
                    <a:lnTo>
                      <a:pt x="270" y="243"/>
                    </a:lnTo>
                    <a:close/>
                    <a:moveTo>
                      <a:pt x="287" y="43"/>
                    </a:moveTo>
                    <a:lnTo>
                      <a:pt x="287" y="43"/>
                    </a:lnTo>
                    <a:lnTo>
                      <a:pt x="291" y="43"/>
                    </a:lnTo>
                    <a:lnTo>
                      <a:pt x="291" y="43"/>
                    </a:lnTo>
                    <a:lnTo>
                      <a:pt x="296" y="43"/>
                    </a:lnTo>
                    <a:lnTo>
                      <a:pt x="296" y="39"/>
                    </a:lnTo>
                    <a:lnTo>
                      <a:pt x="296" y="39"/>
                    </a:lnTo>
                    <a:lnTo>
                      <a:pt x="300" y="43"/>
                    </a:lnTo>
                    <a:lnTo>
                      <a:pt x="300" y="48"/>
                    </a:lnTo>
                    <a:lnTo>
                      <a:pt x="296" y="48"/>
                    </a:lnTo>
                    <a:lnTo>
                      <a:pt x="296" y="48"/>
                    </a:lnTo>
                    <a:lnTo>
                      <a:pt x="291" y="48"/>
                    </a:lnTo>
                    <a:lnTo>
                      <a:pt x="291" y="48"/>
                    </a:lnTo>
                    <a:lnTo>
                      <a:pt x="291" y="48"/>
                    </a:lnTo>
                    <a:lnTo>
                      <a:pt x="287" y="48"/>
                    </a:lnTo>
                    <a:lnTo>
                      <a:pt x="287" y="48"/>
                    </a:lnTo>
                    <a:lnTo>
                      <a:pt x="287" y="43"/>
                    </a:lnTo>
                    <a:close/>
                    <a:moveTo>
                      <a:pt x="283" y="65"/>
                    </a:moveTo>
                    <a:lnTo>
                      <a:pt x="283" y="61"/>
                    </a:lnTo>
                    <a:lnTo>
                      <a:pt x="283" y="61"/>
                    </a:lnTo>
                    <a:lnTo>
                      <a:pt x="287" y="61"/>
                    </a:lnTo>
                    <a:lnTo>
                      <a:pt x="291" y="61"/>
                    </a:lnTo>
                    <a:lnTo>
                      <a:pt x="296" y="61"/>
                    </a:lnTo>
                    <a:lnTo>
                      <a:pt x="309" y="61"/>
                    </a:lnTo>
                    <a:lnTo>
                      <a:pt x="309" y="65"/>
                    </a:lnTo>
                    <a:lnTo>
                      <a:pt x="313" y="65"/>
                    </a:lnTo>
                    <a:lnTo>
                      <a:pt x="309" y="74"/>
                    </a:lnTo>
                    <a:lnTo>
                      <a:pt x="309" y="74"/>
                    </a:lnTo>
                    <a:lnTo>
                      <a:pt x="309" y="74"/>
                    </a:lnTo>
                    <a:lnTo>
                      <a:pt x="305" y="74"/>
                    </a:lnTo>
                    <a:lnTo>
                      <a:pt x="305" y="69"/>
                    </a:lnTo>
                    <a:lnTo>
                      <a:pt x="300" y="69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91" y="69"/>
                    </a:lnTo>
                    <a:lnTo>
                      <a:pt x="287" y="74"/>
                    </a:lnTo>
                    <a:lnTo>
                      <a:pt x="283" y="69"/>
                    </a:lnTo>
                    <a:lnTo>
                      <a:pt x="283" y="65"/>
                    </a:lnTo>
                    <a:close/>
                    <a:moveTo>
                      <a:pt x="300" y="95"/>
                    </a:moveTo>
                    <a:lnTo>
                      <a:pt x="300" y="95"/>
                    </a:lnTo>
                    <a:lnTo>
                      <a:pt x="296" y="95"/>
                    </a:lnTo>
                    <a:lnTo>
                      <a:pt x="296" y="95"/>
                    </a:lnTo>
                    <a:lnTo>
                      <a:pt x="296" y="95"/>
                    </a:lnTo>
                    <a:lnTo>
                      <a:pt x="296" y="95"/>
                    </a:lnTo>
                    <a:lnTo>
                      <a:pt x="296" y="91"/>
                    </a:lnTo>
                    <a:lnTo>
                      <a:pt x="300" y="87"/>
                    </a:lnTo>
                    <a:lnTo>
                      <a:pt x="305" y="95"/>
                    </a:lnTo>
                    <a:lnTo>
                      <a:pt x="305" y="95"/>
                    </a:lnTo>
                    <a:lnTo>
                      <a:pt x="305" y="100"/>
                    </a:lnTo>
                    <a:lnTo>
                      <a:pt x="305" y="100"/>
                    </a:lnTo>
                    <a:lnTo>
                      <a:pt x="300" y="100"/>
                    </a:lnTo>
                    <a:lnTo>
                      <a:pt x="300" y="100"/>
                    </a:lnTo>
                    <a:lnTo>
                      <a:pt x="300" y="95"/>
                    </a:lnTo>
                    <a:close/>
                    <a:moveTo>
                      <a:pt x="252" y="248"/>
                    </a:moveTo>
                    <a:lnTo>
                      <a:pt x="252" y="248"/>
                    </a:lnTo>
                    <a:lnTo>
                      <a:pt x="252" y="248"/>
                    </a:lnTo>
                    <a:lnTo>
                      <a:pt x="257" y="239"/>
                    </a:lnTo>
                    <a:lnTo>
                      <a:pt x="261" y="239"/>
                    </a:lnTo>
                    <a:lnTo>
                      <a:pt x="261" y="239"/>
                    </a:lnTo>
                    <a:lnTo>
                      <a:pt x="261" y="248"/>
                    </a:lnTo>
                    <a:lnTo>
                      <a:pt x="261" y="252"/>
                    </a:lnTo>
                    <a:lnTo>
                      <a:pt x="257" y="252"/>
                    </a:lnTo>
                    <a:lnTo>
                      <a:pt x="257" y="252"/>
                    </a:lnTo>
                    <a:lnTo>
                      <a:pt x="257" y="252"/>
                    </a:lnTo>
                    <a:lnTo>
                      <a:pt x="252" y="252"/>
                    </a:lnTo>
                    <a:lnTo>
                      <a:pt x="252" y="248"/>
                    </a:lnTo>
                    <a:close/>
                  </a:path>
                </a:pathLst>
              </a:custGeom>
              <a:solidFill>
                <a:srgbClr val="D7D2CB"/>
              </a:solidFill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39" name="Freeform 48">
                <a:extLst>
                  <a:ext uri="{FF2B5EF4-FFF2-40B4-BE49-F238E27FC236}">
                    <a16:creationId xmlns:a16="http://schemas.microsoft.com/office/drawing/2014/main" id="{4429C6D5-696B-96EF-1A1D-B6E01FF118F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558129" y="4795170"/>
                <a:ext cx="583595" cy="720725"/>
              </a:xfrm>
              <a:custGeom>
                <a:avLst/>
                <a:gdLst>
                  <a:gd name="T0" fmla="*/ 113 w 335"/>
                  <a:gd name="T1" fmla="*/ 421 h 434"/>
                  <a:gd name="T2" fmla="*/ 100 w 335"/>
                  <a:gd name="T3" fmla="*/ 395 h 434"/>
                  <a:gd name="T4" fmla="*/ 83 w 335"/>
                  <a:gd name="T5" fmla="*/ 356 h 434"/>
                  <a:gd name="T6" fmla="*/ 74 w 335"/>
                  <a:gd name="T7" fmla="*/ 343 h 434"/>
                  <a:gd name="T8" fmla="*/ 35 w 335"/>
                  <a:gd name="T9" fmla="*/ 334 h 434"/>
                  <a:gd name="T10" fmla="*/ 9 w 335"/>
                  <a:gd name="T11" fmla="*/ 330 h 434"/>
                  <a:gd name="T12" fmla="*/ 0 w 335"/>
                  <a:gd name="T13" fmla="*/ 308 h 434"/>
                  <a:gd name="T14" fmla="*/ 9 w 335"/>
                  <a:gd name="T15" fmla="*/ 265 h 434"/>
                  <a:gd name="T16" fmla="*/ 22 w 335"/>
                  <a:gd name="T17" fmla="*/ 239 h 434"/>
                  <a:gd name="T18" fmla="*/ 35 w 335"/>
                  <a:gd name="T19" fmla="*/ 213 h 434"/>
                  <a:gd name="T20" fmla="*/ 44 w 335"/>
                  <a:gd name="T21" fmla="*/ 195 h 434"/>
                  <a:gd name="T22" fmla="*/ 35 w 335"/>
                  <a:gd name="T23" fmla="*/ 165 h 434"/>
                  <a:gd name="T24" fmla="*/ 74 w 335"/>
                  <a:gd name="T25" fmla="*/ 126 h 434"/>
                  <a:gd name="T26" fmla="*/ 87 w 335"/>
                  <a:gd name="T27" fmla="*/ 56 h 434"/>
                  <a:gd name="T28" fmla="*/ 122 w 335"/>
                  <a:gd name="T29" fmla="*/ 56 h 434"/>
                  <a:gd name="T30" fmla="*/ 140 w 335"/>
                  <a:gd name="T31" fmla="*/ 39 h 434"/>
                  <a:gd name="T32" fmla="*/ 161 w 335"/>
                  <a:gd name="T33" fmla="*/ 17 h 434"/>
                  <a:gd name="T34" fmla="*/ 179 w 335"/>
                  <a:gd name="T35" fmla="*/ 4 h 434"/>
                  <a:gd name="T36" fmla="*/ 196 w 335"/>
                  <a:gd name="T37" fmla="*/ 30 h 434"/>
                  <a:gd name="T38" fmla="*/ 231 w 335"/>
                  <a:gd name="T39" fmla="*/ 74 h 434"/>
                  <a:gd name="T40" fmla="*/ 257 w 335"/>
                  <a:gd name="T41" fmla="*/ 61 h 434"/>
                  <a:gd name="T42" fmla="*/ 274 w 335"/>
                  <a:gd name="T43" fmla="*/ 61 h 434"/>
                  <a:gd name="T44" fmla="*/ 309 w 335"/>
                  <a:gd name="T45" fmla="*/ 65 h 434"/>
                  <a:gd name="T46" fmla="*/ 331 w 335"/>
                  <a:gd name="T47" fmla="*/ 65 h 434"/>
                  <a:gd name="T48" fmla="*/ 327 w 335"/>
                  <a:gd name="T49" fmla="*/ 69 h 434"/>
                  <a:gd name="T50" fmla="*/ 322 w 335"/>
                  <a:gd name="T51" fmla="*/ 74 h 434"/>
                  <a:gd name="T52" fmla="*/ 322 w 335"/>
                  <a:gd name="T53" fmla="*/ 91 h 434"/>
                  <a:gd name="T54" fmla="*/ 309 w 335"/>
                  <a:gd name="T55" fmla="*/ 113 h 434"/>
                  <a:gd name="T56" fmla="*/ 305 w 335"/>
                  <a:gd name="T57" fmla="*/ 143 h 434"/>
                  <a:gd name="T58" fmla="*/ 309 w 335"/>
                  <a:gd name="T59" fmla="*/ 130 h 434"/>
                  <a:gd name="T60" fmla="*/ 292 w 335"/>
                  <a:gd name="T61" fmla="*/ 130 h 434"/>
                  <a:gd name="T62" fmla="*/ 287 w 335"/>
                  <a:gd name="T63" fmla="*/ 130 h 434"/>
                  <a:gd name="T64" fmla="*/ 274 w 335"/>
                  <a:gd name="T65" fmla="*/ 134 h 434"/>
                  <a:gd name="T66" fmla="*/ 300 w 335"/>
                  <a:gd name="T67" fmla="*/ 152 h 434"/>
                  <a:gd name="T68" fmla="*/ 287 w 335"/>
                  <a:gd name="T69" fmla="*/ 161 h 434"/>
                  <a:gd name="T70" fmla="*/ 309 w 335"/>
                  <a:gd name="T71" fmla="*/ 156 h 434"/>
                  <a:gd name="T72" fmla="*/ 292 w 335"/>
                  <a:gd name="T73" fmla="*/ 165 h 434"/>
                  <a:gd name="T74" fmla="*/ 257 w 335"/>
                  <a:gd name="T75" fmla="*/ 187 h 434"/>
                  <a:gd name="T76" fmla="*/ 283 w 335"/>
                  <a:gd name="T77" fmla="*/ 191 h 434"/>
                  <a:gd name="T78" fmla="*/ 292 w 335"/>
                  <a:gd name="T79" fmla="*/ 204 h 434"/>
                  <a:gd name="T80" fmla="*/ 283 w 335"/>
                  <a:gd name="T81" fmla="*/ 226 h 434"/>
                  <a:gd name="T82" fmla="*/ 300 w 335"/>
                  <a:gd name="T83" fmla="*/ 247 h 434"/>
                  <a:gd name="T84" fmla="*/ 283 w 335"/>
                  <a:gd name="T85" fmla="*/ 234 h 434"/>
                  <a:gd name="T86" fmla="*/ 261 w 335"/>
                  <a:gd name="T87" fmla="*/ 243 h 434"/>
                  <a:gd name="T88" fmla="*/ 274 w 335"/>
                  <a:gd name="T89" fmla="*/ 269 h 434"/>
                  <a:gd name="T90" fmla="*/ 257 w 335"/>
                  <a:gd name="T91" fmla="*/ 261 h 434"/>
                  <a:gd name="T92" fmla="*/ 248 w 335"/>
                  <a:gd name="T93" fmla="*/ 278 h 434"/>
                  <a:gd name="T94" fmla="*/ 257 w 335"/>
                  <a:gd name="T95" fmla="*/ 295 h 434"/>
                  <a:gd name="T96" fmla="*/ 222 w 335"/>
                  <a:gd name="T97" fmla="*/ 304 h 434"/>
                  <a:gd name="T98" fmla="*/ 231 w 335"/>
                  <a:gd name="T99" fmla="*/ 330 h 434"/>
                  <a:gd name="T100" fmla="*/ 218 w 335"/>
                  <a:gd name="T101" fmla="*/ 326 h 434"/>
                  <a:gd name="T102" fmla="*/ 183 w 335"/>
                  <a:gd name="T103" fmla="*/ 334 h 434"/>
                  <a:gd name="T104" fmla="*/ 179 w 335"/>
                  <a:gd name="T105" fmla="*/ 347 h 434"/>
                  <a:gd name="T106" fmla="*/ 179 w 335"/>
                  <a:gd name="T107" fmla="*/ 356 h 434"/>
                  <a:gd name="T108" fmla="*/ 179 w 335"/>
                  <a:gd name="T109" fmla="*/ 387 h 434"/>
                  <a:gd name="T110" fmla="*/ 166 w 335"/>
                  <a:gd name="T111" fmla="*/ 387 h 434"/>
                  <a:gd name="T112" fmla="*/ 135 w 335"/>
                  <a:gd name="T113" fmla="*/ 426 h 434"/>
                  <a:gd name="T114" fmla="*/ 192 w 335"/>
                  <a:gd name="T115" fmla="*/ 339 h 434"/>
                  <a:gd name="T116" fmla="*/ 192 w 335"/>
                  <a:gd name="T117" fmla="*/ 347 h 434"/>
                  <a:gd name="T118" fmla="*/ 305 w 335"/>
                  <a:gd name="T119" fmla="*/ 217 h 434"/>
                  <a:gd name="T120" fmla="*/ 309 w 335"/>
                  <a:gd name="T121" fmla="*/ 243 h 434"/>
                  <a:gd name="T122" fmla="*/ 153 w 335"/>
                  <a:gd name="T123" fmla="*/ 417 h 434"/>
                  <a:gd name="T124" fmla="*/ 140 w 335"/>
                  <a:gd name="T125" fmla="*/ 421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35" h="434">
                    <a:moveTo>
                      <a:pt x="126" y="430"/>
                    </a:moveTo>
                    <a:lnTo>
                      <a:pt x="126" y="430"/>
                    </a:lnTo>
                    <a:lnTo>
                      <a:pt x="122" y="430"/>
                    </a:lnTo>
                    <a:lnTo>
                      <a:pt x="122" y="426"/>
                    </a:lnTo>
                    <a:lnTo>
                      <a:pt x="118" y="426"/>
                    </a:lnTo>
                    <a:lnTo>
                      <a:pt x="118" y="426"/>
                    </a:lnTo>
                    <a:lnTo>
                      <a:pt x="113" y="421"/>
                    </a:lnTo>
                    <a:lnTo>
                      <a:pt x="113" y="421"/>
                    </a:lnTo>
                    <a:lnTo>
                      <a:pt x="113" y="417"/>
                    </a:lnTo>
                    <a:lnTo>
                      <a:pt x="109" y="417"/>
                    </a:lnTo>
                    <a:lnTo>
                      <a:pt x="109" y="408"/>
                    </a:lnTo>
                    <a:lnTo>
                      <a:pt x="105" y="400"/>
                    </a:lnTo>
                    <a:lnTo>
                      <a:pt x="105" y="400"/>
                    </a:lnTo>
                    <a:lnTo>
                      <a:pt x="100" y="395"/>
                    </a:lnTo>
                    <a:lnTo>
                      <a:pt x="100" y="391"/>
                    </a:lnTo>
                    <a:lnTo>
                      <a:pt x="100" y="391"/>
                    </a:lnTo>
                    <a:lnTo>
                      <a:pt x="105" y="387"/>
                    </a:lnTo>
                    <a:lnTo>
                      <a:pt x="105" y="382"/>
                    </a:lnTo>
                    <a:lnTo>
                      <a:pt x="96" y="365"/>
                    </a:lnTo>
                    <a:lnTo>
                      <a:pt x="87" y="361"/>
                    </a:lnTo>
                    <a:lnTo>
                      <a:pt x="83" y="356"/>
                    </a:lnTo>
                    <a:lnTo>
                      <a:pt x="83" y="356"/>
                    </a:lnTo>
                    <a:lnTo>
                      <a:pt x="83" y="352"/>
                    </a:lnTo>
                    <a:lnTo>
                      <a:pt x="83" y="352"/>
                    </a:lnTo>
                    <a:lnTo>
                      <a:pt x="83" y="347"/>
                    </a:lnTo>
                    <a:lnTo>
                      <a:pt x="83" y="343"/>
                    </a:lnTo>
                    <a:lnTo>
                      <a:pt x="79" y="343"/>
                    </a:lnTo>
                    <a:lnTo>
                      <a:pt x="74" y="343"/>
                    </a:lnTo>
                    <a:lnTo>
                      <a:pt x="74" y="343"/>
                    </a:lnTo>
                    <a:lnTo>
                      <a:pt x="70" y="347"/>
                    </a:lnTo>
                    <a:lnTo>
                      <a:pt x="66" y="347"/>
                    </a:lnTo>
                    <a:lnTo>
                      <a:pt x="61" y="347"/>
                    </a:lnTo>
                    <a:lnTo>
                      <a:pt x="53" y="339"/>
                    </a:lnTo>
                    <a:lnTo>
                      <a:pt x="48" y="334"/>
                    </a:lnTo>
                    <a:lnTo>
                      <a:pt x="35" y="334"/>
                    </a:lnTo>
                    <a:lnTo>
                      <a:pt x="31" y="334"/>
                    </a:lnTo>
                    <a:lnTo>
                      <a:pt x="31" y="334"/>
                    </a:lnTo>
                    <a:lnTo>
                      <a:pt x="26" y="334"/>
                    </a:lnTo>
                    <a:lnTo>
                      <a:pt x="22" y="334"/>
                    </a:lnTo>
                    <a:lnTo>
                      <a:pt x="18" y="330"/>
                    </a:lnTo>
                    <a:lnTo>
                      <a:pt x="9" y="330"/>
                    </a:lnTo>
                    <a:lnTo>
                      <a:pt x="9" y="330"/>
                    </a:lnTo>
                    <a:lnTo>
                      <a:pt x="5" y="330"/>
                    </a:lnTo>
                    <a:lnTo>
                      <a:pt x="5" y="330"/>
                    </a:lnTo>
                    <a:lnTo>
                      <a:pt x="5" y="326"/>
                    </a:lnTo>
                    <a:lnTo>
                      <a:pt x="5" y="326"/>
                    </a:lnTo>
                    <a:lnTo>
                      <a:pt x="5" y="317"/>
                    </a:lnTo>
                    <a:lnTo>
                      <a:pt x="5" y="317"/>
                    </a:lnTo>
                    <a:lnTo>
                      <a:pt x="0" y="308"/>
                    </a:lnTo>
                    <a:lnTo>
                      <a:pt x="0" y="308"/>
                    </a:lnTo>
                    <a:lnTo>
                      <a:pt x="0" y="304"/>
                    </a:lnTo>
                    <a:lnTo>
                      <a:pt x="5" y="304"/>
                    </a:lnTo>
                    <a:lnTo>
                      <a:pt x="9" y="295"/>
                    </a:lnTo>
                    <a:lnTo>
                      <a:pt x="9" y="291"/>
                    </a:lnTo>
                    <a:lnTo>
                      <a:pt x="9" y="291"/>
                    </a:lnTo>
                    <a:lnTo>
                      <a:pt x="9" y="265"/>
                    </a:lnTo>
                    <a:lnTo>
                      <a:pt x="13" y="261"/>
                    </a:lnTo>
                    <a:lnTo>
                      <a:pt x="18" y="252"/>
                    </a:lnTo>
                    <a:lnTo>
                      <a:pt x="18" y="252"/>
                    </a:lnTo>
                    <a:lnTo>
                      <a:pt x="18" y="247"/>
                    </a:lnTo>
                    <a:lnTo>
                      <a:pt x="18" y="243"/>
                    </a:lnTo>
                    <a:lnTo>
                      <a:pt x="18" y="243"/>
                    </a:lnTo>
                    <a:lnTo>
                      <a:pt x="22" y="239"/>
                    </a:lnTo>
                    <a:lnTo>
                      <a:pt x="22" y="239"/>
                    </a:lnTo>
                    <a:lnTo>
                      <a:pt x="26" y="239"/>
                    </a:lnTo>
                    <a:lnTo>
                      <a:pt x="26" y="239"/>
                    </a:lnTo>
                    <a:lnTo>
                      <a:pt x="31" y="234"/>
                    </a:lnTo>
                    <a:lnTo>
                      <a:pt x="35" y="226"/>
                    </a:lnTo>
                    <a:lnTo>
                      <a:pt x="35" y="217"/>
                    </a:lnTo>
                    <a:lnTo>
                      <a:pt x="35" y="213"/>
                    </a:lnTo>
                    <a:lnTo>
                      <a:pt x="31" y="208"/>
                    </a:lnTo>
                    <a:lnTo>
                      <a:pt x="31" y="204"/>
                    </a:lnTo>
                    <a:lnTo>
                      <a:pt x="31" y="204"/>
                    </a:lnTo>
                    <a:lnTo>
                      <a:pt x="35" y="200"/>
                    </a:lnTo>
                    <a:lnTo>
                      <a:pt x="40" y="191"/>
                    </a:lnTo>
                    <a:lnTo>
                      <a:pt x="44" y="195"/>
                    </a:lnTo>
                    <a:lnTo>
                      <a:pt x="44" y="195"/>
                    </a:lnTo>
                    <a:lnTo>
                      <a:pt x="48" y="195"/>
                    </a:lnTo>
                    <a:lnTo>
                      <a:pt x="48" y="182"/>
                    </a:lnTo>
                    <a:lnTo>
                      <a:pt x="44" y="182"/>
                    </a:lnTo>
                    <a:lnTo>
                      <a:pt x="44" y="182"/>
                    </a:lnTo>
                    <a:lnTo>
                      <a:pt x="40" y="178"/>
                    </a:lnTo>
                    <a:lnTo>
                      <a:pt x="35" y="169"/>
                    </a:lnTo>
                    <a:lnTo>
                      <a:pt x="35" y="165"/>
                    </a:lnTo>
                    <a:lnTo>
                      <a:pt x="35" y="152"/>
                    </a:lnTo>
                    <a:lnTo>
                      <a:pt x="40" y="147"/>
                    </a:lnTo>
                    <a:lnTo>
                      <a:pt x="44" y="143"/>
                    </a:lnTo>
                    <a:lnTo>
                      <a:pt x="44" y="139"/>
                    </a:lnTo>
                    <a:lnTo>
                      <a:pt x="61" y="134"/>
                    </a:lnTo>
                    <a:lnTo>
                      <a:pt x="66" y="134"/>
                    </a:lnTo>
                    <a:lnTo>
                      <a:pt x="74" y="126"/>
                    </a:lnTo>
                    <a:lnTo>
                      <a:pt x="79" y="108"/>
                    </a:lnTo>
                    <a:lnTo>
                      <a:pt x="74" y="104"/>
                    </a:lnTo>
                    <a:lnTo>
                      <a:pt x="74" y="91"/>
                    </a:lnTo>
                    <a:lnTo>
                      <a:pt x="74" y="87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87" y="56"/>
                    </a:lnTo>
                    <a:lnTo>
                      <a:pt x="100" y="43"/>
                    </a:lnTo>
                    <a:lnTo>
                      <a:pt x="100" y="48"/>
                    </a:lnTo>
                    <a:lnTo>
                      <a:pt x="105" y="52"/>
                    </a:lnTo>
                    <a:lnTo>
                      <a:pt x="109" y="52"/>
                    </a:lnTo>
                    <a:lnTo>
                      <a:pt x="113" y="56"/>
                    </a:lnTo>
                    <a:lnTo>
                      <a:pt x="118" y="56"/>
                    </a:lnTo>
                    <a:lnTo>
                      <a:pt x="122" y="56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48"/>
                    </a:lnTo>
                    <a:lnTo>
                      <a:pt x="122" y="43"/>
                    </a:lnTo>
                    <a:lnTo>
                      <a:pt x="131" y="39"/>
                    </a:lnTo>
                    <a:lnTo>
                      <a:pt x="140" y="39"/>
                    </a:lnTo>
                    <a:lnTo>
                      <a:pt x="144" y="34"/>
                    </a:lnTo>
                    <a:lnTo>
                      <a:pt x="144" y="30"/>
                    </a:lnTo>
                    <a:lnTo>
                      <a:pt x="157" y="30"/>
                    </a:lnTo>
                    <a:lnTo>
                      <a:pt x="161" y="26"/>
                    </a:lnTo>
                    <a:lnTo>
                      <a:pt x="161" y="17"/>
                    </a:lnTo>
                    <a:lnTo>
                      <a:pt x="161" y="17"/>
                    </a:lnTo>
                    <a:lnTo>
                      <a:pt x="161" y="17"/>
                    </a:lnTo>
                    <a:lnTo>
                      <a:pt x="161" y="13"/>
                    </a:lnTo>
                    <a:lnTo>
                      <a:pt x="166" y="8"/>
                    </a:lnTo>
                    <a:lnTo>
                      <a:pt x="166" y="8"/>
                    </a:lnTo>
                    <a:lnTo>
                      <a:pt x="166" y="8"/>
                    </a:lnTo>
                    <a:lnTo>
                      <a:pt x="166" y="8"/>
                    </a:lnTo>
                    <a:lnTo>
                      <a:pt x="174" y="8"/>
                    </a:lnTo>
                    <a:lnTo>
                      <a:pt x="179" y="4"/>
                    </a:lnTo>
                    <a:lnTo>
                      <a:pt x="183" y="4"/>
                    </a:lnTo>
                    <a:lnTo>
                      <a:pt x="187" y="0"/>
                    </a:lnTo>
                    <a:lnTo>
                      <a:pt x="196" y="8"/>
                    </a:lnTo>
                    <a:lnTo>
                      <a:pt x="196" y="13"/>
                    </a:lnTo>
                    <a:lnTo>
                      <a:pt x="192" y="21"/>
                    </a:lnTo>
                    <a:lnTo>
                      <a:pt x="192" y="26"/>
                    </a:lnTo>
                    <a:lnTo>
                      <a:pt x="196" y="30"/>
                    </a:lnTo>
                    <a:lnTo>
                      <a:pt x="196" y="34"/>
                    </a:lnTo>
                    <a:lnTo>
                      <a:pt x="196" y="34"/>
                    </a:lnTo>
                    <a:lnTo>
                      <a:pt x="200" y="43"/>
                    </a:lnTo>
                    <a:lnTo>
                      <a:pt x="209" y="52"/>
                    </a:lnTo>
                    <a:lnTo>
                      <a:pt x="213" y="65"/>
                    </a:lnTo>
                    <a:lnTo>
                      <a:pt x="213" y="69"/>
                    </a:lnTo>
                    <a:lnTo>
                      <a:pt x="231" y="74"/>
                    </a:lnTo>
                    <a:lnTo>
                      <a:pt x="235" y="74"/>
                    </a:lnTo>
                    <a:lnTo>
                      <a:pt x="240" y="74"/>
                    </a:lnTo>
                    <a:lnTo>
                      <a:pt x="240" y="74"/>
                    </a:lnTo>
                    <a:lnTo>
                      <a:pt x="244" y="74"/>
                    </a:lnTo>
                    <a:lnTo>
                      <a:pt x="253" y="65"/>
                    </a:lnTo>
                    <a:lnTo>
                      <a:pt x="257" y="61"/>
                    </a:lnTo>
                    <a:lnTo>
                      <a:pt x="257" y="61"/>
                    </a:lnTo>
                    <a:lnTo>
                      <a:pt x="257" y="52"/>
                    </a:lnTo>
                    <a:lnTo>
                      <a:pt x="257" y="52"/>
                    </a:lnTo>
                    <a:lnTo>
                      <a:pt x="257" y="48"/>
                    </a:lnTo>
                    <a:lnTo>
                      <a:pt x="261" y="48"/>
                    </a:lnTo>
                    <a:lnTo>
                      <a:pt x="266" y="48"/>
                    </a:lnTo>
                    <a:lnTo>
                      <a:pt x="274" y="56"/>
                    </a:lnTo>
                    <a:lnTo>
                      <a:pt x="274" y="61"/>
                    </a:lnTo>
                    <a:lnTo>
                      <a:pt x="274" y="65"/>
                    </a:lnTo>
                    <a:lnTo>
                      <a:pt x="283" y="74"/>
                    </a:lnTo>
                    <a:lnTo>
                      <a:pt x="287" y="74"/>
                    </a:lnTo>
                    <a:lnTo>
                      <a:pt x="305" y="69"/>
                    </a:lnTo>
                    <a:lnTo>
                      <a:pt x="305" y="65"/>
                    </a:lnTo>
                    <a:lnTo>
                      <a:pt x="309" y="65"/>
                    </a:lnTo>
                    <a:lnTo>
                      <a:pt x="309" y="65"/>
                    </a:lnTo>
                    <a:lnTo>
                      <a:pt x="309" y="61"/>
                    </a:lnTo>
                    <a:lnTo>
                      <a:pt x="313" y="61"/>
                    </a:lnTo>
                    <a:lnTo>
                      <a:pt x="313" y="61"/>
                    </a:lnTo>
                    <a:lnTo>
                      <a:pt x="318" y="61"/>
                    </a:lnTo>
                    <a:lnTo>
                      <a:pt x="327" y="61"/>
                    </a:lnTo>
                    <a:lnTo>
                      <a:pt x="331" y="65"/>
                    </a:lnTo>
                    <a:lnTo>
                      <a:pt x="331" y="65"/>
                    </a:lnTo>
                    <a:lnTo>
                      <a:pt x="335" y="69"/>
                    </a:lnTo>
                    <a:lnTo>
                      <a:pt x="335" y="69"/>
                    </a:lnTo>
                    <a:lnTo>
                      <a:pt x="335" y="74"/>
                    </a:lnTo>
                    <a:lnTo>
                      <a:pt x="335" y="78"/>
                    </a:lnTo>
                    <a:lnTo>
                      <a:pt x="327" y="74"/>
                    </a:lnTo>
                    <a:lnTo>
                      <a:pt x="327" y="69"/>
                    </a:lnTo>
                    <a:lnTo>
                      <a:pt x="327" y="69"/>
                    </a:lnTo>
                    <a:lnTo>
                      <a:pt x="322" y="69"/>
                    </a:lnTo>
                    <a:lnTo>
                      <a:pt x="318" y="69"/>
                    </a:lnTo>
                    <a:lnTo>
                      <a:pt x="318" y="74"/>
                    </a:lnTo>
                    <a:lnTo>
                      <a:pt x="313" y="78"/>
                    </a:lnTo>
                    <a:lnTo>
                      <a:pt x="318" y="78"/>
                    </a:lnTo>
                    <a:lnTo>
                      <a:pt x="318" y="74"/>
                    </a:lnTo>
                    <a:lnTo>
                      <a:pt x="322" y="74"/>
                    </a:lnTo>
                    <a:lnTo>
                      <a:pt x="327" y="74"/>
                    </a:lnTo>
                    <a:lnTo>
                      <a:pt x="335" y="82"/>
                    </a:lnTo>
                    <a:lnTo>
                      <a:pt x="335" y="87"/>
                    </a:lnTo>
                    <a:lnTo>
                      <a:pt x="331" y="87"/>
                    </a:lnTo>
                    <a:lnTo>
                      <a:pt x="327" y="87"/>
                    </a:lnTo>
                    <a:lnTo>
                      <a:pt x="322" y="82"/>
                    </a:lnTo>
                    <a:lnTo>
                      <a:pt x="322" y="91"/>
                    </a:lnTo>
                    <a:lnTo>
                      <a:pt x="322" y="91"/>
                    </a:lnTo>
                    <a:lnTo>
                      <a:pt x="322" y="95"/>
                    </a:lnTo>
                    <a:lnTo>
                      <a:pt x="322" y="104"/>
                    </a:lnTo>
                    <a:lnTo>
                      <a:pt x="318" y="104"/>
                    </a:lnTo>
                    <a:lnTo>
                      <a:pt x="309" y="108"/>
                    </a:lnTo>
                    <a:lnTo>
                      <a:pt x="309" y="113"/>
                    </a:lnTo>
                    <a:lnTo>
                      <a:pt x="309" y="113"/>
                    </a:lnTo>
                    <a:lnTo>
                      <a:pt x="313" y="113"/>
                    </a:lnTo>
                    <a:lnTo>
                      <a:pt x="318" y="117"/>
                    </a:lnTo>
                    <a:lnTo>
                      <a:pt x="322" y="130"/>
                    </a:lnTo>
                    <a:lnTo>
                      <a:pt x="318" y="130"/>
                    </a:lnTo>
                    <a:lnTo>
                      <a:pt x="309" y="134"/>
                    </a:lnTo>
                    <a:lnTo>
                      <a:pt x="309" y="139"/>
                    </a:lnTo>
                    <a:lnTo>
                      <a:pt x="305" y="143"/>
                    </a:lnTo>
                    <a:lnTo>
                      <a:pt x="300" y="143"/>
                    </a:lnTo>
                    <a:lnTo>
                      <a:pt x="300" y="143"/>
                    </a:lnTo>
                    <a:lnTo>
                      <a:pt x="300" y="139"/>
                    </a:lnTo>
                    <a:lnTo>
                      <a:pt x="300" y="134"/>
                    </a:lnTo>
                    <a:lnTo>
                      <a:pt x="305" y="134"/>
                    </a:lnTo>
                    <a:lnTo>
                      <a:pt x="309" y="130"/>
                    </a:lnTo>
                    <a:lnTo>
                      <a:pt x="309" y="130"/>
                    </a:lnTo>
                    <a:lnTo>
                      <a:pt x="313" y="117"/>
                    </a:lnTo>
                    <a:lnTo>
                      <a:pt x="305" y="117"/>
                    </a:lnTo>
                    <a:lnTo>
                      <a:pt x="300" y="117"/>
                    </a:lnTo>
                    <a:lnTo>
                      <a:pt x="300" y="126"/>
                    </a:lnTo>
                    <a:lnTo>
                      <a:pt x="300" y="130"/>
                    </a:lnTo>
                    <a:lnTo>
                      <a:pt x="300" y="130"/>
                    </a:lnTo>
                    <a:lnTo>
                      <a:pt x="292" y="130"/>
                    </a:lnTo>
                    <a:lnTo>
                      <a:pt x="292" y="121"/>
                    </a:lnTo>
                    <a:lnTo>
                      <a:pt x="283" y="121"/>
                    </a:lnTo>
                    <a:lnTo>
                      <a:pt x="283" y="121"/>
                    </a:lnTo>
                    <a:lnTo>
                      <a:pt x="283" y="126"/>
                    </a:lnTo>
                    <a:lnTo>
                      <a:pt x="287" y="126"/>
                    </a:lnTo>
                    <a:lnTo>
                      <a:pt x="287" y="126"/>
                    </a:lnTo>
                    <a:lnTo>
                      <a:pt x="287" y="130"/>
                    </a:lnTo>
                    <a:lnTo>
                      <a:pt x="287" y="130"/>
                    </a:lnTo>
                    <a:lnTo>
                      <a:pt x="279" y="126"/>
                    </a:lnTo>
                    <a:lnTo>
                      <a:pt x="279" y="121"/>
                    </a:lnTo>
                    <a:lnTo>
                      <a:pt x="279" y="121"/>
                    </a:lnTo>
                    <a:lnTo>
                      <a:pt x="274" y="121"/>
                    </a:lnTo>
                    <a:lnTo>
                      <a:pt x="274" y="126"/>
                    </a:lnTo>
                    <a:lnTo>
                      <a:pt x="274" y="134"/>
                    </a:lnTo>
                    <a:lnTo>
                      <a:pt x="274" y="139"/>
                    </a:lnTo>
                    <a:lnTo>
                      <a:pt x="279" y="143"/>
                    </a:lnTo>
                    <a:lnTo>
                      <a:pt x="283" y="139"/>
                    </a:lnTo>
                    <a:lnTo>
                      <a:pt x="283" y="139"/>
                    </a:lnTo>
                    <a:lnTo>
                      <a:pt x="292" y="134"/>
                    </a:lnTo>
                    <a:lnTo>
                      <a:pt x="296" y="139"/>
                    </a:lnTo>
                    <a:lnTo>
                      <a:pt x="300" y="152"/>
                    </a:lnTo>
                    <a:lnTo>
                      <a:pt x="296" y="152"/>
                    </a:lnTo>
                    <a:lnTo>
                      <a:pt x="296" y="152"/>
                    </a:lnTo>
                    <a:lnTo>
                      <a:pt x="292" y="152"/>
                    </a:lnTo>
                    <a:lnTo>
                      <a:pt x="287" y="147"/>
                    </a:lnTo>
                    <a:lnTo>
                      <a:pt x="279" y="152"/>
                    </a:lnTo>
                    <a:lnTo>
                      <a:pt x="279" y="152"/>
                    </a:lnTo>
                    <a:lnTo>
                      <a:pt x="287" y="161"/>
                    </a:lnTo>
                    <a:lnTo>
                      <a:pt x="292" y="161"/>
                    </a:lnTo>
                    <a:lnTo>
                      <a:pt x="296" y="161"/>
                    </a:lnTo>
                    <a:lnTo>
                      <a:pt x="296" y="156"/>
                    </a:lnTo>
                    <a:lnTo>
                      <a:pt x="296" y="156"/>
                    </a:lnTo>
                    <a:lnTo>
                      <a:pt x="300" y="152"/>
                    </a:lnTo>
                    <a:lnTo>
                      <a:pt x="309" y="156"/>
                    </a:lnTo>
                    <a:lnTo>
                      <a:pt x="309" y="156"/>
                    </a:lnTo>
                    <a:lnTo>
                      <a:pt x="305" y="161"/>
                    </a:lnTo>
                    <a:lnTo>
                      <a:pt x="305" y="161"/>
                    </a:lnTo>
                    <a:lnTo>
                      <a:pt x="300" y="161"/>
                    </a:lnTo>
                    <a:lnTo>
                      <a:pt x="300" y="161"/>
                    </a:lnTo>
                    <a:lnTo>
                      <a:pt x="300" y="165"/>
                    </a:lnTo>
                    <a:lnTo>
                      <a:pt x="296" y="165"/>
                    </a:lnTo>
                    <a:lnTo>
                      <a:pt x="292" y="165"/>
                    </a:lnTo>
                    <a:lnTo>
                      <a:pt x="287" y="169"/>
                    </a:lnTo>
                    <a:lnTo>
                      <a:pt x="287" y="178"/>
                    </a:lnTo>
                    <a:lnTo>
                      <a:pt x="283" y="187"/>
                    </a:lnTo>
                    <a:lnTo>
                      <a:pt x="274" y="195"/>
                    </a:lnTo>
                    <a:lnTo>
                      <a:pt x="274" y="191"/>
                    </a:lnTo>
                    <a:lnTo>
                      <a:pt x="270" y="191"/>
                    </a:lnTo>
                    <a:lnTo>
                      <a:pt x="257" y="187"/>
                    </a:lnTo>
                    <a:lnTo>
                      <a:pt x="248" y="187"/>
                    </a:lnTo>
                    <a:lnTo>
                      <a:pt x="261" y="200"/>
                    </a:lnTo>
                    <a:lnTo>
                      <a:pt x="270" y="200"/>
                    </a:lnTo>
                    <a:lnTo>
                      <a:pt x="279" y="195"/>
                    </a:lnTo>
                    <a:lnTo>
                      <a:pt x="279" y="195"/>
                    </a:lnTo>
                    <a:lnTo>
                      <a:pt x="279" y="195"/>
                    </a:lnTo>
                    <a:lnTo>
                      <a:pt x="283" y="191"/>
                    </a:lnTo>
                    <a:lnTo>
                      <a:pt x="283" y="191"/>
                    </a:lnTo>
                    <a:lnTo>
                      <a:pt x="287" y="187"/>
                    </a:lnTo>
                    <a:lnTo>
                      <a:pt x="296" y="191"/>
                    </a:lnTo>
                    <a:lnTo>
                      <a:pt x="296" y="191"/>
                    </a:lnTo>
                    <a:lnTo>
                      <a:pt x="296" y="191"/>
                    </a:lnTo>
                    <a:lnTo>
                      <a:pt x="296" y="195"/>
                    </a:lnTo>
                    <a:lnTo>
                      <a:pt x="292" y="204"/>
                    </a:lnTo>
                    <a:lnTo>
                      <a:pt x="292" y="204"/>
                    </a:lnTo>
                    <a:lnTo>
                      <a:pt x="292" y="208"/>
                    </a:lnTo>
                    <a:lnTo>
                      <a:pt x="296" y="213"/>
                    </a:lnTo>
                    <a:lnTo>
                      <a:pt x="292" y="221"/>
                    </a:lnTo>
                    <a:lnTo>
                      <a:pt x="287" y="221"/>
                    </a:lnTo>
                    <a:lnTo>
                      <a:pt x="283" y="221"/>
                    </a:lnTo>
                    <a:lnTo>
                      <a:pt x="283" y="226"/>
                    </a:lnTo>
                    <a:lnTo>
                      <a:pt x="283" y="226"/>
                    </a:lnTo>
                    <a:lnTo>
                      <a:pt x="287" y="230"/>
                    </a:lnTo>
                    <a:lnTo>
                      <a:pt x="287" y="230"/>
                    </a:lnTo>
                    <a:lnTo>
                      <a:pt x="292" y="230"/>
                    </a:lnTo>
                    <a:lnTo>
                      <a:pt x="300" y="243"/>
                    </a:lnTo>
                    <a:lnTo>
                      <a:pt x="300" y="247"/>
                    </a:lnTo>
                    <a:lnTo>
                      <a:pt x="300" y="247"/>
                    </a:lnTo>
                    <a:lnTo>
                      <a:pt x="300" y="247"/>
                    </a:lnTo>
                    <a:lnTo>
                      <a:pt x="300" y="247"/>
                    </a:lnTo>
                    <a:lnTo>
                      <a:pt x="296" y="247"/>
                    </a:lnTo>
                    <a:lnTo>
                      <a:pt x="296" y="243"/>
                    </a:lnTo>
                    <a:lnTo>
                      <a:pt x="296" y="243"/>
                    </a:lnTo>
                    <a:lnTo>
                      <a:pt x="287" y="239"/>
                    </a:lnTo>
                    <a:lnTo>
                      <a:pt x="283" y="234"/>
                    </a:lnTo>
                    <a:lnTo>
                      <a:pt x="279" y="230"/>
                    </a:lnTo>
                    <a:lnTo>
                      <a:pt x="274" y="230"/>
                    </a:lnTo>
                    <a:lnTo>
                      <a:pt x="274" y="230"/>
                    </a:lnTo>
                    <a:lnTo>
                      <a:pt x="270" y="234"/>
                    </a:lnTo>
                    <a:lnTo>
                      <a:pt x="270" y="239"/>
                    </a:lnTo>
                    <a:lnTo>
                      <a:pt x="266" y="243"/>
                    </a:lnTo>
                    <a:lnTo>
                      <a:pt x="261" y="243"/>
                    </a:lnTo>
                    <a:lnTo>
                      <a:pt x="257" y="247"/>
                    </a:lnTo>
                    <a:lnTo>
                      <a:pt x="257" y="252"/>
                    </a:lnTo>
                    <a:lnTo>
                      <a:pt x="266" y="256"/>
                    </a:lnTo>
                    <a:lnTo>
                      <a:pt x="270" y="256"/>
                    </a:lnTo>
                    <a:lnTo>
                      <a:pt x="274" y="256"/>
                    </a:lnTo>
                    <a:lnTo>
                      <a:pt x="279" y="261"/>
                    </a:lnTo>
                    <a:lnTo>
                      <a:pt x="274" y="269"/>
                    </a:lnTo>
                    <a:lnTo>
                      <a:pt x="266" y="274"/>
                    </a:lnTo>
                    <a:lnTo>
                      <a:pt x="261" y="278"/>
                    </a:lnTo>
                    <a:lnTo>
                      <a:pt x="257" y="274"/>
                    </a:lnTo>
                    <a:lnTo>
                      <a:pt x="257" y="274"/>
                    </a:lnTo>
                    <a:lnTo>
                      <a:pt x="257" y="269"/>
                    </a:lnTo>
                    <a:lnTo>
                      <a:pt x="257" y="269"/>
                    </a:lnTo>
                    <a:lnTo>
                      <a:pt x="257" y="261"/>
                    </a:lnTo>
                    <a:lnTo>
                      <a:pt x="253" y="261"/>
                    </a:lnTo>
                    <a:lnTo>
                      <a:pt x="248" y="265"/>
                    </a:lnTo>
                    <a:lnTo>
                      <a:pt x="244" y="269"/>
                    </a:lnTo>
                    <a:lnTo>
                      <a:pt x="244" y="269"/>
                    </a:lnTo>
                    <a:lnTo>
                      <a:pt x="244" y="269"/>
                    </a:lnTo>
                    <a:lnTo>
                      <a:pt x="253" y="274"/>
                    </a:lnTo>
                    <a:lnTo>
                      <a:pt x="248" y="278"/>
                    </a:lnTo>
                    <a:lnTo>
                      <a:pt x="244" y="278"/>
                    </a:lnTo>
                    <a:lnTo>
                      <a:pt x="244" y="278"/>
                    </a:lnTo>
                    <a:lnTo>
                      <a:pt x="244" y="282"/>
                    </a:lnTo>
                    <a:lnTo>
                      <a:pt x="244" y="287"/>
                    </a:lnTo>
                    <a:lnTo>
                      <a:pt x="257" y="291"/>
                    </a:lnTo>
                    <a:lnTo>
                      <a:pt x="257" y="291"/>
                    </a:lnTo>
                    <a:lnTo>
                      <a:pt x="257" y="295"/>
                    </a:lnTo>
                    <a:lnTo>
                      <a:pt x="235" y="304"/>
                    </a:lnTo>
                    <a:lnTo>
                      <a:pt x="235" y="304"/>
                    </a:lnTo>
                    <a:lnTo>
                      <a:pt x="235" y="304"/>
                    </a:lnTo>
                    <a:lnTo>
                      <a:pt x="235" y="300"/>
                    </a:lnTo>
                    <a:lnTo>
                      <a:pt x="235" y="295"/>
                    </a:lnTo>
                    <a:lnTo>
                      <a:pt x="231" y="295"/>
                    </a:lnTo>
                    <a:lnTo>
                      <a:pt x="222" y="304"/>
                    </a:lnTo>
                    <a:lnTo>
                      <a:pt x="231" y="313"/>
                    </a:lnTo>
                    <a:lnTo>
                      <a:pt x="231" y="313"/>
                    </a:lnTo>
                    <a:lnTo>
                      <a:pt x="235" y="308"/>
                    </a:lnTo>
                    <a:lnTo>
                      <a:pt x="240" y="313"/>
                    </a:lnTo>
                    <a:lnTo>
                      <a:pt x="240" y="313"/>
                    </a:lnTo>
                    <a:lnTo>
                      <a:pt x="235" y="330"/>
                    </a:lnTo>
                    <a:lnTo>
                      <a:pt x="231" y="330"/>
                    </a:lnTo>
                    <a:lnTo>
                      <a:pt x="231" y="334"/>
                    </a:lnTo>
                    <a:lnTo>
                      <a:pt x="226" y="334"/>
                    </a:lnTo>
                    <a:lnTo>
                      <a:pt x="226" y="334"/>
                    </a:lnTo>
                    <a:lnTo>
                      <a:pt x="226" y="330"/>
                    </a:lnTo>
                    <a:lnTo>
                      <a:pt x="222" y="330"/>
                    </a:lnTo>
                    <a:lnTo>
                      <a:pt x="218" y="326"/>
                    </a:lnTo>
                    <a:lnTo>
                      <a:pt x="218" y="326"/>
                    </a:lnTo>
                    <a:lnTo>
                      <a:pt x="213" y="326"/>
                    </a:lnTo>
                    <a:lnTo>
                      <a:pt x="209" y="330"/>
                    </a:lnTo>
                    <a:lnTo>
                      <a:pt x="200" y="339"/>
                    </a:lnTo>
                    <a:lnTo>
                      <a:pt x="196" y="330"/>
                    </a:lnTo>
                    <a:lnTo>
                      <a:pt x="196" y="330"/>
                    </a:lnTo>
                    <a:lnTo>
                      <a:pt x="192" y="326"/>
                    </a:lnTo>
                    <a:lnTo>
                      <a:pt x="183" y="334"/>
                    </a:lnTo>
                    <a:lnTo>
                      <a:pt x="179" y="339"/>
                    </a:lnTo>
                    <a:lnTo>
                      <a:pt x="179" y="339"/>
                    </a:lnTo>
                    <a:lnTo>
                      <a:pt x="183" y="339"/>
                    </a:lnTo>
                    <a:lnTo>
                      <a:pt x="187" y="343"/>
                    </a:lnTo>
                    <a:lnTo>
                      <a:pt x="183" y="347"/>
                    </a:lnTo>
                    <a:lnTo>
                      <a:pt x="179" y="347"/>
                    </a:lnTo>
                    <a:lnTo>
                      <a:pt x="179" y="347"/>
                    </a:lnTo>
                    <a:lnTo>
                      <a:pt x="174" y="347"/>
                    </a:lnTo>
                    <a:lnTo>
                      <a:pt x="170" y="347"/>
                    </a:lnTo>
                    <a:lnTo>
                      <a:pt x="170" y="347"/>
                    </a:lnTo>
                    <a:lnTo>
                      <a:pt x="166" y="352"/>
                    </a:lnTo>
                    <a:lnTo>
                      <a:pt x="170" y="352"/>
                    </a:lnTo>
                    <a:lnTo>
                      <a:pt x="174" y="356"/>
                    </a:lnTo>
                    <a:lnTo>
                      <a:pt x="179" y="356"/>
                    </a:lnTo>
                    <a:lnTo>
                      <a:pt x="187" y="352"/>
                    </a:lnTo>
                    <a:lnTo>
                      <a:pt x="192" y="356"/>
                    </a:lnTo>
                    <a:lnTo>
                      <a:pt x="196" y="361"/>
                    </a:lnTo>
                    <a:lnTo>
                      <a:pt x="196" y="365"/>
                    </a:lnTo>
                    <a:lnTo>
                      <a:pt x="187" y="369"/>
                    </a:lnTo>
                    <a:lnTo>
                      <a:pt x="183" y="374"/>
                    </a:lnTo>
                    <a:lnTo>
                      <a:pt x="179" y="387"/>
                    </a:lnTo>
                    <a:lnTo>
                      <a:pt x="170" y="400"/>
                    </a:lnTo>
                    <a:lnTo>
                      <a:pt x="170" y="400"/>
                    </a:lnTo>
                    <a:lnTo>
                      <a:pt x="170" y="395"/>
                    </a:lnTo>
                    <a:lnTo>
                      <a:pt x="170" y="391"/>
                    </a:lnTo>
                    <a:lnTo>
                      <a:pt x="174" y="391"/>
                    </a:lnTo>
                    <a:lnTo>
                      <a:pt x="170" y="387"/>
                    </a:lnTo>
                    <a:lnTo>
                      <a:pt x="166" y="387"/>
                    </a:lnTo>
                    <a:lnTo>
                      <a:pt x="161" y="400"/>
                    </a:lnTo>
                    <a:lnTo>
                      <a:pt x="161" y="404"/>
                    </a:lnTo>
                    <a:lnTo>
                      <a:pt x="148" y="408"/>
                    </a:lnTo>
                    <a:lnTo>
                      <a:pt x="140" y="413"/>
                    </a:lnTo>
                    <a:lnTo>
                      <a:pt x="135" y="417"/>
                    </a:lnTo>
                    <a:lnTo>
                      <a:pt x="135" y="421"/>
                    </a:lnTo>
                    <a:lnTo>
                      <a:pt x="135" y="426"/>
                    </a:lnTo>
                    <a:lnTo>
                      <a:pt x="131" y="430"/>
                    </a:lnTo>
                    <a:lnTo>
                      <a:pt x="126" y="430"/>
                    </a:lnTo>
                    <a:close/>
                    <a:moveTo>
                      <a:pt x="192" y="347"/>
                    </a:moveTo>
                    <a:lnTo>
                      <a:pt x="187" y="347"/>
                    </a:lnTo>
                    <a:lnTo>
                      <a:pt x="187" y="347"/>
                    </a:lnTo>
                    <a:lnTo>
                      <a:pt x="187" y="343"/>
                    </a:lnTo>
                    <a:lnTo>
                      <a:pt x="192" y="339"/>
                    </a:lnTo>
                    <a:lnTo>
                      <a:pt x="196" y="339"/>
                    </a:lnTo>
                    <a:lnTo>
                      <a:pt x="196" y="343"/>
                    </a:lnTo>
                    <a:lnTo>
                      <a:pt x="196" y="347"/>
                    </a:lnTo>
                    <a:lnTo>
                      <a:pt x="196" y="347"/>
                    </a:lnTo>
                    <a:lnTo>
                      <a:pt x="192" y="347"/>
                    </a:lnTo>
                    <a:lnTo>
                      <a:pt x="192" y="347"/>
                    </a:lnTo>
                    <a:lnTo>
                      <a:pt x="192" y="347"/>
                    </a:lnTo>
                    <a:close/>
                    <a:moveTo>
                      <a:pt x="305" y="239"/>
                    </a:moveTo>
                    <a:lnTo>
                      <a:pt x="305" y="239"/>
                    </a:lnTo>
                    <a:lnTo>
                      <a:pt x="305" y="239"/>
                    </a:lnTo>
                    <a:lnTo>
                      <a:pt x="300" y="234"/>
                    </a:lnTo>
                    <a:lnTo>
                      <a:pt x="300" y="226"/>
                    </a:lnTo>
                    <a:lnTo>
                      <a:pt x="305" y="221"/>
                    </a:lnTo>
                    <a:lnTo>
                      <a:pt x="305" y="217"/>
                    </a:lnTo>
                    <a:lnTo>
                      <a:pt x="309" y="217"/>
                    </a:lnTo>
                    <a:lnTo>
                      <a:pt x="313" y="226"/>
                    </a:lnTo>
                    <a:lnTo>
                      <a:pt x="313" y="230"/>
                    </a:lnTo>
                    <a:lnTo>
                      <a:pt x="313" y="230"/>
                    </a:lnTo>
                    <a:lnTo>
                      <a:pt x="313" y="230"/>
                    </a:lnTo>
                    <a:lnTo>
                      <a:pt x="309" y="239"/>
                    </a:lnTo>
                    <a:lnTo>
                      <a:pt x="309" y="243"/>
                    </a:lnTo>
                    <a:lnTo>
                      <a:pt x="309" y="243"/>
                    </a:lnTo>
                    <a:lnTo>
                      <a:pt x="305" y="239"/>
                    </a:lnTo>
                    <a:lnTo>
                      <a:pt x="305" y="239"/>
                    </a:lnTo>
                    <a:close/>
                    <a:moveTo>
                      <a:pt x="148" y="417"/>
                    </a:moveTo>
                    <a:lnTo>
                      <a:pt x="148" y="417"/>
                    </a:lnTo>
                    <a:lnTo>
                      <a:pt x="153" y="417"/>
                    </a:lnTo>
                    <a:lnTo>
                      <a:pt x="153" y="417"/>
                    </a:lnTo>
                    <a:lnTo>
                      <a:pt x="153" y="417"/>
                    </a:lnTo>
                    <a:lnTo>
                      <a:pt x="153" y="417"/>
                    </a:lnTo>
                    <a:lnTo>
                      <a:pt x="148" y="430"/>
                    </a:lnTo>
                    <a:lnTo>
                      <a:pt x="144" y="430"/>
                    </a:lnTo>
                    <a:lnTo>
                      <a:pt x="144" y="434"/>
                    </a:lnTo>
                    <a:lnTo>
                      <a:pt x="140" y="434"/>
                    </a:lnTo>
                    <a:lnTo>
                      <a:pt x="140" y="421"/>
                    </a:lnTo>
                    <a:lnTo>
                      <a:pt x="140" y="417"/>
                    </a:lnTo>
                    <a:lnTo>
                      <a:pt x="144" y="417"/>
                    </a:lnTo>
                    <a:lnTo>
                      <a:pt x="144" y="417"/>
                    </a:lnTo>
                    <a:lnTo>
                      <a:pt x="148" y="41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40" name="Freeform 49">
                <a:extLst>
                  <a:ext uri="{FF2B5EF4-FFF2-40B4-BE49-F238E27FC236}">
                    <a16:creationId xmlns:a16="http://schemas.microsoft.com/office/drawing/2014/main" id="{3281C94D-7D71-FABD-32FF-7C7EE73761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77292" y="3410310"/>
                <a:ext cx="875393" cy="550862"/>
              </a:xfrm>
              <a:custGeom>
                <a:avLst/>
                <a:gdLst>
                  <a:gd name="T0" fmla="*/ 322 w 505"/>
                  <a:gd name="T1" fmla="*/ 60 h 334"/>
                  <a:gd name="T2" fmla="*/ 335 w 505"/>
                  <a:gd name="T3" fmla="*/ 39 h 334"/>
                  <a:gd name="T4" fmla="*/ 357 w 505"/>
                  <a:gd name="T5" fmla="*/ 13 h 334"/>
                  <a:gd name="T6" fmla="*/ 383 w 505"/>
                  <a:gd name="T7" fmla="*/ 4 h 334"/>
                  <a:gd name="T8" fmla="*/ 426 w 505"/>
                  <a:gd name="T9" fmla="*/ 26 h 334"/>
                  <a:gd name="T10" fmla="*/ 457 w 505"/>
                  <a:gd name="T11" fmla="*/ 17 h 334"/>
                  <a:gd name="T12" fmla="*/ 470 w 505"/>
                  <a:gd name="T13" fmla="*/ 17 h 334"/>
                  <a:gd name="T14" fmla="*/ 496 w 505"/>
                  <a:gd name="T15" fmla="*/ 43 h 334"/>
                  <a:gd name="T16" fmla="*/ 505 w 505"/>
                  <a:gd name="T17" fmla="*/ 60 h 334"/>
                  <a:gd name="T18" fmla="*/ 465 w 505"/>
                  <a:gd name="T19" fmla="*/ 56 h 334"/>
                  <a:gd name="T20" fmla="*/ 439 w 505"/>
                  <a:gd name="T21" fmla="*/ 82 h 334"/>
                  <a:gd name="T22" fmla="*/ 426 w 505"/>
                  <a:gd name="T23" fmla="*/ 91 h 334"/>
                  <a:gd name="T24" fmla="*/ 413 w 505"/>
                  <a:gd name="T25" fmla="*/ 104 h 334"/>
                  <a:gd name="T26" fmla="*/ 391 w 505"/>
                  <a:gd name="T27" fmla="*/ 104 h 334"/>
                  <a:gd name="T28" fmla="*/ 396 w 505"/>
                  <a:gd name="T29" fmla="*/ 104 h 334"/>
                  <a:gd name="T30" fmla="*/ 396 w 505"/>
                  <a:gd name="T31" fmla="*/ 117 h 334"/>
                  <a:gd name="T32" fmla="*/ 374 w 505"/>
                  <a:gd name="T33" fmla="*/ 156 h 334"/>
                  <a:gd name="T34" fmla="*/ 365 w 505"/>
                  <a:gd name="T35" fmla="*/ 143 h 334"/>
                  <a:gd name="T36" fmla="*/ 361 w 505"/>
                  <a:gd name="T37" fmla="*/ 165 h 334"/>
                  <a:gd name="T38" fmla="*/ 339 w 505"/>
                  <a:gd name="T39" fmla="*/ 200 h 334"/>
                  <a:gd name="T40" fmla="*/ 322 w 505"/>
                  <a:gd name="T41" fmla="*/ 230 h 334"/>
                  <a:gd name="T42" fmla="*/ 318 w 505"/>
                  <a:gd name="T43" fmla="*/ 247 h 334"/>
                  <a:gd name="T44" fmla="*/ 300 w 505"/>
                  <a:gd name="T45" fmla="*/ 252 h 334"/>
                  <a:gd name="T46" fmla="*/ 283 w 505"/>
                  <a:gd name="T47" fmla="*/ 260 h 334"/>
                  <a:gd name="T48" fmla="*/ 274 w 505"/>
                  <a:gd name="T49" fmla="*/ 295 h 334"/>
                  <a:gd name="T50" fmla="*/ 257 w 505"/>
                  <a:gd name="T51" fmla="*/ 304 h 334"/>
                  <a:gd name="T52" fmla="*/ 239 w 505"/>
                  <a:gd name="T53" fmla="*/ 317 h 334"/>
                  <a:gd name="T54" fmla="*/ 213 w 505"/>
                  <a:gd name="T55" fmla="*/ 313 h 334"/>
                  <a:gd name="T56" fmla="*/ 200 w 505"/>
                  <a:gd name="T57" fmla="*/ 326 h 334"/>
                  <a:gd name="T58" fmla="*/ 174 w 505"/>
                  <a:gd name="T59" fmla="*/ 326 h 334"/>
                  <a:gd name="T60" fmla="*/ 161 w 505"/>
                  <a:gd name="T61" fmla="*/ 308 h 334"/>
                  <a:gd name="T62" fmla="*/ 135 w 505"/>
                  <a:gd name="T63" fmla="*/ 295 h 334"/>
                  <a:gd name="T64" fmla="*/ 113 w 505"/>
                  <a:gd name="T65" fmla="*/ 308 h 334"/>
                  <a:gd name="T66" fmla="*/ 104 w 505"/>
                  <a:gd name="T67" fmla="*/ 330 h 334"/>
                  <a:gd name="T68" fmla="*/ 61 w 505"/>
                  <a:gd name="T69" fmla="*/ 334 h 334"/>
                  <a:gd name="T70" fmla="*/ 44 w 505"/>
                  <a:gd name="T71" fmla="*/ 326 h 334"/>
                  <a:gd name="T72" fmla="*/ 9 w 505"/>
                  <a:gd name="T73" fmla="*/ 304 h 334"/>
                  <a:gd name="T74" fmla="*/ 0 w 505"/>
                  <a:gd name="T75" fmla="*/ 287 h 334"/>
                  <a:gd name="T76" fmla="*/ 17 w 505"/>
                  <a:gd name="T77" fmla="*/ 265 h 334"/>
                  <a:gd name="T78" fmla="*/ 31 w 505"/>
                  <a:gd name="T79" fmla="*/ 247 h 334"/>
                  <a:gd name="T80" fmla="*/ 52 w 505"/>
                  <a:gd name="T81" fmla="*/ 230 h 334"/>
                  <a:gd name="T82" fmla="*/ 61 w 505"/>
                  <a:gd name="T83" fmla="*/ 217 h 334"/>
                  <a:gd name="T84" fmla="*/ 74 w 505"/>
                  <a:gd name="T85" fmla="*/ 200 h 334"/>
                  <a:gd name="T86" fmla="*/ 48 w 505"/>
                  <a:gd name="T87" fmla="*/ 217 h 334"/>
                  <a:gd name="T88" fmla="*/ 26 w 505"/>
                  <a:gd name="T89" fmla="*/ 234 h 334"/>
                  <a:gd name="T90" fmla="*/ 31 w 505"/>
                  <a:gd name="T91" fmla="*/ 213 h 334"/>
                  <a:gd name="T92" fmla="*/ 31 w 505"/>
                  <a:gd name="T93" fmla="*/ 195 h 334"/>
                  <a:gd name="T94" fmla="*/ 26 w 505"/>
                  <a:gd name="T95" fmla="*/ 147 h 334"/>
                  <a:gd name="T96" fmla="*/ 52 w 505"/>
                  <a:gd name="T97" fmla="*/ 108 h 334"/>
                  <a:gd name="T98" fmla="*/ 74 w 505"/>
                  <a:gd name="T99" fmla="*/ 87 h 334"/>
                  <a:gd name="T100" fmla="*/ 78 w 505"/>
                  <a:gd name="T101" fmla="*/ 69 h 334"/>
                  <a:gd name="T102" fmla="*/ 96 w 505"/>
                  <a:gd name="T103" fmla="*/ 60 h 334"/>
                  <a:gd name="T104" fmla="*/ 135 w 505"/>
                  <a:gd name="T105" fmla="*/ 39 h 334"/>
                  <a:gd name="T106" fmla="*/ 152 w 505"/>
                  <a:gd name="T107" fmla="*/ 21 h 334"/>
                  <a:gd name="T108" fmla="*/ 165 w 505"/>
                  <a:gd name="T109" fmla="*/ 4 h 334"/>
                  <a:gd name="T110" fmla="*/ 204 w 505"/>
                  <a:gd name="T111" fmla="*/ 4 h 334"/>
                  <a:gd name="T112" fmla="*/ 248 w 505"/>
                  <a:gd name="T113" fmla="*/ 4 h 334"/>
                  <a:gd name="T114" fmla="*/ 252 w 505"/>
                  <a:gd name="T115" fmla="*/ 43 h 334"/>
                  <a:gd name="T116" fmla="*/ 270 w 505"/>
                  <a:gd name="T117" fmla="*/ 78 h 334"/>
                  <a:gd name="T118" fmla="*/ 296 w 505"/>
                  <a:gd name="T119" fmla="*/ 7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05" h="334">
                    <a:moveTo>
                      <a:pt x="304" y="73"/>
                    </a:moveTo>
                    <a:lnTo>
                      <a:pt x="309" y="73"/>
                    </a:lnTo>
                    <a:lnTo>
                      <a:pt x="313" y="73"/>
                    </a:lnTo>
                    <a:lnTo>
                      <a:pt x="313" y="73"/>
                    </a:lnTo>
                    <a:lnTo>
                      <a:pt x="322" y="65"/>
                    </a:lnTo>
                    <a:lnTo>
                      <a:pt x="322" y="65"/>
                    </a:lnTo>
                    <a:lnTo>
                      <a:pt x="322" y="60"/>
                    </a:lnTo>
                    <a:lnTo>
                      <a:pt x="322" y="60"/>
                    </a:lnTo>
                    <a:lnTo>
                      <a:pt x="318" y="56"/>
                    </a:lnTo>
                    <a:lnTo>
                      <a:pt x="318" y="52"/>
                    </a:lnTo>
                    <a:lnTo>
                      <a:pt x="326" y="47"/>
                    </a:lnTo>
                    <a:lnTo>
                      <a:pt x="331" y="47"/>
                    </a:lnTo>
                    <a:lnTo>
                      <a:pt x="331" y="43"/>
                    </a:lnTo>
                    <a:lnTo>
                      <a:pt x="335" y="39"/>
                    </a:lnTo>
                    <a:lnTo>
                      <a:pt x="339" y="34"/>
                    </a:lnTo>
                    <a:lnTo>
                      <a:pt x="344" y="26"/>
                    </a:lnTo>
                    <a:lnTo>
                      <a:pt x="344" y="26"/>
                    </a:lnTo>
                    <a:lnTo>
                      <a:pt x="344" y="21"/>
                    </a:lnTo>
                    <a:lnTo>
                      <a:pt x="344" y="21"/>
                    </a:lnTo>
                    <a:lnTo>
                      <a:pt x="348" y="17"/>
                    </a:lnTo>
                    <a:lnTo>
                      <a:pt x="357" y="13"/>
                    </a:lnTo>
                    <a:lnTo>
                      <a:pt x="361" y="8"/>
                    </a:lnTo>
                    <a:lnTo>
                      <a:pt x="365" y="8"/>
                    </a:lnTo>
                    <a:lnTo>
                      <a:pt x="365" y="4"/>
                    </a:lnTo>
                    <a:lnTo>
                      <a:pt x="370" y="4"/>
                    </a:lnTo>
                    <a:lnTo>
                      <a:pt x="370" y="4"/>
                    </a:lnTo>
                    <a:lnTo>
                      <a:pt x="378" y="0"/>
                    </a:lnTo>
                    <a:lnTo>
                      <a:pt x="383" y="4"/>
                    </a:lnTo>
                    <a:lnTo>
                      <a:pt x="383" y="4"/>
                    </a:lnTo>
                    <a:lnTo>
                      <a:pt x="387" y="8"/>
                    </a:lnTo>
                    <a:lnTo>
                      <a:pt x="400" y="13"/>
                    </a:lnTo>
                    <a:lnTo>
                      <a:pt x="400" y="17"/>
                    </a:lnTo>
                    <a:lnTo>
                      <a:pt x="400" y="17"/>
                    </a:lnTo>
                    <a:lnTo>
                      <a:pt x="418" y="17"/>
                    </a:lnTo>
                    <a:lnTo>
                      <a:pt x="426" y="26"/>
                    </a:lnTo>
                    <a:lnTo>
                      <a:pt x="431" y="26"/>
                    </a:lnTo>
                    <a:lnTo>
                      <a:pt x="435" y="26"/>
                    </a:lnTo>
                    <a:lnTo>
                      <a:pt x="439" y="26"/>
                    </a:lnTo>
                    <a:lnTo>
                      <a:pt x="439" y="21"/>
                    </a:lnTo>
                    <a:lnTo>
                      <a:pt x="448" y="21"/>
                    </a:lnTo>
                    <a:lnTo>
                      <a:pt x="457" y="17"/>
                    </a:lnTo>
                    <a:lnTo>
                      <a:pt x="457" y="17"/>
                    </a:lnTo>
                    <a:lnTo>
                      <a:pt x="461" y="13"/>
                    </a:lnTo>
                    <a:lnTo>
                      <a:pt x="465" y="8"/>
                    </a:lnTo>
                    <a:lnTo>
                      <a:pt x="465" y="8"/>
                    </a:lnTo>
                    <a:lnTo>
                      <a:pt x="470" y="13"/>
                    </a:lnTo>
                    <a:lnTo>
                      <a:pt x="470" y="13"/>
                    </a:lnTo>
                    <a:lnTo>
                      <a:pt x="470" y="17"/>
                    </a:lnTo>
                    <a:lnTo>
                      <a:pt x="470" y="17"/>
                    </a:lnTo>
                    <a:lnTo>
                      <a:pt x="474" y="17"/>
                    </a:lnTo>
                    <a:lnTo>
                      <a:pt x="500" y="17"/>
                    </a:lnTo>
                    <a:lnTo>
                      <a:pt x="505" y="30"/>
                    </a:lnTo>
                    <a:lnTo>
                      <a:pt x="500" y="34"/>
                    </a:lnTo>
                    <a:lnTo>
                      <a:pt x="500" y="39"/>
                    </a:lnTo>
                    <a:lnTo>
                      <a:pt x="500" y="39"/>
                    </a:lnTo>
                    <a:lnTo>
                      <a:pt x="496" y="43"/>
                    </a:lnTo>
                    <a:lnTo>
                      <a:pt x="496" y="39"/>
                    </a:lnTo>
                    <a:lnTo>
                      <a:pt x="496" y="47"/>
                    </a:lnTo>
                    <a:lnTo>
                      <a:pt x="496" y="52"/>
                    </a:lnTo>
                    <a:lnTo>
                      <a:pt x="496" y="52"/>
                    </a:lnTo>
                    <a:lnTo>
                      <a:pt x="505" y="47"/>
                    </a:lnTo>
                    <a:lnTo>
                      <a:pt x="505" y="56"/>
                    </a:lnTo>
                    <a:lnTo>
                      <a:pt x="505" y="60"/>
                    </a:lnTo>
                    <a:lnTo>
                      <a:pt x="496" y="65"/>
                    </a:lnTo>
                    <a:lnTo>
                      <a:pt x="491" y="69"/>
                    </a:lnTo>
                    <a:lnTo>
                      <a:pt x="483" y="69"/>
                    </a:lnTo>
                    <a:lnTo>
                      <a:pt x="483" y="65"/>
                    </a:lnTo>
                    <a:lnTo>
                      <a:pt x="478" y="60"/>
                    </a:lnTo>
                    <a:lnTo>
                      <a:pt x="470" y="56"/>
                    </a:lnTo>
                    <a:lnTo>
                      <a:pt x="465" y="56"/>
                    </a:lnTo>
                    <a:lnTo>
                      <a:pt x="461" y="60"/>
                    </a:lnTo>
                    <a:lnTo>
                      <a:pt x="465" y="65"/>
                    </a:lnTo>
                    <a:lnTo>
                      <a:pt x="452" y="73"/>
                    </a:lnTo>
                    <a:lnTo>
                      <a:pt x="444" y="82"/>
                    </a:lnTo>
                    <a:lnTo>
                      <a:pt x="439" y="82"/>
                    </a:lnTo>
                    <a:lnTo>
                      <a:pt x="439" y="82"/>
                    </a:lnTo>
                    <a:lnTo>
                      <a:pt x="439" y="82"/>
                    </a:lnTo>
                    <a:lnTo>
                      <a:pt x="444" y="73"/>
                    </a:lnTo>
                    <a:lnTo>
                      <a:pt x="444" y="73"/>
                    </a:lnTo>
                    <a:lnTo>
                      <a:pt x="439" y="78"/>
                    </a:lnTo>
                    <a:lnTo>
                      <a:pt x="435" y="78"/>
                    </a:lnTo>
                    <a:lnTo>
                      <a:pt x="435" y="82"/>
                    </a:lnTo>
                    <a:lnTo>
                      <a:pt x="431" y="87"/>
                    </a:lnTo>
                    <a:lnTo>
                      <a:pt x="426" y="91"/>
                    </a:lnTo>
                    <a:lnTo>
                      <a:pt x="426" y="91"/>
                    </a:lnTo>
                    <a:lnTo>
                      <a:pt x="418" y="95"/>
                    </a:lnTo>
                    <a:lnTo>
                      <a:pt x="418" y="95"/>
                    </a:lnTo>
                    <a:lnTo>
                      <a:pt x="413" y="95"/>
                    </a:lnTo>
                    <a:lnTo>
                      <a:pt x="413" y="100"/>
                    </a:lnTo>
                    <a:lnTo>
                      <a:pt x="413" y="100"/>
                    </a:lnTo>
                    <a:lnTo>
                      <a:pt x="413" y="104"/>
                    </a:lnTo>
                    <a:lnTo>
                      <a:pt x="409" y="104"/>
                    </a:lnTo>
                    <a:lnTo>
                      <a:pt x="404" y="104"/>
                    </a:lnTo>
                    <a:lnTo>
                      <a:pt x="400" y="104"/>
                    </a:lnTo>
                    <a:lnTo>
                      <a:pt x="396" y="100"/>
                    </a:lnTo>
                    <a:lnTo>
                      <a:pt x="396" y="100"/>
                    </a:lnTo>
                    <a:lnTo>
                      <a:pt x="396" y="104"/>
                    </a:lnTo>
                    <a:lnTo>
                      <a:pt x="391" y="104"/>
                    </a:lnTo>
                    <a:lnTo>
                      <a:pt x="391" y="108"/>
                    </a:lnTo>
                    <a:lnTo>
                      <a:pt x="391" y="113"/>
                    </a:lnTo>
                    <a:lnTo>
                      <a:pt x="391" y="113"/>
                    </a:lnTo>
                    <a:lnTo>
                      <a:pt x="391" y="108"/>
                    </a:lnTo>
                    <a:lnTo>
                      <a:pt x="396" y="108"/>
                    </a:lnTo>
                    <a:lnTo>
                      <a:pt x="396" y="104"/>
                    </a:lnTo>
                    <a:lnTo>
                      <a:pt x="396" y="104"/>
                    </a:lnTo>
                    <a:lnTo>
                      <a:pt x="404" y="108"/>
                    </a:lnTo>
                    <a:lnTo>
                      <a:pt x="404" y="108"/>
                    </a:lnTo>
                    <a:lnTo>
                      <a:pt x="404" y="121"/>
                    </a:lnTo>
                    <a:lnTo>
                      <a:pt x="400" y="126"/>
                    </a:lnTo>
                    <a:lnTo>
                      <a:pt x="400" y="126"/>
                    </a:lnTo>
                    <a:lnTo>
                      <a:pt x="400" y="121"/>
                    </a:lnTo>
                    <a:lnTo>
                      <a:pt x="396" y="117"/>
                    </a:lnTo>
                    <a:lnTo>
                      <a:pt x="396" y="117"/>
                    </a:lnTo>
                    <a:lnTo>
                      <a:pt x="391" y="117"/>
                    </a:lnTo>
                    <a:lnTo>
                      <a:pt x="391" y="121"/>
                    </a:lnTo>
                    <a:lnTo>
                      <a:pt x="387" y="126"/>
                    </a:lnTo>
                    <a:lnTo>
                      <a:pt x="391" y="134"/>
                    </a:lnTo>
                    <a:lnTo>
                      <a:pt x="391" y="147"/>
                    </a:lnTo>
                    <a:lnTo>
                      <a:pt x="374" y="156"/>
                    </a:lnTo>
                    <a:lnTo>
                      <a:pt x="370" y="160"/>
                    </a:lnTo>
                    <a:lnTo>
                      <a:pt x="365" y="156"/>
                    </a:lnTo>
                    <a:lnTo>
                      <a:pt x="370" y="156"/>
                    </a:lnTo>
                    <a:lnTo>
                      <a:pt x="370" y="147"/>
                    </a:lnTo>
                    <a:lnTo>
                      <a:pt x="370" y="147"/>
                    </a:lnTo>
                    <a:lnTo>
                      <a:pt x="365" y="139"/>
                    </a:lnTo>
                    <a:lnTo>
                      <a:pt x="365" y="143"/>
                    </a:lnTo>
                    <a:lnTo>
                      <a:pt x="361" y="147"/>
                    </a:lnTo>
                    <a:lnTo>
                      <a:pt x="357" y="147"/>
                    </a:lnTo>
                    <a:lnTo>
                      <a:pt x="352" y="147"/>
                    </a:lnTo>
                    <a:lnTo>
                      <a:pt x="352" y="147"/>
                    </a:lnTo>
                    <a:lnTo>
                      <a:pt x="352" y="156"/>
                    </a:lnTo>
                    <a:lnTo>
                      <a:pt x="352" y="156"/>
                    </a:lnTo>
                    <a:lnTo>
                      <a:pt x="361" y="165"/>
                    </a:lnTo>
                    <a:lnTo>
                      <a:pt x="365" y="169"/>
                    </a:lnTo>
                    <a:lnTo>
                      <a:pt x="361" y="173"/>
                    </a:lnTo>
                    <a:lnTo>
                      <a:pt x="357" y="173"/>
                    </a:lnTo>
                    <a:lnTo>
                      <a:pt x="352" y="178"/>
                    </a:lnTo>
                    <a:lnTo>
                      <a:pt x="344" y="191"/>
                    </a:lnTo>
                    <a:lnTo>
                      <a:pt x="348" y="200"/>
                    </a:lnTo>
                    <a:lnTo>
                      <a:pt x="339" y="200"/>
                    </a:lnTo>
                    <a:lnTo>
                      <a:pt x="335" y="204"/>
                    </a:lnTo>
                    <a:lnTo>
                      <a:pt x="331" y="208"/>
                    </a:lnTo>
                    <a:lnTo>
                      <a:pt x="331" y="208"/>
                    </a:lnTo>
                    <a:lnTo>
                      <a:pt x="331" y="213"/>
                    </a:lnTo>
                    <a:lnTo>
                      <a:pt x="326" y="217"/>
                    </a:lnTo>
                    <a:lnTo>
                      <a:pt x="326" y="226"/>
                    </a:lnTo>
                    <a:lnTo>
                      <a:pt x="322" y="230"/>
                    </a:lnTo>
                    <a:lnTo>
                      <a:pt x="318" y="230"/>
                    </a:lnTo>
                    <a:lnTo>
                      <a:pt x="318" y="234"/>
                    </a:lnTo>
                    <a:lnTo>
                      <a:pt x="318" y="239"/>
                    </a:lnTo>
                    <a:lnTo>
                      <a:pt x="318" y="239"/>
                    </a:lnTo>
                    <a:lnTo>
                      <a:pt x="318" y="243"/>
                    </a:lnTo>
                    <a:lnTo>
                      <a:pt x="318" y="247"/>
                    </a:lnTo>
                    <a:lnTo>
                      <a:pt x="318" y="247"/>
                    </a:lnTo>
                    <a:lnTo>
                      <a:pt x="318" y="252"/>
                    </a:lnTo>
                    <a:lnTo>
                      <a:pt x="313" y="256"/>
                    </a:lnTo>
                    <a:lnTo>
                      <a:pt x="309" y="252"/>
                    </a:lnTo>
                    <a:lnTo>
                      <a:pt x="309" y="252"/>
                    </a:lnTo>
                    <a:lnTo>
                      <a:pt x="309" y="252"/>
                    </a:lnTo>
                    <a:lnTo>
                      <a:pt x="304" y="252"/>
                    </a:lnTo>
                    <a:lnTo>
                      <a:pt x="300" y="252"/>
                    </a:lnTo>
                    <a:lnTo>
                      <a:pt x="300" y="256"/>
                    </a:lnTo>
                    <a:lnTo>
                      <a:pt x="296" y="256"/>
                    </a:lnTo>
                    <a:lnTo>
                      <a:pt x="296" y="260"/>
                    </a:lnTo>
                    <a:lnTo>
                      <a:pt x="291" y="260"/>
                    </a:lnTo>
                    <a:lnTo>
                      <a:pt x="287" y="260"/>
                    </a:lnTo>
                    <a:lnTo>
                      <a:pt x="287" y="260"/>
                    </a:lnTo>
                    <a:lnTo>
                      <a:pt x="283" y="260"/>
                    </a:lnTo>
                    <a:lnTo>
                      <a:pt x="283" y="265"/>
                    </a:lnTo>
                    <a:lnTo>
                      <a:pt x="283" y="265"/>
                    </a:lnTo>
                    <a:lnTo>
                      <a:pt x="283" y="269"/>
                    </a:lnTo>
                    <a:lnTo>
                      <a:pt x="278" y="291"/>
                    </a:lnTo>
                    <a:lnTo>
                      <a:pt x="278" y="291"/>
                    </a:lnTo>
                    <a:lnTo>
                      <a:pt x="274" y="295"/>
                    </a:lnTo>
                    <a:lnTo>
                      <a:pt x="274" y="295"/>
                    </a:lnTo>
                    <a:lnTo>
                      <a:pt x="270" y="295"/>
                    </a:lnTo>
                    <a:lnTo>
                      <a:pt x="270" y="291"/>
                    </a:lnTo>
                    <a:lnTo>
                      <a:pt x="265" y="295"/>
                    </a:lnTo>
                    <a:lnTo>
                      <a:pt x="265" y="295"/>
                    </a:lnTo>
                    <a:lnTo>
                      <a:pt x="261" y="295"/>
                    </a:lnTo>
                    <a:lnTo>
                      <a:pt x="261" y="295"/>
                    </a:lnTo>
                    <a:lnTo>
                      <a:pt x="257" y="304"/>
                    </a:lnTo>
                    <a:lnTo>
                      <a:pt x="257" y="308"/>
                    </a:lnTo>
                    <a:lnTo>
                      <a:pt x="257" y="313"/>
                    </a:lnTo>
                    <a:lnTo>
                      <a:pt x="257" y="313"/>
                    </a:lnTo>
                    <a:lnTo>
                      <a:pt x="257" y="317"/>
                    </a:lnTo>
                    <a:lnTo>
                      <a:pt x="257" y="321"/>
                    </a:lnTo>
                    <a:lnTo>
                      <a:pt x="244" y="326"/>
                    </a:lnTo>
                    <a:lnTo>
                      <a:pt x="239" y="317"/>
                    </a:lnTo>
                    <a:lnTo>
                      <a:pt x="239" y="313"/>
                    </a:lnTo>
                    <a:lnTo>
                      <a:pt x="235" y="304"/>
                    </a:lnTo>
                    <a:lnTo>
                      <a:pt x="231" y="304"/>
                    </a:lnTo>
                    <a:lnTo>
                      <a:pt x="222" y="304"/>
                    </a:lnTo>
                    <a:lnTo>
                      <a:pt x="213" y="304"/>
                    </a:lnTo>
                    <a:lnTo>
                      <a:pt x="213" y="308"/>
                    </a:lnTo>
                    <a:lnTo>
                      <a:pt x="213" y="313"/>
                    </a:lnTo>
                    <a:lnTo>
                      <a:pt x="213" y="317"/>
                    </a:lnTo>
                    <a:lnTo>
                      <a:pt x="209" y="317"/>
                    </a:lnTo>
                    <a:lnTo>
                      <a:pt x="209" y="317"/>
                    </a:lnTo>
                    <a:lnTo>
                      <a:pt x="204" y="317"/>
                    </a:lnTo>
                    <a:lnTo>
                      <a:pt x="204" y="321"/>
                    </a:lnTo>
                    <a:lnTo>
                      <a:pt x="200" y="326"/>
                    </a:lnTo>
                    <a:lnTo>
                      <a:pt x="200" y="326"/>
                    </a:lnTo>
                    <a:lnTo>
                      <a:pt x="196" y="326"/>
                    </a:lnTo>
                    <a:lnTo>
                      <a:pt x="191" y="326"/>
                    </a:lnTo>
                    <a:lnTo>
                      <a:pt x="191" y="326"/>
                    </a:lnTo>
                    <a:lnTo>
                      <a:pt x="187" y="321"/>
                    </a:lnTo>
                    <a:lnTo>
                      <a:pt x="183" y="317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30"/>
                    </a:lnTo>
                    <a:lnTo>
                      <a:pt x="165" y="326"/>
                    </a:lnTo>
                    <a:lnTo>
                      <a:pt x="165" y="326"/>
                    </a:lnTo>
                    <a:lnTo>
                      <a:pt x="165" y="321"/>
                    </a:lnTo>
                    <a:lnTo>
                      <a:pt x="161" y="313"/>
                    </a:lnTo>
                    <a:lnTo>
                      <a:pt x="161" y="313"/>
                    </a:lnTo>
                    <a:lnTo>
                      <a:pt x="161" y="308"/>
                    </a:lnTo>
                    <a:lnTo>
                      <a:pt x="148" y="295"/>
                    </a:lnTo>
                    <a:lnTo>
                      <a:pt x="144" y="295"/>
                    </a:lnTo>
                    <a:lnTo>
                      <a:pt x="139" y="291"/>
                    </a:lnTo>
                    <a:lnTo>
                      <a:pt x="139" y="291"/>
                    </a:lnTo>
                    <a:lnTo>
                      <a:pt x="139" y="291"/>
                    </a:lnTo>
                    <a:lnTo>
                      <a:pt x="135" y="295"/>
                    </a:lnTo>
                    <a:lnTo>
                      <a:pt x="135" y="295"/>
                    </a:lnTo>
                    <a:lnTo>
                      <a:pt x="122" y="295"/>
                    </a:lnTo>
                    <a:lnTo>
                      <a:pt x="122" y="295"/>
                    </a:lnTo>
                    <a:lnTo>
                      <a:pt x="117" y="295"/>
                    </a:lnTo>
                    <a:lnTo>
                      <a:pt x="117" y="300"/>
                    </a:lnTo>
                    <a:lnTo>
                      <a:pt x="113" y="300"/>
                    </a:lnTo>
                    <a:lnTo>
                      <a:pt x="113" y="304"/>
                    </a:lnTo>
                    <a:lnTo>
                      <a:pt x="113" y="308"/>
                    </a:lnTo>
                    <a:lnTo>
                      <a:pt x="113" y="308"/>
                    </a:lnTo>
                    <a:lnTo>
                      <a:pt x="113" y="313"/>
                    </a:lnTo>
                    <a:lnTo>
                      <a:pt x="113" y="321"/>
                    </a:lnTo>
                    <a:lnTo>
                      <a:pt x="113" y="321"/>
                    </a:lnTo>
                    <a:lnTo>
                      <a:pt x="109" y="326"/>
                    </a:lnTo>
                    <a:lnTo>
                      <a:pt x="104" y="326"/>
                    </a:lnTo>
                    <a:lnTo>
                      <a:pt x="104" y="330"/>
                    </a:lnTo>
                    <a:lnTo>
                      <a:pt x="96" y="330"/>
                    </a:lnTo>
                    <a:lnTo>
                      <a:pt x="96" y="330"/>
                    </a:lnTo>
                    <a:lnTo>
                      <a:pt x="91" y="326"/>
                    </a:lnTo>
                    <a:lnTo>
                      <a:pt x="87" y="326"/>
                    </a:lnTo>
                    <a:lnTo>
                      <a:pt x="83" y="330"/>
                    </a:lnTo>
                    <a:lnTo>
                      <a:pt x="70" y="330"/>
                    </a:lnTo>
                    <a:lnTo>
                      <a:pt x="61" y="334"/>
                    </a:lnTo>
                    <a:lnTo>
                      <a:pt x="61" y="334"/>
                    </a:lnTo>
                    <a:lnTo>
                      <a:pt x="57" y="334"/>
                    </a:lnTo>
                    <a:lnTo>
                      <a:pt x="52" y="334"/>
                    </a:lnTo>
                    <a:lnTo>
                      <a:pt x="52" y="334"/>
                    </a:lnTo>
                    <a:lnTo>
                      <a:pt x="48" y="334"/>
                    </a:lnTo>
                    <a:lnTo>
                      <a:pt x="48" y="330"/>
                    </a:lnTo>
                    <a:lnTo>
                      <a:pt x="44" y="326"/>
                    </a:lnTo>
                    <a:lnTo>
                      <a:pt x="44" y="326"/>
                    </a:lnTo>
                    <a:lnTo>
                      <a:pt x="39" y="317"/>
                    </a:lnTo>
                    <a:lnTo>
                      <a:pt x="31" y="313"/>
                    </a:lnTo>
                    <a:lnTo>
                      <a:pt x="26" y="308"/>
                    </a:lnTo>
                    <a:lnTo>
                      <a:pt x="26" y="308"/>
                    </a:lnTo>
                    <a:lnTo>
                      <a:pt x="13" y="304"/>
                    </a:lnTo>
                    <a:lnTo>
                      <a:pt x="9" y="304"/>
                    </a:lnTo>
                    <a:lnTo>
                      <a:pt x="9" y="304"/>
                    </a:lnTo>
                    <a:lnTo>
                      <a:pt x="4" y="304"/>
                    </a:lnTo>
                    <a:lnTo>
                      <a:pt x="4" y="304"/>
                    </a:lnTo>
                    <a:lnTo>
                      <a:pt x="4" y="304"/>
                    </a:lnTo>
                    <a:lnTo>
                      <a:pt x="0" y="304"/>
                    </a:lnTo>
                    <a:lnTo>
                      <a:pt x="0" y="291"/>
                    </a:lnTo>
                    <a:lnTo>
                      <a:pt x="0" y="287"/>
                    </a:lnTo>
                    <a:lnTo>
                      <a:pt x="4" y="287"/>
                    </a:lnTo>
                    <a:lnTo>
                      <a:pt x="4" y="287"/>
                    </a:lnTo>
                    <a:lnTo>
                      <a:pt x="9" y="278"/>
                    </a:lnTo>
                    <a:lnTo>
                      <a:pt x="9" y="273"/>
                    </a:lnTo>
                    <a:lnTo>
                      <a:pt x="9" y="273"/>
                    </a:lnTo>
                    <a:lnTo>
                      <a:pt x="13" y="269"/>
                    </a:lnTo>
                    <a:lnTo>
                      <a:pt x="17" y="265"/>
                    </a:lnTo>
                    <a:lnTo>
                      <a:pt x="17" y="265"/>
                    </a:lnTo>
                    <a:lnTo>
                      <a:pt x="22" y="265"/>
                    </a:lnTo>
                    <a:lnTo>
                      <a:pt x="22" y="265"/>
                    </a:lnTo>
                    <a:lnTo>
                      <a:pt x="26" y="265"/>
                    </a:lnTo>
                    <a:lnTo>
                      <a:pt x="31" y="256"/>
                    </a:lnTo>
                    <a:lnTo>
                      <a:pt x="31" y="252"/>
                    </a:lnTo>
                    <a:lnTo>
                      <a:pt x="31" y="247"/>
                    </a:lnTo>
                    <a:lnTo>
                      <a:pt x="35" y="243"/>
                    </a:lnTo>
                    <a:lnTo>
                      <a:pt x="44" y="239"/>
                    </a:lnTo>
                    <a:lnTo>
                      <a:pt x="44" y="234"/>
                    </a:lnTo>
                    <a:lnTo>
                      <a:pt x="44" y="234"/>
                    </a:lnTo>
                    <a:lnTo>
                      <a:pt x="48" y="234"/>
                    </a:lnTo>
                    <a:lnTo>
                      <a:pt x="52" y="234"/>
                    </a:lnTo>
                    <a:lnTo>
                      <a:pt x="52" y="230"/>
                    </a:lnTo>
                    <a:lnTo>
                      <a:pt x="52" y="230"/>
                    </a:lnTo>
                    <a:lnTo>
                      <a:pt x="52" y="226"/>
                    </a:lnTo>
                    <a:lnTo>
                      <a:pt x="57" y="226"/>
                    </a:lnTo>
                    <a:lnTo>
                      <a:pt x="61" y="221"/>
                    </a:lnTo>
                    <a:lnTo>
                      <a:pt x="65" y="221"/>
                    </a:lnTo>
                    <a:lnTo>
                      <a:pt x="61" y="217"/>
                    </a:lnTo>
                    <a:lnTo>
                      <a:pt x="61" y="217"/>
                    </a:lnTo>
                    <a:lnTo>
                      <a:pt x="65" y="213"/>
                    </a:lnTo>
                    <a:lnTo>
                      <a:pt x="70" y="213"/>
                    </a:lnTo>
                    <a:lnTo>
                      <a:pt x="70" y="213"/>
                    </a:lnTo>
                    <a:lnTo>
                      <a:pt x="74" y="213"/>
                    </a:lnTo>
                    <a:lnTo>
                      <a:pt x="74" y="204"/>
                    </a:lnTo>
                    <a:lnTo>
                      <a:pt x="74" y="200"/>
                    </a:lnTo>
                    <a:lnTo>
                      <a:pt x="74" y="200"/>
                    </a:lnTo>
                    <a:lnTo>
                      <a:pt x="74" y="204"/>
                    </a:lnTo>
                    <a:lnTo>
                      <a:pt x="70" y="204"/>
                    </a:lnTo>
                    <a:lnTo>
                      <a:pt x="61" y="208"/>
                    </a:lnTo>
                    <a:lnTo>
                      <a:pt x="61" y="213"/>
                    </a:lnTo>
                    <a:lnTo>
                      <a:pt x="57" y="213"/>
                    </a:lnTo>
                    <a:lnTo>
                      <a:pt x="52" y="217"/>
                    </a:lnTo>
                    <a:lnTo>
                      <a:pt x="48" y="217"/>
                    </a:lnTo>
                    <a:lnTo>
                      <a:pt x="39" y="221"/>
                    </a:lnTo>
                    <a:lnTo>
                      <a:pt x="39" y="221"/>
                    </a:lnTo>
                    <a:lnTo>
                      <a:pt x="35" y="226"/>
                    </a:lnTo>
                    <a:lnTo>
                      <a:pt x="31" y="230"/>
                    </a:lnTo>
                    <a:lnTo>
                      <a:pt x="31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0"/>
                    </a:lnTo>
                    <a:lnTo>
                      <a:pt x="26" y="230"/>
                    </a:lnTo>
                    <a:lnTo>
                      <a:pt x="26" y="226"/>
                    </a:lnTo>
                    <a:lnTo>
                      <a:pt x="26" y="221"/>
                    </a:lnTo>
                    <a:lnTo>
                      <a:pt x="26" y="217"/>
                    </a:lnTo>
                    <a:lnTo>
                      <a:pt x="31" y="217"/>
                    </a:lnTo>
                    <a:lnTo>
                      <a:pt x="31" y="213"/>
                    </a:lnTo>
                    <a:lnTo>
                      <a:pt x="31" y="213"/>
                    </a:lnTo>
                    <a:lnTo>
                      <a:pt x="31" y="208"/>
                    </a:lnTo>
                    <a:lnTo>
                      <a:pt x="31" y="208"/>
                    </a:lnTo>
                    <a:lnTo>
                      <a:pt x="31" y="204"/>
                    </a:lnTo>
                    <a:lnTo>
                      <a:pt x="31" y="200"/>
                    </a:lnTo>
                    <a:lnTo>
                      <a:pt x="31" y="200"/>
                    </a:lnTo>
                    <a:lnTo>
                      <a:pt x="31" y="195"/>
                    </a:lnTo>
                    <a:lnTo>
                      <a:pt x="31" y="191"/>
                    </a:lnTo>
                    <a:lnTo>
                      <a:pt x="26" y="187"/>
                    </a:lnTo>
                    <a:lnTo>
                      <a:pt x="22" y="182"/>
                    </a:lnTo>
                    <a:lnTo>
                      <a:pt x="17" y="173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47"/>
                    </a:lnTo>
                    <a:lnTo>
                      <a:pt x="31" y="147"/>
                    </a:lnTo>
                    <a:lnTo>
                      <a:pt x="31" y="147"/>
                    </a:lnTo>
                    <a:lnTo>
                      <a:pt x="39" y="143"/>
                    </a:lnTo>
                    <a:lnTo>
                      <a:pt x="44" y="130"/>
                    </a:lnTo>
                    <a:lnTo>
                      <a:pt x="48" y="121"/>
                    </a:lnTo>
                    <a:lnTo>
                      <a:pt x="48" y="113"/>
                    </a:lnTo>
                    <a:lnTo>
                      <a:pt x="52" y="108"/>
                    </a:lnTo>
                    <a:lnTo>
                      <a:pt x="57" y="95"/>
                    </a:lnTo>
                    <a:lnTo>
                      <a:pt x="57" y="91"/>
                    </a:lnTo>
                    <a:lnTo>
                      <a:pt x="65" y="91"/>
                    </a:lnTo>
                    <a:lnTo>
                      <a:pt x="70" y="91"/>
                    </a:lnTo>
                    <a:lnTo>
                      <a:pt x="70" y="91"/>
                    </a:lnTo>
                    <a:lnTo>
                      <a:pt x="74" y="87"/>
                    </a:lnTo>
                    <a:lnTo>
                      <a:pt x="74" y="87"/>
                    </a:lnTo>
                    <a:lnTo>
                      <a:pt x="70" y="87"/>
                    </a:lnTo>
                    <a:lnTo>
                      <a:pt x="70" y="82"/>
                    </a:lnTo>
                    <a:lnTo>
                      <a:pt x="70" y="82"/>
                    </a:lnTo>
                    <a:lnTo>
                      <a:pt x="74" y="73"/>
                    </a:lnTo>
                    <a:lnTo>
                      <a:pt x="74" y="69"/>
                    </a:lnTo>
                    <a:lnTo>
                      <a:pt x="78" y="69"/>
                    </a:lnTo>
                    <a:lnTo>
                      <a:pt x="78" y="69"/>
                    </a:lnTo>
                    <a:lnTo>
                      <a:pt x="78" y="73"/>
                    </a:lnTo>
                    <a:lnTo>
                      <a:pt x="78" y="73"/>
                    </a:lnTo>
                    <a:lnTo>
                      <a:pt x="83" y="78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100" y="47"/>
                    </a:lnTo>
                    <a:lnTo>
                      <a:pt x="104" y="43"/>
                    </a:lnTo>
                    <a:lnTo>
                      <a:pt x="104" y="43"/>
                    </a:lnTo>
                    <a:lnTo>
                      <a:pt x="113" y="43"/>
                    </a:lnTo>
                    <a:lnTo>
                      <a:pt x="122" y="43"/>
                    </a:lnTo>
                    <a:lnTo>
                      <a:pt x="126" y="43"/>
                    </a:lnTo>
                    <a:lnTo>
                      <a:pt x="135" y="39"/>
                    </a:lnTo>
                    <a:lnTo>
                      <a:pt x="144" y="39"/>
                    </a:lnTo>
                    <a:lnTo>
                      <a:pt x="148" y="39"/>
                    </a:lnTo>
                    <a:lnTo>
                      <a:pt x="152" y="30"/>
                    </a:lnTo>
                    <a:lnTo>
                      <a:pt x="152" y="26"/>
                    </a:lnTo>
                    <a:lnTo>
                      <a:pt x="152" y="21"/>
                    </a:lnTo>
                    <a:lnTo>
                      <a:pt x="152" y="21"/>
                    </a:lnTo>
                    <a:lnTo>
                      <a:pt x="152" y="21"/>
                    </a:lnTo>
                    <a:lnTo>
                      <a:pt x="157" y="17"/>
                    </a:lnTo>
                    <a:lnTo>
                      <a:pt x="157" y="17"/>
                    </a:lnTo>
                    <a:lnTo>
                      <a:pt x="161" y="17"/>
                    </a:lnTo>
                    <a:lnTo>
                      <a:pt x="165" y="13"/>
                    </a:lnTo>
                    <a:lnTo>
                      <a:pt x="165" y="8"/>
                    </a:lnTo>
                    <a:lnTo>
                      <a:pt x="165" y="4"/>
                    </a:lnTo>
                    <a:lnTo>
                      <a:pt x="165" y="4"/>
                    </a:lnTo>
                    <a:lnTo>
                      <a:pt x="165" y="0"/>
                    </a:lnTo>
                    <a:lnTo>
                      <a:pt x="170" y="0"/>
                    </a:lnTo>
                    <a:lnTo>
                      <a:pt x="174" y="0"/>
                    </a:lnTo>
                    <a:lnTo>
                      <a:pt x="183" y="4"/>
                    </a:lnTo>
                    <a:lnTo>
                      <a:pt x="187" y="4"/>
                    </a:lnTo>
                    <a:lnTo>
                      <a:pt x="196" y="4"/>
                    </a:lnTo>
                    <a:lnTo>
                      <a:pt x="204" y="4"/>
                    </a:lnTo>
                    <a:lnTo>
                      <a:pt x="213" y="4"/>
                    </a:lnTo>
                    <a:lnTo>
                      <a:pt x="213" y="4"/>
                    </a:lnTo>
                    <a:lnTo>
                      <a:pt x="222" y="4"/>
                    </a:lnTo>
                    <a:lnTo>
                      <a:pt x="231" y="0"/>
                    </a:lnTo>
                    <a:lnTo>
                      <a:pt x="235" y="0"/>
                    </a:lnTo>
                    <a:lnTo>
                      <a:pt x="239" y="0"/>
                    </a:lnTo>
                    <a:lnTo>
                      <a:pt x="248" y="4"/>
                    </a:lnTo>
                    <a:lnTo>
                      <a:pt x="252" y="17"/>
                    </a:lnTo>
                    <a:lnTo>
                      <a:pt x="257" y="17"/>
                    </a:lnTo>
                    <a:lnTo>
                      <a:pt x="257" y="30"/>
                    </a:lnTo>
                    <a:lnTo>
                      <a:pt x="257" y="39"/>
                    </a:lnTo>
                    <a:lnTo>
                      <a:pt x="257" y="39"/>
                    </a:lnTo>
                    <a:lnTo>
                      <a:pt x="257" y="43"/>
                    </a:lnTo>
                    <a:lnTo>
                      <a:pt x="252" y="43"/>
                    </a:lnTo>
                    <a:lnTo>
                      <a:pt x="252" y="43"/>
                    </a:lnTo>
                    <a:lnTo>
                      <a:pt x="252" y="47"/>
                    </a:lnTo>
                    <a:lnTo>
                      <a:pt x="257" y="60"/>
                    </a:lnTo>
                    <a:lnTo>
                      <a:pt x="257" y="65"/>
                    </a:lnTo>
                    <a:lnTo>
                      <a:pt x="257" y="69"/>
                    </a:lnTo>
                    <a:lnTo>
                      <a:pt x="257" y="69"/>
                    </a:lnTo>
                    <a:lnTo>
                      <a:pt x="270" y="78"/>
                    </a:lnTo>
                    <a:lnTo>
                      <a:pt x="274" y="78"/>
                    </a:lnTo>
                    <a:lnTo>
                      <a:pt x="278" y="78"/>
                    </a:lnTo>
                    <a:lnTo>
                      <a:pt x="278" y="78"/>
                    </a:lnTo>
                    <a:lnTo>
                      <a:pt x="283" y="78"/>
                    </a:lnTo>
                    <a:lnTo>
                      <a:pt x="291" y="78"/>
                    </a:lnTo>
                    <a:lnTo>
                      <a:pt x="291" y="78"/>
                    </a:lnTo>
                    <a:lnTo>
                      <a:pt x="296" y="78"/>
                    </a:lnTo>
                    <a:lnTo>
                      <a:pt x="296" y="78"/>
                    </a:lnTo>
                    <a:lnTo>
                      <a:pt x="300" y="73"/>
                    </a:lnTo>
                    <a:lnTo>
                      <a:pt x="304" y="73"/>
                    </a:lnTo>
                    <a:lnTo>
                      <a:pt x="304" y="73"/>
                    </a:lnTo>
                    <a:close/>
                  </a:path>
                </a:pathLst>
              </a:custGeom>
              <a:solidFill>
                <a:srgbClr val="D7D2CB"/>
              </a:solidFill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41" name="Freeform 50">
                <a:extLst>
                  <a:ext uri="{FF2B5EF4-FFF2-40B4-BE49-F238E27FC236}">
                    <a16:creationId xmlns:a16="http://schemas.microsoft.com/office/drawing/2014/main" id="{D1577DDA-CA0D-96E0-80E1-CED5905C563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447270" y="3822519"/>
                <a:ext cx="757465" cy="590550"/>
              </a:xfrm>
              <a:custGeom>
                <a:avLst/>
                <a:gdLst>
                  <a:gd name="T0" fmla="*/ 244 w 439"/>
                  <a:gd name="T1" fmla="*/ 326 h 356"/>
                  <a:gd name="T2" fmla="*/ 213 w 439"/>
                  <a:gd name="T3" fmla="*/ 330 h 356"/>
                  <a:gd name="T4" fmla="*/ 218 w 439"/>
                  <a:gd name="T5" fmla="*/ 300 h 356"/>
                  <a:gd name="T6" fmla="*/ 178 w 439"/>
                  <a:gd name="T7" fmla="*/ 282 h 356"/>
                  <a:gd name="T8" fmla="*/ 191 w 439"/>
                  <a:gd name="T9" fmla="*/ 243 h 356"/>
                  <a:gd name="T10" fmla="*/ 205 w 439"/>
                  <a:gd name="T11" fmla="*/ 217 h 356"/>
                  <a:gd name="T12" fmla="*/ 226 w 439"/>
                  <a:gd name="T13" fmla="*/ 213 h 356"/>
                  <a:gd name="T14" fmla="*/ 200 w 439"/>
                  <a:gd name="T15" fmla="*/ 187 h 356"/>
                  <a:gd name="T16" fmla="*/ 165 w 439"/>
                  <a:gd name="T17" fmla="*/ 213 h 356"/>
                  <a:gd name="T18" fmla="*/ 139 w 439"/>
                  <a:gd name="T19" fmla="*/ 178 h 356"/>
                  <a:gd name="T20" fmla="*/ 135 w 439"/>
                  <a:gd name="T21" fmla="*/ 152 h 356"/>
                  <a:gd name="T22" fmla="*/ 131 w 439"/>
                  <a:gd name="T23" fmla="*/ 126 h 356"/>
                  <a:gd name="T24" fmla="*/ 105 w 439"/>
                  <a:gd name="T25" fmla="*/ 121 h 356"/>
                  <a:gd name="T26" fmla="*/ 78 w 439"/>
                  <a:gd name="T27" fmla="*/ 108 h 356"/>
                  <a:gd name="T28" fmla="*/ 44 w 439"/>
                  <a:gd name="T29" fmla="*/ 87 h 356"/>
                  <a:gd name="T30" fmla="*/ 9 w 439"/>
                  <a:gd name="T31" fmla="*/ 74 h 356"/>
                  <a:gd name="T32" fmla="*/ 0 w 439"/>
                  <a:gd name="T33" fmla="*/ 52 h 356"/>
                  <a:gd name="T34" fmla="*/ 22 w 439"/>
                  <a:gd name="T35" fmla="*/ 43 h 356"/>
                  <a:gd name="T36" fmla="*/ 48 w 439"/>
                  <a:gd name="T37" fmla="*/ 61 h 356"/>
                  <a:gd name="T38" fmla="*/ 65 w 439"/>
                  <a:gd name="T39" fmla="*/ 74 h 356"/>
                  <a:gd name="T40" fmla="*/ 87 w 439"/>
                  <a:gd name="T41" fmla="*/ 74 h 356"/>
                  <a:gd name="T42" fmla="*/ 100 w 439"/>
                  <a:gd name="T43" fmla="*/ 56 h 356"/>
                  <a:gd name="T44" fmla="*/ 131 w 439"/>
                  <a:gd name="T45" fmla="*/ 74 h 356"/>
                  <a:gd name="T46" fmla="*/ 148 w 439"/>
                  <a:gd name="T47" fmla="*/ 43 h 356"/>
                  <a:gd name="T48" fmla="*/ 161 w 439"/>
                  <a:gd name="T49" fmla="*/ 43 h 356"/>
                  <a:gd name="T50" fmla="*/ 174 w 439"/>
                  <a:gd name="T51" fmla="*/ 8 h 356"/>
                  <a:gd name="T52" fmla="*/ 191 w 439"/>
                  <a:gd name="T53" fmla="*/ 0 h 356"/>
                  <a:gd name="T54" fmla="*/ 191 w 439"/>
                  <a:gd name="T55" fmla="*/ 8 h 356"/>
                  <a:gd name="T56" fmla="*/ 205 w 439"/>
                  <a:gd name="T57" fmla="*/ 30 h 356"/>
                  <a:gd name="T58" fmla="*/ 231 w 439"/>
                  <a:gd name="T59" fmla="*/ 43 h 356"/>
                  <a:gd name="T60" fmla="*/ 278 w 439"/>
                  <a:gd name="T61" fmla="*/ 56 h 356"/>
                  <a:gd name="T62" fmla="*/ 309 w 439"/>
                  <a:gd name="T63" fmla="*/ 117 h 356"/>
                  <a:gd name="T64" fmla="*/ 326 w 439"/>
                  <a:gd name="T65" fmla="*/ 139 h 356"/>
                  <a:gd name="T66" fmla="*/ 344 w 439"/>
                  <a:gd name="T67" fmla="*/ 187 h 356"/>
                  <a:gd name="T68" fmla="*/ 383 w 439"/>
                  <a:gd name="T69" fmla="*/ 200 h 356"/>
                  <a:gd name="T70" fmla="*/ 405 w 439"/>
                  <a:gd name="T71" fmla="*/ 226 h 356"/>
                  <a:gd name="T72" fmla="*/ 431 w 439"/>
                  <a:gd name="T73" fmla="*/ 239 h 356"/>
                  <a:gd name="T74" fmla="*/ 418 w 439"/>
                  <a:gd name="T75" fmla="*/ 256 h 356"/>
                  <a:gd name="T76" fmla="*/ 365 w 439"/>
                  <a:gd name="T77" fmla="*/ 252 h 356"/>
                  <a:gd name="T78" fmla="*/ 348 w 439"/>
                  <a:gd name="T79" fmla="*/ 239 h 356"/>
                  <a:gd name="T80" fmla="*/ 322 w 439"/>
                  <a:gd name="T81" fmla="*/ 248 h 356"/>
                  <a:gd name="T82" fmla="*/ 305 w 439"/>
                  <a:gd name="T83" fmla="*/ 261 h 356"/>
                  <a:gd name="T84" fmla="*/ 278 w 439"/>
                  <a:gd name="T85" fmla="*/ 235 h 356"/>
                  <a:gd name="T86" fmla="*/ 265 w 439"/>
                  <a:gd name="T87" fmla="*/ 243 h 356"/>
                  <a:gd name="T88" fmla="*/ 274 w 439"/>
                  <a:gd name="T89" fmla="*/ 248 h 356"/>
                  <a:gd name="T90" fmla="*/ 305 w 439"/>
                  <a:gd name="T91" fmla="*/ 261 h 356"/>
                  <a:gd name="T92" fmla="*/ 344 w 439"/>
                  <a:gd name="T93" fmla="*/ 248 h 356"/>
                  <a:gd name="T94" fmla="*/ 352 w 439"/>
                  <a:gd name="T95" fmla="*/ 261 h 356"/>
                  <a:gd name="T96" fmla="*/ 392 w 439"/>
                  <a:gd name="T97" fmla="*/ 274 h 356"/>
                  <a:gd name="T98" fmla="*/ 387 w 439"/>
                  <a:gd name="T99" fmla="*/ 313 h 356"/>
                  <a:gd name="T100" fmla="*/ 378 w 439"/>
                  <a:gd name="T101" fmla="*/ 326 h 356"/>
                  <a:gd name="T102" fmla="*/ 348 w 439"/>
                  <a:gd name="T103" fmla="*/ 356 h 356"/>
                  <a:gd name="T104" fmla="*/ 331 w 439"/>
                  <a:gd name="T105" fmla="*/ 343 h 356"/>
                  <a:gd name="T106" fmla="*/ 283 w 439"/>
                  <a:gd name="T107" fmla="*/ 330 h 356"/>
                  <a:gd name="T108" fmla="*/ 274 w 439"/>
                  <a:gd name="T109" fmla="*/ 235 h 356"/>
                  <a:gd name="T110" fmla="*/ 278 w 439"/>
                  <a:gd name="T111" fmla="*/ 248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39" h="356">
                    <a:moveTo>
                      <a:pt x="278" y="335"/>
                    </a:moveTo>
                    <a:lnTo>
                      <a:pt x="278" y="335"/>
                    </a:lnTo>
                    <a:lnTo>
                      <a:pt x="278" y="335"/>
                    </a:lnTo>
                    <a:lnTo>
                      <a:pt x="261" y="335"/>
                    </a:lnTo>
                    <a:lnTo>
                      <a:pt x="257" y="326"/>
                    </a:lnTo>
                    <a:lnTo>
                      <a:pt x="244" y="326"/>
                    </a:lnTo>
                    <a:lnTo>
                      <a:pt x="244" y="326"/>
                    </a:lnTo>
                    <a:lnTo>
                      <a:pt x="239" y="330"/>
                    </a:lnTo>
                    <a:lnTo>
                      <a:pt x="239" y="330"/>
                    </a:lnTo>
                    <a:lnTo>
                      <a:pt x="231" y="335"/>
                    </a:lnTo>
                    <a:lnTo>
                      <a:pt x="222" y="335"/>
                    </a:lnTo>
                    <a:lnTo>
                      <a:pt x="218" y="335"/>
                    </a:lnTo>
                    <a:lnTo>
                      <a:pt x="213" y="330"/>
                    </a:lnTo>
                    <a:lnTo>
                      <a:pt x="213" y="330"/>
                    </a:lnTo>
                    <a:lnTo>
                      <a:pt x="213" y="326"/>
                    </a:lnTo>
                    <a:lnTo>
                      <a:pt x="213" y="326"/>
                    </a:lnTo>
                    <a:lnTo>
                      <a:pt x="218" y="321"/>
                    </a:lnTo>
                    <a:lnTo>
                      <a:pt x="218" y="321"/>
                    </a:lnTo>
                    <a:lnTo>
                      <a:pt x="218" y="313"/>
                    </a:lnTo>
                    <a:lnTo>
                      <a:pt x="218" y="308"/>
                    </a:lnTo>
                    <a:lnTo>
                      <a:pt x="218" y="300"/>
                    </a:lnTo>
                    <a:lnTo>
                      <a:pt x="209" y="300"/>
                    </a:lnTo>
                    <a:lnTo>
                      <a:pt x="200" y="295"/>
                    </a:lnTo>
                    <a:lnTo>
                      <a:pt x="200" y="295"/>
                    </a:lnTo>
                    <a:lnTo>
                      <a:pt x="196" y="295"/>
                    </a:lnTo>
                    <a:lnTo>
                      <a:pt x="191" y="295"/>
                    </a:lnTo>
                    <a:lnTo>
                      <a:pt x="187" y="291"/>
                    </a:lnTo>
                    <a:lnTo>
                      <a:pt x="178" y="282"/>
                    </a:lnTo>
                    <a:lnTo>
                      <a:pt x="174" y="278"/>
                    </a:lnTo>
                    <a:lnTo>
                      <a:pt x="174" y="269"/>
                    </a:lnTo>
                    <a:lnTo>
                      <a:pt x="178" y="269"/>
                    </a:lnTo>
                    <a:lnTo>
                      <a:pt x="183" y="261"/>
                    </a:lnTo>
                    <a:lnTo>
                      <a:pt x="191" y="252"/>
                    </a:lnTo>
                    <a:lnTo>
                      <a:pt x="196" y="248"/>
                    </a:lnTo>
                    <a:lnTo>
                      <a:pt x="191" y="243"/>
                    </a:lnTo>
                    <a:lnTo>
                      <a:pt x="191" y="230"/>
                    </a:lnTo>
                    <a:lnTo>
                      <a:pt x="187" y="230"/>
                    </a:lnTo>
                    <a:lnTo>
                      <a:pt x="187" y="230"/>
                    </a:lnTo>
                    <a:lnTo>
                      <a:pt x="183" y="226"/>
                    </a:lnTo>
                    <a:lnTo>
                      <a:pt x="183" y="221"/>
                    </a:lnTo>
                    <a:lnTo>
                      <a:pt x="196" y="217"/>
                    </a:lnTo>
                    <a:lnTo>
                      <a:pt x="205" y="217"/>
                    </a:lnTo>
                    <a:lnTo>
                      <a:pt x="218" y="226"/>
                    </a:lnTo>
                    <a:lnTo>
                      <a:pt x="218" y="226"/>
                    </a:lnTo>
                    <a:lnTo>
                      <a:pt x="222" y="230"/>
                    </a:lnTo>
                    <a:lnTo>
                      <a:pt x="222" y="230"/>
                    </a:lnTo>
                    <a:lnTo>
                      <a:pt x="222" y="226"/>
                    </a:lnTo>
                    <a:lnTo>
                      <a:pt x="226" y="221"/>
                    </a:lnTo>
                    <a:lnTo>
                      <a:pt x="226" y="213"/>
                    </a:lnTo>
                    <a:lnTo>
                      <a:pt x="226" y="204"/>
                    </a:lnTo>
                    <a:lnTo>
                      <a:pt x="222" y="195"/>
                    </a:lnTo>
                    <a:lnTo>
                      <a:pt x="213" y="191"/>
                    </a:lnTo>
                    <a:lnTo>
                      <a:pt x="209" y="191"/>
                    </a:lnTo>
                    <a:lnTo>
                      <a:pt x="209" y="187"/>
                    </a:lnTo>
                    <a:lnTo>
                      <a:pt x="205" y="187"/>
                    </a:lnTo>
                    <a:lnTo>
                      <a:pt x="200" y="187"/>
                    </a:lnTo>
                    <a:lnTo>
                      <a:pt x="196" y="187"/>
                    </a:lnTo>
                    <a:lnTo>
                      <a:pt x="191" y="200"/>
                    </a:lnTo>
                    <a:lnTo>
                      <a:pt x="191" y="204"/>
                    </a:lnTo>
                    <a:lnTo>
                      <a:pt x="191" y="204"/>
                    </a:lnTo>
                    <a:lnTo>
                      <a:pt x="191" y="208"/>
                    </a:lnTo>
                    <a:lnTo>
                      <a:pt x="191" y="208"/>
                    </a:lnTo>
                    <a:lnTo>
                      <a:pt x="165" y="213"/>
                    </a:lnTo>
                    <a:lnTo>
                      <a:pt x="161" y="208"/>
                    </a:lnTo>
                    <a:lnTo>
                      <a:pt x="152" y="200"/>
                    </a:lnTo>
                    <a:lnTo>
                      <a:pt x="152" y="195"/>
                    </a:lnTo>
                    <a:lnTo>
                      <a:pt x="152" y="191"/>
                    </a:lnTo>
                    <a:lnTo>
                      <a:pt x="148" y="182"/>
                    </a:lnTo>
                    <a:lnTo>
                      <a:pt x="144" y="178"/>
                    </a:lnTo>
                    <a:lnTo>
                      <a:pt x="139" y="178"/>
                    </a:lnTo>
                    <a:lnTo>
                      <a:pt x="135" y="178"/>
                    </a:lnTo>
                    <a:lnTo>
                      <a:pt x="135" y="178"/>
                    </a:lnTo>
                    <a:lnTo>
                      <a:pt x="126" y="174"/>
                    </a:lnTo>
                    <a:lnTo>
                      <a:pt x="126" y="169"/>
                    </a:lnTo>
                    <a:lnTo>
                      <a:pt x="131" y="169"/>
                    </a:lnTo>
                    <a:lnTo>
                      <a:pt x="131" y="161"/>
                    </a:lnTo>
                    <a:lnTo>
                      <a:pt x="135" y="152"/>
                    </a:lnTo>
                    <a:lnTo>
                      <a:pt x="135" y="148"/>
                    </a:lnTo>
                    <a:lnTo>
                      <a:pt x="139" y="135"/>
                    </a:lnTo>
                    <a:lnTo>
                      <a:pt x="139" y="130"/>
                    </a:lnTo>
                    <a:lnTo>
                      <a:pt x="139" y="130"/>
                    </a:lnTo>
                    <a:lnTo>
                      <a:pt x="135" y="126"/>
                    </a:lnTo>
                    <a:lnTo>
                      <a:pt x="135" y="126"/>
                    </a:lnTo>
                    <a:lnTo>
                      <a:pt x="131" y="126"/>
                    </a:lnTo>
                    <a:lnTo>
                      <a:pt x="126" y="130"/>
                    </a:lnTo>
                    <a:lnTo>
                      <a:pt x="122" y="130"/>
                    </a:lnTo>
                    <a:lnTo>
                      <a:pt x="118" y="135"/>
                    </a:lnTo>
                    <a:lnTo>
                      <a:pt x="109" y="135"/>
                    </a:lnTo>
                    <a:lnTo>
                      <a:pt x="109" y="130"/>
                    </a:lnTo>
                    <a:lnTo>
                      <a:pt x="105" y="121"/>
                    </a:lnTo>
                    <a:lnTo>
                      <a:pt x="105" y="121"/>
                    </a:lnTo>
                    <a:lnTo>
                      <a:pt x="100" y="121"/>
                    </a:lnTo>
                    <a:lnTo>
                      <a:pt x="100" y="117"/>
                    </a:lnTo>
                    <a:lnTo>
                      <a:pt x="100" y="113"/>
                    </a:lnTo>
                    <a:lnTo>
                      <a:pt x="96" y="113"/>
                    </a:lnTo>
                    <a:lnTo>
                      <a:pt x="96" y="113"/>
                    </a:lnTo>
                    <a:lnTo>
                      <a:pt x="87" y="108"/>
                    </a:lnTo>
                    <a:lnTo>
                      <a:pt x="78" y="108"/>
                    </a:lnTo>
                    <a:lnTo>
                      <a:pt x="65" y="108"/>
                    </a:lnTo>
                    <a:lnTo>
                      <a:pt x="61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4" y="95"/>
                    </a:lnTo>
                    <a:lnTo>
                      <a:pt x="44" y="91"/>
                    </a:lnTo>
                    <a:lnTo>
                      <a:pt x="44" y="87"/>
                    </a:lnTo>
                    <a:lnTo>
                      <a:pt x="44" y="87"/>
                    </a:lnTo>
                    <a:lnTo>
                      <a:pt x="31" y="82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18" y="82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4" y="69"/>
                    </a:lnTo>
                    <a:lnTo>
                      <a:pt x="0" y="69"/>
                    </a:lnTo>
                    <a:lnTo>
                      <a:pt x="0" y="69"/>
                    </a:lnTo>
                    <a:lnTo>
                      <a:pt x="0" y="61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8"/>
                    </a:lnTo>
                    <a:lnTo>
                      <a:pt x="4" y="43"/>
                    </a:lnTo>
                    <a:lnTo>
                      <a:pt x="9" y="43"/>
                    </a:lnTo>
                    <a:lnTo>
                      <a:pt x="9" y="43"/>
                    </a:lnTo>
                    <a:lnTo>
                      <a:pt x="22" y="43"/>
                    </a:lnTo>
                    <a:lnTo>
                      <a:pt x="22" y="43"/>
                    </a:lnTo>
                    <a:lnTo>
                      <a:pt x="26" y="39"/>
                    </a:lnTo>
                    <a:lnTo>
                      <a:pt x="26" y="39"/>
                    </a:lnTo>
                    <a:lnTo>
                      <a:pt x="26" y="39"/>
                    </a:lnTo>
                    <a:lnTo>
                      <a:pt x="31" y="43"/>
                    </a:lnTo>
                    <a:lnTo>
                      <a:pt x="35" y="43"/>
                    </a:lnTo>
                    <a:lnTo>
                      <a:pt x="48" y="56"/>
                    </a:lnTo>
                    <a:lnTo>
                      <a:pt x="48" y="61"/>
                    </a:lnTo>
                    <a:lnTo>
                      <a:pt x="48" y="61"/>
                    </a:lnTo>
                    <a:lnTo>
                      <a:pt x="52" y="69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7" y="78"/>
                    </a:lnTo>
                    <a:lnTo>
                      <a:pt x="61" y="74"/>
                    </a:lnTo>
                    <a:lnTo>
                      <a:pt x="65" y="74"/>
                    </a:lnTo>
                    <a:lnTo>
                      <a:pt x="70" y="65"/>
                    </a:lnTo>
                    <a:lnTo>
                      <a:pt x="74" y="69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3" y="74"/>
                    </a:lnTo>
                    <a:lnTo>
                      <a:pt x="87" y="74"/>
                    </a:lnTo>
                    <a:lnTo>
                      <a:pt x="87" y="74"/>
                    </a:lnTo>
                    <a:lnTo>
                      <a:pt x="91" y="69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96" y="65"/>
                    </a:lnTo>
                    <a:lnTo>
                      <a:pt x="100" y="65"/>
                    </a:lnTo>
                    <a:lnTo>
                      <a:pt x="100" y="61"/>
                    </a:lnTo>
                    <a:lnTo>
                      <a:pt x="100" y="56"/>
                    </a:lnTo>
                    <a:lnTo>
                      <a:pt x="100" y="52"/>
                    </a:lnTo>
                    <a:lnTo>
                      <a:pt x="109" y="52"/>
                    </a:lnTo>
                    <a:lnTo>
                      <a:pt x="118" y="52"/>
                    </a:lnTo>
                    <a:lnTo>
                      <a:pt x="122" y="52"/>
                    </a:lnTo>
                    <a:lnTo>
                      <a:pt x="126" y="61"/>
                    </a:lnTo>
                    <a:lnTo>
                      <a:pt x="126" y="65"/>
                    </a:lnTo>
                    <a:lnTo>
                      <a:pt x="131" y="74"/>
                    </a:lnTo>
                    <a:lnTo>
                      <a:pt x="144" y="69"/>
                    </a:lnTo>
                    <a:lnTo>
                      <a:pt x="144" y="65"/>
                    </a:lnTo>
                    <a:lnTo>
                      <a:pt x="144" y="61"/>
                    </a:lnTo>
                    <a:lnTo>
                      <a:pt x="144" y="61"/>
                    </a:lnTo>
                    <a:lnTo>
                      <a:pt x="144" y="56"/>
                    </a:lnTo>
                    <a:lnTo>
                      <a:pt x="144" y="52"/>
                    </a:lnTo>
                    <a:lnTo>
                      <a:pt x="148" y="43"/>
                    </a:lnTo>
                    <a:lnTo>
                      <a:pt x="148" y="43"/>
                    </a:lnTo>
                    <a:lnTo>
                      <a:pt x="152" y="43"/>
                    </a:lnTo>
                    <a:lnTo>
                      <a:pt x="152" y="43"/>
                    </a:lnTo>
                    <a:lnTo>
                      <a:pt x="157" y="39"/>
                    </a:lnTo>
                    <a:lnTo>
                      <a:pt x="157" y="43"/>
                    </a:lnTo>
                    <a:lnTo>
                      <a:pt x="161" y="43"/>
                    </a:lnTo>
                    <a:lnTo>
                      <a:pt x="161" y="43"/>
                    </a:lnTo>
                    <a:lnTo>
                      <a:pt x="165" y="39"/>
                    </a:lnTo>
                    <a:lnTo>
                      <a:pt x="165" y="39"/>
                    </a:lnTo>
                    <a:lnTo>
                      <a:pt x="170" y="17"/>
                    </a:lnTo>
                    <a:lnTo>
                      <a:pt x="170" y="13"/>
                    </a:lnTo>
                    <a:lnTo>
                      <a:pt x="170" y="13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4" y="8"/>
                    </a:lnTo>
                    <a:lnTo>
                      <a:pt x="178" y="8"/>
                    </a:lnTo>
                    <a:lnTo>
                      <a:pt x="183" y="8"/>
                    </a:lnTo>
                    <a:lnTo>
                      <a:pt x="183" y="4"/>
                    </a:lnTo>
                    <a:lnTo>
                      <a:pt x="187" y="4"/>
                    </a:lnTo>
                    <a:lnTo>
                      <a:pt x="187" y="0"/>
                    </a:lnTo>
                    <a:lnTo>
                      <a:pt x="191" y="0"/>
                    </a:lnTo>
                    <a:lnTo>
                      <a:pt x="196" y="0"/>
                    </a:lnTo>
                    <a:lnTo>
                      <a:pt x="196" y="0"/>
                    </a:lnTo>
                    <a:lnTo>
                      <a:pt x="196" y="0"/>
                    </a:lnTo>
                    <a:lnTo>
                      <a:pt x="200" y="4"/>
                    </a:lnTo>
                    <a:lnTo>
                      <a:pt x="196" y="4"/>
                    </a:lnTo>
                    <a:lnTo>
                      <a:pt x="191" y="4"/>
                    </a:lnTo>
                    <a:lnTo>
                      <a:pt x="191" y="8"/>
                    </a:lnTo>
                    <a:lnTo>
                      <a:pt x="191" y="17"/>
                    </a:lnTo>
                    <a:lnTo>
                      <a:pt x="196" y="30"/>
                    </a:lnTo>
                    <a:lnTo>
                      <a:pt x="200" y="30"/>
                    </a:lnTo>
                    <a:lnTo>
                      <a:pt x="200" y="30"/>
                    </a:lnTo>
                    <a:lnTo>
                      <a:pt x="205" y="30"/>
                    </a:lnTo>
                    <a:lnTo>
                      <a:pt x="205" y="30"/>
                    </a:lnTo>
                    <a:lnTo>
                      <a:pt x="205" y="30"/>
                    </a:lnTo>
                    <a:lnTo>
                      <a:pt x="209" y="26"/>
                    </a:lnTo>
                    <a:lnTo>
                      <a:pt x="213" y="26"/>
                    </a:lnTo>
                    <a:lnTo>
                      <a:pt x="213" y="30"/>
                    </a:lnTo>
                    <a:lnTo>
                      <a:pt x="218" y="30"/>
                    </a:lnTo>
                    <a:lnTo>
                      <a:pt x="218" y="35"/>
                    </a:lnTo>
                    <a:lnTo>
                      <a:pt x="222" y="39"/>
                    </a:lnTo>
                    <a:lnTo>
                      <a:pt x="231" y="43"/>
                    </a:lnTo>
                    <a:lnTo>
                      <a:pt x="244" y="48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7" y="48"/>
                    </a:lnTo>
                    <a:lnTo>
                      <a:pt x="278" y="56"/>
                    </a:lnTo>
                    <a:lnTo>
                      <a:pt x="283" y="65"/>
                    </a:lnTo>
                    <a:lnTo>
                      <a:pt x="287" y="69"/>
                    </a:lnTo>
                    <a:lnTo>
                      <a:pt x="291" y="78"/>
                    </a:lnTo>
                    <a:lnTo>
                      <a:pt x="291" y="82"/>
                    </a:lnTo>
                    <a:lnTo>
                      <a:pt x="300" y="100"/>
                    </a:lnTo>
                    <a:lnTo>
                      <a:pt x="305" y="108"/>
                    </a:lnTo>
                    <a:lnTo>
                      <a:pt x="309" y="117"/>
                    </a:lnTo>
                    <a:lnTo>
                      <a:pt x="313" y="121"/>
                    </a:lnTo>
                    <a:lnTo>
                      <a:pt x="318" y="121"/>
                    </a:lnTo>
                    <a:lnTo>
                      <a:pt x="318" y="121"/>
                    </a:lnTo>
                    <a:lnTo>
                      <a:pt x="318" y="126"/>
                    </a:lnTo>
                    <a:lnTo>
                      <a:pt x="322" y="130"/>
                    </a:lnTo>
                    <a:lnTo>
                      <a:pt x="322" y="135"/>
                    </a:lnTo>
                    <a:lnTo>
                      <a:pt x="326" y="139"/>
                    </a:lnTo>
                    <a:lnTo>
                      <a:pt x="335" y="143"/>
                    </a:lnTo>
                    <a:lnTo>
                      <a:pt x="335" y="148"/>
                    </a:lnTo>
                    <a:lnTo>
                      <a:pt x="344" y="161"/>
                    </a:lnTo>
                    <a:lnTo>
                      <a:pt x="344" y="165"/>
                    </a:lnTo>
                    <a:lnTo>
                      <a:pt x="344" y="174"/>
                    </a:lnTo>
                    <a:lnTo>
                      <a:pt x="344" y="182"/>
                    </a:lnTo>
                    <a:lnTo>
                      <a:pt x="344" y="187"/>
                    </a:lnTo>
                    <a:lnTo>
                      <a:pt x="344" y="187"/>
                    </a:lnTo>
                    <a:lnTo>
                      <a:pt x="344" y="191"/>
                    </a:lnTo>
                    <a:lnTo>
                      <a:pt x="352" y="191"/>
                    </a:lnTo>
                    <a:lnTo>
                      <a:pt x="365" y="195"/>
                    </a:lnTo>
                    <a:lnTo>
                      <a:pt x="374" y="200"/>
                    </a:lnTo>
                    <a:lnTo>
                      <a:pt x="378" y="200"/>
                    </a:lnTo>
                    <a:lnTo>
                      <a:pt x="383" y="200"/>
                    </a:lnTo>
                    <a:lnTo>
                      <a:pt x="383" y="200"/>
                    </a:lnTo>
                    <a:lnTo>
                      <a:pt x="392" y="204"/>
                    </a:lnTo>
                    <a:lnTo>
                      <a:pt x="392" y="217"/>
                    </a:lnTo>
                    <a:lnTo>
                      <a:pt x="392" y="217"/>
                    </a:lnTo>
                    <a:lnTo>
                      <a:pt x="396" y="226"/>
                    </a:lnTo>
                    <a:lnTo>
                      <a:pt x="400" y="226"/>
                    </a:lnTo>
                    <a:lnTo>
                      <a:pt x="405" y="226"/>
                    </a:lnTo>
                    <a:lnTo>
                      <a:pt x="405" y="226"/>
                    </a:lnTo>
                    <a:lnTo>
                      <a:pt x="413" y="226"/>
                    </a:lnTo>
                    <a:lnTo>
                      <a:pt x="418" y="230"/>
                    </a:lnTo>
                    <a:lnTo>
                      <a:pt x="418" y="230"/>
                    </a:lnTo>
                    <a:lnTo>
                      <a:pt x="422" y="230"/>
                    </a:lnTo>
                    <a:lnTo>
                      <a:pt x="431" y="239"/>
                    </a:lnTo>
                    <a:lnTo>
                      <a:pt x="431" y="239"/>
                    </a:lnTo>
                    <a:lnTo>
                      <a:pt x="435" y="248"/>
                    </a:lnTo>
                    <a:lnTo>
                      <a:pt x="435" y="252"/>
                    </a:lnTo>
                    <a:lnTo>
                      <a:pt x="439" y="256"/>
                    </a:lnTo>
                    <a:lnTo>
                      <a:pt x="435" y="256"/>
                    </a:lnTo>
                    <a:lnTo>
                      <a:pt x="431" y="256"/>
                    </a:lnTo>
                    <a:lnTo>
                      <a:pt x="426" y="256"/>
                    </a:lnTo>
                    <a:lnTo>
                      <a:pt x="418" y="256"/>
                    </a:lnTo>
                    <a:lnTo>
                      <a:pt x="418" y="256"/>
                    </a:lnTo>
                    <a:lnTo>
                      <a:pt x="413" y="256"/>
                    </a:lnTo>
                    <a:lnTo>
                      <a:pt x="405" y="252"/>
                    </a:lnTo>
                    <a:lnTo>
                      <a:pt x="400" y="252"/>
                    </a:lnTo>
                    <a:lnTo>
                      <a:pt x="392" y="248"/>
                    </a:lnTo>
                    <a:lnTo>
                      <a:pt x="374" y="252"/>
                    </a:lnTo>
                    <a:lnTo>
                      <a:pt x="365" y="252"/>
                    </a:lnTo>
                    <a:lnTo>
                      <a:pt x="361" y="248"/>
                    </a:lnTo>
                    <a:lnTo>
                      <a:pt x="361" y="248"/>
                    </a:lnTo>
                    <a:lnTo>
                      <a:pt x="357" y="248"/>
                    </a:lnTo>
                    <a:lnTo>
                      <a:pt x="357" y="243"/>
                    </a:lnTo>
                    <a:lnTo>
                      <a:pt x="352" y="243"/>
                    </a:lnTo>
                    <a:lnTo>
                      <a:pt x="352" y="243"/>
                    </a:lnTo>
                    <a:lnTo>
                      <a:pt x="348" y="239"/>
                    </a:lnTo>
                    <a:lnTo>
                      <a:pt x="344" y="239"/>
                    </a:lnTo>
                    <a:lnTo>
                      <a:pt x="339" y="239"/>
                    </a:lnTo>
                    <a:lnTo>
                      <a:pt x="335" y="239"/>
                    </a:lnTo>
                    <a:lnTo>
                      <a:pt x="331" y="239"/>
                    </a:lnTo>
                    <a:lnTo>
                      <a:pt x="326" y="239"/>
                    </a:lnTo>
                    <a:lnTo>
                      <a:pt x="326" y="243"/>
                    </a:lnTo>
                    <a:lnTo>
                      <a:pt x="322" y="248"/>
                    </a:lnTo>
                    <a:lnTo>
                      <a:pt x="318" y="252"/>
                    </a:lnTo>
                    <a:lnTo>
                      <a:pt x="318" y="252"/>
                    </a:lnTo>
                    <a:lnTo>
                      <a:pt x="313" y="256"/>
                    </a:lnTo>
                    <a:lnTo>
                      <a:pt x="313" y="256"/>
                    </a:lnTo>
                    <a:lnTo>
                      <a:pt x="313" y="256"/>
                    </a:lnTo>
                    <a:lnTo>
                      <a:pt x="309" y="256"/>
                    </a:lnTo>
                    <a:lnTo>
                      <a:pt x="305" y="261"/>
                    </a:lnTo>
                    <a:lnTo>
                      <a:pt x="300" y="256"/>
                    </a:lnTo>
                    <a:lnTo>
                      <a:pt x="296" y="256"/>
                    </a:lnTo>
                    <a:lnTo>
                      <a:pt x="291" y="252"/>
                    </a:lnTo>
                    <a:lnTo>
                      <a:pt x="287" y="248"/>
                    </a:lnTo>
                    <a:lnTo>
                      <a:pt x="287" y="243"/>
                    </a:lnTo>
                    <a:lnTo>
                      <a:pt x="283" y="239"/>
                    </a:lnTo>
                    <a:lnTo>
                      <a:pt x="278" y="235"/>
                    </a:lnTo>
                    <a:lnTo>
                      <a:pt x="278" y="230"/>
                    </a:lnTo>
                    <a:lnTo>
                      <a:pt x="274" y="230"/>
                    </a:lnTo>
                    <a:lnTo>
                      <a:pt x="274" y="230"/>
                    </a:lnTo>
                    <a:lnTo>
                      <a:pt x="270" y="230"/>
                    </a:lnTo>
                    <a:lnTo>
                      <a:pt x="265" y="235"/>
                    </a:lnTo>
                    <a:lnTo>
                      <a:pt x="265" y="239"/>
                    </a:lnTo>
                    <a:lnTo>
                      <a:pt x="265" y="243"/>
                    </a:lnTo>
                    <a:lnTo>
                      <a:pt x="265" y="243"/>
                    </a:lnTo>
                    <a:lnTo>
                      <a:pt x="265" y="239"/>
                    </a:lnTo>
                    <a:lnTo>
                      <a:pt x="270" y="239"/>
                    </a:lnTo>
                    <a:lnTo>
                      <a:pt x="270" y="239"/>
                    </a:lnTo>
                    <a:lnTo>
                      <a:pt x="274" y="243"/>
                    </a:lnTo>
                    <a:lnTo>
                      <a:pt x="274" y="243"/>
                    </a:lnTo>
                    <a:lnTo>
                      <a:pt x="274" y="248"/>
                    </a:lnTo>
                    <a:lnTo>
                      <a:pt x="278" y="248"/>
                    </a:lnTo>
                    <a:lnTo>
                      <a:pt x="283" y="252"/>
                    </a:lnTo>
                    <a:lnTo>
                      <a:pt x="283" y="256"/>
                    </a:lnTo>
                    <a:lnTo>
                      <a:pt x="287" y="256"/>
                    </a:lnTo>
                    <a:lnTo>
                      <a:pt x="296" y="261"/>
                    </a:lnTo>
                    <a:lnTo>
                      <a:pt x="305" y="261"/>
                    </a:lnTo>
                    <a:lnTo>
                      <a:pt x="305" y="261"/>
                    </a:lnTo>
                    <a:lnTo>
                      <a:pt x="309" y="261"/>
                    </a:lnTo>
                    <a:lnTo>
                      <a:pt x="313" y="261"/>
                    </a:lnTo>
                    <a:lnTo>
                      <a:pt x="318" y="261"/>
                    </a:lnTo>
                    <a:lnTo>
                      <a:pt x="322" y="252"/>
                    </a:lnTo>
                    <a:lnTo>
                      <a:pt x="326" y="248"/>
                    </a:lnTo>
                    <a:lnTo>
                      <a:pt x="331" y="248"/>
                    </a:lnTo>
                    <a:lnTo>
                      <a:pt x="344" y="248"/>
                    </a:lnTo>
                    <a:lnTo>
                      <a:pt x="348" y="248"/>
                    </a:lnTo>
                    <a:lnTo>
                      <a:pt x="352" y="256"/>
                    </a:lnTo>
                    <a:lnTo>
                      <a:pt x="352" y="261"/>
                    </a:lnTo>
                    <a:lnTo>
                      <a:pt x="352" y="261"/>
                    </a:lnTo>
                    <a:lnTo>
                      <a:pt x="348" y="256"/>
                    </a:lnTo>
                    <a:lnTo>
                      <a:pt x="348" y="261"/>
                    </a:lnTo>
                    <a:lnTo>
                      <a:pt x="352" y="261"/>
                    </a:lnTo>
                    <a:lnTo>
                      <a:pt x="361" y="265"/>
                    </a:lnTo>
                    <a:lnTo>
                      <a:pt x="361" y="265"/>
                    </a:lnTo>
                    <a:lnTo>
                      <a:pt x="365" y="265"/>
                    </a:lnTo>
                    <a:lnTo>
                      <a:pt x="370" y="265"/>
                    </a:lnTo>
                    <a:lnTo>
                      <a:pt x="378" y="265"/>
                    </a:lnTo>
                    <a:lnTo>
                      <a:pt x="392" y="269"/>
                    </a:lnTo>
                    <a:lnTo>
                      <a:pt x="392" y="274"/>
                    </a:lnTo>
                    <a:lnTo>
                      <a:pt x="400" y="282"/>
                    </a:lnTo>
                    <a:lnTo>
                      <a:pt x="392" y="282"/>
                    </a:lnTo>
                    <a:lnTo>
                      <a:pt x="387" y="287"/>
                    </a:lnTo>
                    <a:lnTo>
                      <a:pt x="387" y="291"/>
                    </a:lnTo>
                    <a:lnTo>
                      <a:pt x="383" y="308"/>
                    </a:lnTo>
                    <a:lnTo>
                      <a:pt x="387" y="313"/>
                    </a:lnTo>
                    <a:lnTo>
                      <a:pt x="387" y="313"/>
                    </a:lnTo>
                    <a:lnTo>
                      <a:pt x="383" y="317"/>
                    </a:lnTo>
                    <a:lnTo>
                      <a:pt x="378" y="317"/>
                    </a:lnTo>
                    <a:lnTo>
                      <a:pt x="374" y="317"/>
                    </a:lnTo>
                    <a:lnTo>
                      <a:pt x="374" y="317"/>
                    </a:lnTo>
                    <a:lnTo>
                      <a:pt x="370" y="317"/>
                    </a:lnTo>
                    <a:lnTo>
                      <a:pt x="374" y="326"/>
                    </a:lnTo>
                    <a:lnTo>
                      <a:pt x="378" y="326"/>
                    </a:lnTo>
                    <a:lnTo>
                      <a:pt x="374" y="330"/>
                    </a:lnTo>
                    <a:lnTo>
                      <a:pt x="370" y="330"/>
                    </a:lnTo>
                    <a:lnTo>
                      <a:pt x="365" y="330"/>
                    </a:lnTo>
                    <a:lnTo>
                      <a:pt x="361" y="335"/>
                    </a:lnTo>
                    <a:lnTo>
                      <a:pt x="361" y="335"/>
                    </a:lnTo>
                    <a:lnTo>
                      <a:pt x="361" y="343"/>
                    </a:lnTo>
                    <a:lnTo>
                      <a:pt x="348" y="356"/>
                    </a:lnTo>
                    <a:lnTo>
                      <a:pt x="348" y="352"/>
                    </a:lnTo>
                    <a:lnTo>
                      <a:pt x="348" y="352"/>
                    </a:lnTo>
                    <a:lnTo>
                      <a:pt x="344" y="348"/>
                    </a:lnTo>
                    <a:lnTo>
                      <a:pt x="344" y="343"/>
                    </a:lnTo>
                    <a:lnTo>
                      <a:pt x="335" y="343"/>
                    </a:lnTo>
                    <a:lnTo>
                      <a:pt x="335" y="343"/>
                    </a:lnTo>
                    <a:lnTo>
                      <a:pt x="331" y="343"/>
                    </a:lnTo>
                    <a:lnTo>
                      <a:pt x="322" y="343"/>
                    </a:lnTo>
                    <a:lnTo>
                      <a:pt x="318" y="343"/>
                    </a:lnTo>
                    <a:lnTo>
                      <a:pt x="309" y="339"/>
                    </a:lnTo>
                    <a:lnTo>
                      <a:pt x="305" y="335"/>
                    </a:lnTo>
                    <a:lnTo>
                      <a:pt x="300" y="326"/>
                    </a:lnTo>
                    <a:lnTo>
                      <a:pt x="287" y="330"/>
                    </a:lnTo>
                    <a:lnTo>
                      <a:pt x="283" y="330"/>
                    </a:lnTo>
                    <a:lnTo>
                      <a:pt x="283" y="335"/>
                    </a:lnTo>
                    <a:lnTo>
                      <a:pt x="278" y="335"/>
                    </a:lnTo>
                    <a:close/>
                    <a:moveTo>
                      <a:pt x="270" y="235"/>
                    </a:moveTo>
                    <a:lnTo>
                      <a:pt x="270" y="235"/>
                    </a:lnTo>
                    <a:lnTo>
                      <a:pt x="270" y="235"/>
                    </a:lnTo>
                    <a:lnTo>
                      <a:pt x="270" y="235"/>
                    </a:lnTo>
                    <a:lnTo>
                      <a:pt x="274" y="235"/>
                    </a:lnTo>
                    <a:lnTo>
                      <a:pt x="274" y="235"/>
                    </a:lnTo>
                    <a:lnTo>
                      <a:pt x="274" y="235"/>
                    </a:lnTo>
                    <a:lnTo>
                      <a:pt x="278" y="235"/>
                    </a:lnTo>
                    <a:lnTo>
                      <a:pt x="278" y="235"/>
                    </a:lnTo>
                    <a:lnTo>
                      <a:pt x="278" y="235"/>
                    </a:lnTo>
                    <a:lnTo>
                      <a:pt x="287" y="252"/>
                    </a:lnTo>
                    <a:lnTo>
                      <a:pt x="278" y="248"/>
                    </a:lnTo>
                    <a:lnTo>
                      <a:pt x="278" y="239"/>
                    </a:lnTo>
                    <a:lnTo>
                      <a:pt x="274" y="239"/>
                    </a:lnTo>
                    <a:lnTo>
                      <a:pt x="274" y="239"/>
                    </a:lnTo>
                    <a:lnTo>
                      <a:pt x="270" y="239"/>
                    </a:lnTo>
                    <a:lnTo>
                      <a:pt x="270" y="235"/>
                    </a:lnTo>
                    <a:close/>
                  </a:path>
                </a:pathLst>
              </a:custGeom>
              <a:solidFill>
                <a:srgbClr val="D7D2CB"/>
              </a:solidFill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45" name="Freeform 51">
                <a:extLst>
                  <a:ext uri="{FF2B5EF4-FFF2-40B4-BE49-F238E27FC236}">
                    <a16:creationId xmlns:a16="http://schemas.microsoft.com/office/drawing/2014/main" id="{16BBDA33-B58D-D5CF-0ADE-42FC0FC7EF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6116" y="4371305"/>
                <a:ext cx="622905" cy="581025"/>
              </a:xfrm>
              <a:custGeom>
                <a:avLst/>
                <a:gdLst>
                  <a:gd name="T0" fmla="*/ 2839 w 3791"/>
                  <a:gd name="T1" fmla="*/ 214 h 3582"/>
                  <a:gd name="T2" fmla="*/ 2559 w 3791"/>
                  <a:gd name="T3" fmla="*/ 65 h 3582"/>
                  <a:gd name="T4" fmla="*/ 2346 w 3791"/>
                  <a:gd name="T5" fmla="*/ 181 h 3582"/>
                  <a:gd name="T6" fmla="*/ 2485 w 3791"/>
                  <a:gd name="T7" fmla="*/ 502 h 3582"/>
                  <a:gd name="T8" fmla="*/ 2280 w 3791"/>
                  <a:gd name="T9" fmla="*/ 707 h 3582"/>
                  <a:gd name="T10" fmla="*/ 2148 w 3791"/>
                  <a:gd name="T11" fmla="*/ 905 h 3582"/>
                  <a:gd name="T12" fmla="*/ 2156 w 3791"/>
                  <a:gd name="T13" fmla="*/ 1028 h 3582"/>
                  <a:gd name="T14" fmla="*/ 2033 w 3791"/>
                  <a:gd name="T15" fmla="*/ 1226 h 3582"/>
                  <a:gd name="T16" fmla="*/ 1876 w 3791"/>
                  <a:gd name="T17" fmla="*/ 1201 h 3582"/>
                  <a:gd name="T18" fmla="*/ 1704 w 3791"/>
                  <a:gd name="T19" fmla="*/ 1291 h 3582"/>
                  <a:gd name="T20" fmla="*/ 1720 w 3791"/>
                  <a:gd name="T21" fmla="*/ 1464 h 3582"/>
                  <a:gd name="T22" fmla="*/ 1597 w 3791"/>
                  <a:gd name="T23" fmla="*/ 1629 h 3582"/>
                  <a:gd name="T24" fmla="*/ 1399 w 3791"/>
                  <a:gd name="T25" fmla="*/ 1925 h 3582"/>
                  <a:gd name="T26" fmla="*/ 1070 w 3791"/>
                  <a:gd name="T27" fmla="*/ 1835 h 3582"/>
                  <a:gd name="T28" fmla="*/ 873 w 3791"/>
                  <a:gd name="T29" fmla="*/ 1769 h 3582"/>
                  <a:gd name="T30" fmla="*/ 700 w 3791"/>
                  <a:gd name="T31" fmla="*/ 1777 h 3582"/>
                  <a:gd name="T32" fmla="*/ 568 w 3791"/>
                  <a:gd name="T33" fmla="*/ 1662 h 3582"/>
                  <a:gd name="T34" fmla="*/ 264 w 3791"/>
                  <a:gd name="T35" fmla="*/ 1752 h 3582"/>
                  <a:gd name="T36" fmla="*/ 190 w 3791"/>
                  <a:gd name="T37" fmla="*/ 1843 h 3582"/>
                  <a:gd name="T38" fmla="*/ 247 w 3791"/>
                  <a:gd name="T39" fmla="*/ 2139 h 3582"/>
                  <a:gd name="T40" fmla="*/ 42 w 3791"/>
                  <a:gd name="T41" fmla="*/ 2328 h 3582"/>
                  <a:gd name="T42" fmla="*/ 83 w 3791"/>
                  <a:gd name="T43" fmla="*/ 2608 h 3582"/>
                  <a:gd name="T44" fmla="*/ 371 w 3791"/>
                  <a:gd name="T45" fmla="*/ 2880 h 3582"/>
                  <a:gd name="T46" fmla="*/ 782 w 3791"/>
                  <a:gd name="T47" fmla="*/ 3085 h 3582"/>
                  <a:gd name="T48" fmla="*/ 980 w 3791"/>
                  <a:gd name="T49" fmla="*/ 3299 h 3582"/>
                  <a:gd name="T50" fmla="*/ 1194 w 3791"/>
                  <a:gd name="T51" fmla="*/ 3250 h 3582"/>
                  <a:gd name="T52" fmla="*/ 1383 w 3791"/>
                  <a:gd name="T53" fmla="*/ 2995 h 3582"/>
                  <a:gd name="T54" fmla="*/ 1654 w 3791"/>
                  <a:gd name="T55" fmla="*/ 3044 h 3582"/>
                  <a:gd name="T56" fmla="*/ 1654 w 3791"/>
                  <a:gd name="T57" fmla="*/ 2880 h 3582"/>
                  <a:gd name="T58" fmla="*/ 1786 w 3791"/>
                  <a:gd name="T59" fmla="*/ 2723 h 3582"/>
                  <a:gd name="T60" fmla="*/ 2099 w 3791"/>
                  <a:gd name="T61" fmla="*/ 2871 h 3582"/>
                  <a:gd name="T62" fmla="*/ 2271 w 3791"/>
                  <a:gd name="T63" fmla="*/ 2822 h 3582"/>
                  <a:gd name="T64" fmla="*/ 2485 w 3791"/>
                  <a:gd name="T65" fmla="*/ 3200 h 3582"/>
                  <a:gd name="T66" fmla="*/ 2584 w 3791"/>
                  <a:gd name="T67" fmla="*/ 3299 h 3582"/>
                  <a:gd name="T68" fmla="*/ 2724 w 3791"/>
                  <a:gd name="T69" fmla="*/ 3365 h 3582"/>
                  <a:gd name="T70" fmla="*/ 2815 w 3791"/>
                  <a:gd name="T71" fmla="*/ 3530 h 3582"/>
                  <a:gd name="T72" fmla="*/ 3004 w 3791"/>
                  <a:gd name="T73" fmla="*/ 3521 h 3582"/>
                  <a:gd name="T74" fmla="*/ 3177 w 3791"/>
                  <a:gd name="T75" fmla="*/ 3176 h 3582"/>
                  <a:gd name="T76" fmla="*/ 3152 w 3791"/>
                  <a:gd name="T77" fmla="*/ 2880 h 3582"/>
                  <a:gd name="T78" fmla="*/ 3144 w 3791"/>
                  <a:gd name="T79" fmla="*/ 2773 h 3582"/>
                  <a:gd name="T80" fmla="*/ 2938 w 3791"/>
                  <a:gd name="T81" fmla="*/ 2518 h 3582"/>
                  <a:gd name="T82" fmla="*/ 2806 w 3791"/>
                  <a:gd name="T83" fmla="*/ 2452 h 3582"/>
                  <a:gd name="T84" fmla="*/ 2716 w 3791"/>
                  <a:gd name="T85" fmla="*/ 2254 h 3582"/>
                  <a:gd name="T86" fmla="*/ 2551 w 3791"/>
                  <a:gd name="T87" fmla="*/ 2147 h 3582"/>
                  <a:gd name="T88" fmla="*/ 2436 w 3791"/>
                  <a:gd name="T89" fmla="*/ 2139 h 3582"/>
                  <a:gd name="T90" fmla="*/ 2527 w 3791"/>
                  <a:gd name="T91" fmla="*/ 1909 h 3582"/>
                  <a:gd name="T92" fmla="*/ 2527 w 3791"/>
                  <a:gd name="T93" fmla="*/ 1703 h 3582"/>
                  <a:gd name="T94" fmla="*/ 2642 w 3791"/>
                  <a:gd name="T95" fmla="*/ 1489 h 3582"/>
                  <a:gd name="T96" fmla="*/ 2806 w 3791"/>
                  <a:gd name="T97" fmla="*/ 1522 h 3582"/>
                  <a:gd name="T98" fmla="*/ 3012 w 3791"/>
                  <a:gd name="T99" fmla="*/ 1489 h 3582"/>
                  <a:gd name="T100" fmla="*/ 3177 w 3791"/>
                  <a:gd name="T101" fmla="*/ 1505 h 3582"/>
                  <a:gd name="T102" fmla="*/ 3325 w 3791"/>
                  <a:gd name="T103" fmla="*/ 1374 h 3582"/>
                  <a:gd name="T104" fmla="*/ 3481 w 3791"/>
                  <a:gd name="T105" fmla="*/ 1184 h 3582"/>
                  <a:gd name="T106" fmla="*/ 3777 w 3791"/>
                  <a:gd name="T107" fmla="*/ 1102 h 3582"/>
                  <a:gd name="T108" fmla="*/ 3744 w 3791"/>
                  <a:gd name="T109" fmla="*/ 707 h 3582"/>
                  <a:gd name="T110" fmla="*/ 3448 w 3791"/>
                  <a:gd name="T111" fmla="*/ 551 h 3582"/>
                  <a:gd name="T112" fmla="*/ 3037 w 3791"/>
                  <a:gd name="T113" fmla="*/ 362 h 3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791" h="3582">
                    <a:moveTo>
                      <a:pt x="3078" y="345"/>
                    </a:moveTo>
                    <a:cubicBezTo>
                      <a:pt x="3037" y="339"/>
                      <a:pt x="3015" y="340"/>
                      <a:pt x="2987" y="312"/>
                    </a:cubicBezTo>
                    <a:cubicBezTo>
                      <a:pt x="2982" y="296"/>
                      <a:pt x="2985" y="273"/>
                      <a:pt x="2971" y="263"/>
                    </a:cubicBezTo>
                    <a:cubicBezTo>
                      <a:pt x="2930" y="235"/>
                      <a:pt x="2885" y="229"/>
                      <a:pt x="2839" y="214"/>
                    </a:cubicBezTo>
                    <a:cubicBezTo>
                      <a:pt x="2795" y="167"/>
                      <a:pt x="2738" y="138"/>
                      <a:pt x="2675" y="123"/>
                    </a:cubicBezTo>
                    <a:cubicBezTo>
                      <a:pt x="2669" y="118"/>
                      <a:pt x="2662" y="114"/>
                      <a:pt x="2658" y="107"/>
                    </a:cubicBezTo>
                    <a:cubicBezTo>
                      <a:pt x="2653" y="100"/>
                      <a:pt x="2656" y="88"/>
                      <a:pt x="2650" y="82"/>
                    </a:cubicBezTo>
                    <a:cubicBezTo>
                      <a:pt x="2628" y="60"/>
                      <a:pt x="2590" y="69"/>
                      <a:pt x="2559" y="65"/>
                    </a:cubicBezTo>
                    <a:cubicBezTo>
                      <a:pt x="2522" y="9"/>
                      <a:pt x="2546" y="22"/>
                      <a:pt x="2502" y="8"/>
                    </a:cubicBezTo>
                    <a:cubicBezTo>
                      <a:pt x="2392" y="16"/>
                      <a:pt x="2341" y="0"/>
                      <a:pt x="2411" y="74"/>
                    </a:cubicBezTo>
                    <a:cubicBezTo>
                      <a:pt x="2426" y="113"/>
                      <a:pt x="2414" y="111"/>
                      <a:pt x="2378" y="123"/>
                    </a:cubicBezTo>
                    <a:cubicBezTo>
                      <a:pt x="2345" y="145"/>
                      <a:pt x="2331" y="141"/>
                      <a:pt x="2346" y="181"/>
                    </a:cubicBezTo>
                    <a:cubicBezTo>
                      <a:pt x="2295" y="197"/>
                      <a:pt x="2290" y="214"/>
                      <a:pt x="2329" y="255"/>
                    </a:cubicBezTo>
                    <a:cubicBezTo>
                      <a:pt x="2343" y="298"/>
                      <a:pt x="2330" y="274"/>
                      <a:pt x="2387" y="312"/>
                    </a:cubicBezTo>
                    <a:cubicBezTo>
                      <a:pt x="2420" y="334"/>
                      <a:pt x="2450" y="366"/>
                      <a:pt x="2477" y="395"/>
                    </a:cubicBezTo>
                    <a:cubicBezTo>
                      <a:pt x="2489" y="430"/>
                      <a:pt x="2509" y="464"/>
                      <a:pt x="2485" y="502"/>
                    </a:cubicBezTo>
                    <a:cubicBezTo>
                      <a:pt x="2479" y="512"/>
                      <a:pt x="2463" y="507"/>
                      <a:pt x="2452" y="510"/>
                    </a:cubicBezTo>
                    <a:cubicBezTo>
                      <a:pt x="2429" y="525"/>
                      <a:pt x="2410" y="544"/>
                      <a:pt x="2387" y="559"/>
                    </a:cubicBezTo>
                    <a:cubicBezTo>
                      <a:pt x="2364" y="645"/>
                      <a:pt x="2339" y="633"/>
                      <a:pt x="2263" y="641"/>
                    </a:cubicBezTo>
                    <a:cubicBezTo>
                      <a:pt x="2253" y="673"/>
                      <a:pt x="2256" y="684"/>
                      <a:pt x="2280" y="707"/>
                    </a:cubicBezTo>
                    <a:cubicBezTo>
                      <a:pt x="2255" y="778"/>
                      <a:pt x="2292" y="693"/>
                      <a:pt x="2247" y="740"/>
                    </a:cubicBezTo>
                    <a:cubicBezTo>
                      <a:pt x="2233" y="754"/>
                      <a:pt x="2240" y="781"/>
                      <a:pt x="2230" y="798"/>
                    </a:cubicBezTo>
                    <a:cubicBezTo>
                      <a:pt x="2214" y="826"/>
                      <a:pt x="2167" y="853"/>
                      <a:pt x="2140" y="872"/>
                    </a:cubicBezTo>
                    <a:cubicBezTo>
                      <a:pt x="2143" y="883"/>
                      <a:pt x="2142" y="896"/>
                      <a:pt x="2148" y="905"/>
                    </a:cubicBezTo>
                    <a:cubicBezTo>
                      <a:pt x="2154" y="913"/>
                      <a:pt x="2169" y="912"/>
                      <a:pt x="2173" y="921"/>
                    </a:cubicBezTo>
                    <a:cubicBezTo>
                      <a:pt x="2183" y="947"/>
                      <a:pt x="2123" y="987"/>
                      <a:pt x="2123" y="987"/>
                    </a:cubicBezTo>
                    <a:cubicBezTo>
                      <a:pt x="2126" y="998"/>
                      <a:pt x="2125" y="1011"/>
                      <a:pt x="2132" y="1020"/>
                    </a:cubicBezTo>
                    <a:cubicBezTo>
                      <a:pt x="2137" y="1027"/>
                      <a:pt x="2150" y="1022"/>
                      <a:pt x="2156" y="1028"/>
                    </a:cubicBezTo>
                    <a:cubicBezTo>
                      <a:pt x="2162" y="1034"/>
                      <a:pt x="2161" y="1045"/>
                      <a:pt x="2164" y="1053"/>
                    </a:cubicBezTo>
                    <a:cubicBezTo>
                      <a:pt x="2112" y="1070"/>
                      <a:pt x="2117" y="1069"/>
                      <a:pt x="2082" y="1102"/>
                    </a:cubicBezTo>
                    <a:cubicBezTo>
                      <a:pt x="2071" y="1138"/>
                      <a:pt x="2072" y="1166"/>
                      <a:pt x="2099" y="1193"/>
                    </a:cubicBezTo>
                    <a:cubicBezTo>
                      <a:pt x="2042" y="1211"/>
                      <a:pt x="2061" y="1196"/>
                      <a:pt x="2033" y="1226"/>
                    </a:cubicBezTo>
                    <a:cubicBezTo>
                      <a:pt x="2024" y="1265"/>
                      <a:pt x="2020" y="1271"/>
                      <a:pt x="1983" y="1283"/>
                    </a:cubicBezTo>
                    <a:cubicBezTo>
                      <a:pt x="1972" y="1251"/>
                      <a:pt x="1966" y="1244"/>
                      <a:pt x="1934" y="1234"/>
                    </a:cubicBezTo>
                    <a:cubicBezTo>
                      <a:pt x="1929" y="1228"/>
                      <a:pt x="1919" y="1225"/>
                      <a:pt x="1918" y="1217"/>
                    </a:cubicBezTo>
                    <a:cubicBezTo>
                      <a:pt x="1911" y="1180"/>
                      <a:pt x="1975" y="1185"/>
                      <a:pt x="1876" y="1201"/>
                    </a:cubicBezTo>
                    <a:cubicBezTo>
                      <a:pt x="1869" y="1211"/>
                      <a:pt x="1849" y="1248"/>
                      <a:pt x="1835" y="1250"/>
                    </a:cubicBezTo>
                    <a:cubicBezTo>
                      <a:pt x="1826" y="1252"/>
                      <a:pt x="1820" y="1238"/>
                      <a:pt x="1811" y="1234"/>
                    </a:cubicBezTo>
                    <a:cubicBezTo>
                      <a:pt x="1795" y="1226"/>
                      <a:pt x="1778" y="1223"/>
                      <a:pt x="1761" y="1217"/>
                    </a:cubicBezTo>
                    <a:cubicBezTo>
                      <a:pt x="1696" y="1235"/>
                      <a:pt x="1726" y="1239"/>
                      <a:pt x="1704" y="1291"/>
                    </a:cubicBezTo>
                    <a:cubicBezTo>
                      <a:pt x="1697" y="1307"/>
                      <a:pt x="1681" y="1318"/>
                      <a:pt x="1671" y="1333"/>
                    </a:cubicBezTo>
                    <a:cubicBezTo>
                      <a:pt x="1681" y="1348"/>
                      <a:pt x="1695" y="1359"/>
                      <a:pt x="1704" y="1374"/>
                    </a:cubicBezTo>
                    <a:cubicBezTo>
                      <a:pt x="1739" y="1432"/>
                      <a:pt x="1683" y="1368"/>
                      <a:pt x="1728" y="1415"/>
                    </a:cubicBezTo>
                    <a:cubicBezTo>
                      <a:pt x="1725" y="1431"/>
                      <a:pt x="1728" y="1450"/>
                      <a:pt x="1720" y="1464"/>
                    </a:cubicBezTo>
                    <a:cubicBezTo>
                      <a:pt x="1716" y="1472"/>
                      <a:pt x="1702" y="1467"/>
                      <a:pt x="1695" y="1472"/>
                    </a:cubicBezTo>
                    <a:cubicBezTo>
                      <a:pt x="1685" y="1478"/>
                      <a:pt x="1668" y="1505"/>
                      <a:pt x="1663" y="1514"/>
                    </a:cubicBezTo>
                    <a:cubicBezTo>
                      <a:pt x="1633" y="1574"/>
                      <a:pt x="1675" y="1502"/>
                      <a:pt x="1646" y="1563"/>
                    </a:cubicBezTo>
                    <a:cubicBezTo>
                      <a:pt x="1633" y="1590"/>
                      <a:pt x="1609" y="1602"/>
                      <a:pt x="1597" y="1629"/>
                    </a:cubicBezTo>
                    <a:cubicBezTo>
                      <a:pt x="1577" y="1674"/>
                      <a:pt x="1565" y="1732"/>
                      <a:pt x="1531" y="1769"/>
                    </a:cubicBezTo>
                    <a:cubicBezTo>
                      <a:pt x="1525" y="1785"/>
                      <a:pt x="1520" y="1802"/>
                      <a:pt x="1514" y="1818"/>
                    </a:cubicBezTo>
                    <a:cubicBezTo>
                      <a:pt x="1508" y="1836"/>
                      <a:pt x="1487" y="1845"/>
                      <a:pt x="1473" y="1859"/>
                    </a:cubicBezTo>
                    <a:cubicBezTo>
                      <a:pt x="1450" y="1882"/>
                      <a:pt x="1423" y="1903"/>
                      <a:pt x="1399" y="1925"/>
                    </a:cubicBezTo>
                    <a:cubicBezTo>
                      <a:pt x="1376" y="1889"/>
                      <a:pt x="1381" y="1874"/>
                      <a:pt x="1342" y="1900"/>
                    </a:cubicBezTo>
                    <a:cubicBezTo>
                      <a:pt x="1318" y="1968"/>
                      <a:pt x="1239" y="1954"/>
                      <a:pt x="1177" y="1974"/>
                    </a:cubicBezTo>
                    <a:cubicBezTo>
                      <a:pt x="1147" y="1955"/>
                      <a:pt x="1128" y="1926"/>
                      <a:pt x="1103" y="1900"/>
                    </a:cubicBezTo>
                    <a:cubicBezTo>
                      <a:pt x="1085" y="1844"/>
                      <a:pt x="1100" y="1863"/>
                      <a:pt x="1070" y="1835"/>
                    </a:cubicBezTo>
                    <a:cubicBezTo>
                      <a:pt x="1054" y="1785"/>
                      <a:pt x="1036" y="1769"/>
                      <a:pt x="1087" y="1736"/>
                    </a:cubicBezTo>
                    <a:cubicBezTo>
                      <a:pt x="1075" y="1703"/>
                      <a:pt x="1063" y="1689"/>
                      <a:pt x="1029" y="1678"/>
                    </a:cubicBezTo>
                    <a:cubicBezTo>
                      <a:pt x="988" y="1691"/>
                      <a:pt x="971" y="1731"/>
                      <a:pt x="930" y="1744"/>
                    </a:cubicBezTo>
                    <a:cubicBezTo>
                      <a:pt x="875" y="1726"/>
                      <a:pt x="907" y="1756"/>
                      <a:pt x="873" y="1769"/>
                    </a:cubicBezTo>
                    <a:cubicBezTo>
                      <a:pt x="847" y="1779"/>
                      <a:pt x="817" y="1778"/>
                      <a:pt x="790" y="1785"/>
                    </a:cubicBezTo>
                    <a:cubicBezTo>
                      <a:pt x="781" y="1791"/>
                      <a:pt x="755" y="1813"/>
                      <a:pt x="741" y="1810"/>
                    </a:cubicBezTo>
                    <a:cubicBezTo>
                      <a:pt x="733" y="1808"/>
                      <a:pt x="730" y="1798"/>
                      <a:pt x="724" y="1793"/>
                    </a:cubicBezTo>
                    <a:cubicBezTo>
                      <a:pt x="717" y="1787"/>
                      <a:pt x="708" y="1782"/>
                      <a:pt x="700" y="1777"/>
                    </a:cubicBezTo>
                    <a:cubicBezTo>
                      <a:pt x="683" y="1724"/>
                      <a:pt x="687" y="1728"/>
                      <a:pt x="634" y="1711"/>
                    </a:cubicBezTo>
                    <a:cubicBezTo>
                      <a:pt x="631" y="1703"/>
                      <a:pt x="633" y="1691"/>
                      <a:pt x="626" y="1686"/>
                    </a:cubicBezTo>
                    <a:cubicBezTo>
                      <a:pt x="617" y="1679"/>
                      <a:pt x="603" y="1682"/>
                      <a:pt x="593" y="1678"/>
                    </a:cubicBezTo>
                    <a:cubicBezTo>
                      <a:pt x="584" y="1674"/>
                      <a:pt x="577" y="1666"/>
                      <a:pt x="568" y="1662"/>
                    </a:cubicBezTo>
                    <a:cubicBezTo>
                      <a:pt x="537" y="1647"/>
                      <a:pt x="501" y="1647"/>
                      <a:pt x="469" y="1637"/>
                    </a:cubicBezTo>
                    <a:cubicBezTo>
                      <a:pt x="439" y="1617"/>
                      <a:pt x="422" y="1608"/>
                      <a:pt x="387" y="1621"/>
                    </a:cubicBezTo>
                    <a:cubicBezTo>
                      <a:pt x="378" y="1648"/>
                      <a:pt x="362" y="1662"/>
                      <a:pt x="346" y="1686"/>
                    </a:cubicBezTo>
                    <a:cubicBezTo>
                      <a:pt x="320" y="1767"/>
                      <a:pt x="399" y="1739"/>
                      <a:pt x="264" y="1752"/>
                    </a:cubicBezTo>
                    <a:cubicBezTo>
                      <a:pt x="261" y="1760"/>
                      <a:pt x="255" y="1768"/>
                      <a:pt x="255" y="1777"/>
                    </a:cubicBezTo>
                    <a:cubicBezTo>
                      <a:pt x="255" y="1788"/>
                      <a:pt x="271" y="1801"/>
                      <a:pt x="264" y="1810"/>
                    </a:cubicBezTo>
                    <a:cubicBezTo>
                      <a:pt x="253" y="1823"/>
                      <a:pt x="214" y="1826"/>
                      <a:pt x="214" y="1826"/>
                    </a:cubicBezTo>
                    <a:cubicBezTo>
                      <a:pt x="206" y="1832"/>
                      <a:pt x="191" y="1833"/>
                      <a:pt x="190" y="1843"/>
                    </a:cubicBezTo>
                    <a:cubicBezTo>
                      <a:pt x="182" y="1906"/>
                      <a:pt x="255" y="1927"/>
                      <a:pt x="297" y="1942"/>
                    </a:cubicBezTo>
                    <a:cubicBezTo>
                      <a:pt x="321" y="1966"/>
                      <a:pt x="343" y="1975"/>
                      <a:pt x="354" y="2007"/>
                    </a:cubicBezTo>
                    <a:cubicBezTo>
                      <a:pt x="345" y="2034"/>
                      <a:pt x="331" y="2055"/>
                      <a:pt x="321" y="2081"/>
                    </a:cubicBezTo>
                    <a:cubicBezTo>
                      <a:pt x="341" y="2138"/>
                      <a:pt x="289" y="2126"/>
                      <a:pt x="247" y="2139"/>
                    </a:cubicBezTo>
                    <a:cubicBezTo>
                      <a:pt x="219" y="2158"/>
                      <a:pt x="208" y="2165"/>
                      <a:pt x="198" y="2197"/>
                    </a:cubicBezTo>
                    <a:cubicBezTo>
                      <a:pt x="184" y="2314"/>
                      <a:pt x="212" y="2234"/>
                      <a:pt x="148" y="2254"/>
                    </a:cubicBezTo>
                    <a:cubicBezTo>
                      <a:pt x="116" y="2304"/>
                      <a:pt x="153" y="2260"/>
                      <a:pt x="74" y="2287"/>
                    </a:cubicBezTo>
                    <a:cubicBezTo>
                      <a:pt x="65" y="2290"/>
                      <a:pt x="46" y="2323"/>
                      <a:pt x="42" y="2328"/>
                    </a:cubicBezTo>
                    <a:cubicBezTo>
                      <a:pt x="23" y="2351"/>
                      <a:pt x="10" y="2365"/>
                      <a:pt x="0" y="2394"/>
                    </a:cubicBezTo>
                    <a:cubicBezTo>
                      <a:pt x="7" y="2427"/>
                      <a:pt x="17" y="2499"/>
                      <a:pt x="33" y="2526"/>
                    </a:cubicBezTo>
                    <a:cubicBezTo>
                      <a:pt x="41" y="2539"/>
                      <a:pt x="55" y="2548"/>
                      <a:pt x="66" y="2559"/>
                    </a:cubicBezTo>
                    <a:cubicBezTo>
                      <a:pt x="72" y="2575"/>
                      <a:pt x="69" y="2598"/>
                      <a:pt x="83" y="2608"/>
                    </a:cubicBezTo>
                    <a:cubicBezTo>
                      <a:pt x="98" y="2618"/>
                      <a:pt x="108" y="2633"/>
                      <a:pt x="124" y="2641"/>
                    </a:cubicBezTo>
                    <a:cubicBezTo>
                      <a:pt x="161" y="2659"/>
                      <a:pt x="231" y="2662"/>
                      <a:pt x="264" y="2666"/>
                    </a:cubicBezTo>
                    <a:cubicBezTo>
                      <a:pt x="301" y="2678"/>
                      <a:pt x="311" y="2713"/>
                      <a:pt x="338" y="2740"/>
                    </a:cubicBezTo>
                    <a:cubicBezTo>
                      <a:pt x="354" y="2788"/>
                      <a:pt x="342" y="2837"/>
                      <a:pt x="371" y="2880"/>
                    </a:cubicBezTo>
                    <a:cubicBezTo>
                      <a:pt x="388" y="2931"/>
                      <a:pt x="440" y="2930"/>
                      <a:pt x="486" y="2945"/>
                    </a:cubicBezTo>
                    <a:cubicBezTo>
                      <a:pt x="552" y="2934"/>
                      <a:pt x="526" y="2931"/>
                      <a:pt x="576" y="2912"/>
                    </a:cubicBezTo>
                    <a:cubicBezTo>
                      <a:pt x="625" y="2961"/>
                      <a:pt x="633" y="2962"/>
                      <a:pt x="708" y="2970"/>
                    </a:cubicBezTo>
                    <a:cubicBezTo>
                      <a:pt x="723" y="3016"/>
                      <a:pt x="756" y="3046"/>
                      <a:pt x="782" y="3085"/>
                    </a:cubicBezTo>
                    <a:cubicBezTo>
                      <a:pt x="785" y="3113"/>
                      <a:pt x="786" y="3141"/>
                      <a:pt x="790" y="3168"/>
                    </a:cubicBezTo>
                    <a:cubicBezTo>
                      <a:pt x="794" y="3196"/>
                      <a:pt x="819" y="3209"/>
                      <a:pt x="831" y="3233"/>
                    </a:cubicBezTo>
                    <a:cubicBezTo>
                      <a:pt x="844" y="3259"/>
                      <a:pt x="851" y="3289"/>
                      <a:pt x="864" y="3316"/>
                    </a:cubicBezTo>
                    <a:cubicBezTo>
                      <a:pt x="938" y="3290"/>
                      <a:pt x="866" y="3287"/>
                      <a:pt x="980" y="3299"/>
                    </a:cubicBezTo>
                    <a:cubicBezTo>
                      <a:pt x="1013" y="3313"/>
                      <a:pt x="1045" y="3321"/>
                      <a:pt x="1078" y="3332"/>
                    </a:cubicBezTo>
                    <a:cubicBezTo>
                      <a:pt x="1103" y="3349"/>
                      <a:pt x="1135" y="3379"/>
                      <a:pt x="1169" y="3340"/>
                    </a:cubicBezTo>
                    <a:cubicBezTo>
                      <a:pt x="1186" y="3321"/>
                      <a:pt x="1170" y="3290"/>
                      <a:pt x="1177" y="3266"/>
                    </a:cubicBezTo>
                    <a:cubicBezTo>
                      <a:pt x="1179" y="3259"/>
                      <a:pt x="1188" y="3255"/>
                      <a:pt x="1194" y="3250"/>
                    </a:cubicBezTo>
                    <a:cubicBezTo>
                      <a:pt x="1222" y="3222"/>
                      <a:pt x="1243" y="3197"/>
                      <a:pt x="1276" y="3176"/>
                    </a:cubicBezTo>
                    <a:cubicBezTo>
                      <a:pt x="1265" y="3106"/>
                      <a:pt x="1260" y="3137"/>
                      <a:pt x="1243" y="3085"/>
                    </a:cubicBezTo>
                    <a:cubicBezTo>
                      <a:pt x="1295" y="3007"/>
                      <a:pt x="1190" y="3150"/>
                      <a:pt x="1375" y="3052"/>
                    </a:cubicBezTo>
                    <a:cubicBezTo>
                      <a:pt x="1392" y="3043"/>
                      <a:pt x="1380" y="3014"/>
                      <a:pt x="1383" y="2995"/>
                    </a:cubicBezTo>
                    <a:cubicBezTo>
                      <a:pt x="1405" y="2997"/>
                      <a:pt x="1467" y="2991"/>
                      <a:pt x="1490" y="3019"/>
                    </a:cubicBezTo>
                    <a:cubicBezTo>
                      <a:pt x="1500" y="3031"/>
                      <a:pt x="1503" y="3091"/>
                      <a:pt x="1506" y="3094"/>
                    </a:cubicBezTo>
                    <a:cubicBezTo>
                      <a:pt x="1518" y="3106"/>
                      <a:pt x="1539" y="3099"/>
                      <a:pt x="1556" y="3102"/>
                    </a:cubicBezTo>
                    <a:cubicBezTo>
                      <a:pt x="1615" y="3087"/>
                      <a:pt x="1592" y="3059"/>
                      <a:pt x="1654" y="3044"/>
                    </a:cubicBezTo>
                    <a:cubicBezTo>
                      <a:pt x="1675" y="3025"/>
                      <a:pt x="1686" y="3014"/>
                      <a:pt x="1695" y="2987"/>
                    </a:cubicBezTo>
                    <a:cubicBezTo>
                      <a:pt x="1692" y="2962"/>
                      <a:pt x="1696" y="2935"/>
                      <a:pt x="1687" y="2912"/>
                    </a:cubicBezTo>
                    <a:cubicBezTo>
                      <a:pt x="1684" y="2904"/>
                      <a:pt x="1669" y="2910"/>
                      <a:pt x="1663" y="2904"/>
                    </a:cubicBezTo>
                    <a:cubicBezTo>
                      <a:pt x="1657" y="2898"/>
                      <a:pt x="1657" y="2888"/>
                      <a:pt x="1654" y="2880"/>
                    </a:cubicBezTo>
                    <a:cubicBezTo>
                      <a:pt x="1657" y="2869"/>
                      <a:pt x="1658" y="2857"/>
                      <a:pt x="1663" y="2847"/>
                    </a:cubicBezTo>
                    <a:cubicBezTo>
                      <a:pt x="1666" y="2840"/>
                      <a:pt x="1678" y="2838"/>
                      <a:pt x="1679" y="2830"/>
                    </a:cubicBezTo>
                    <a:cubicBezTo>
                      <a:pt x="1680" y="2822"/>
                      <a:pt x="1666" y="2783"/>
                      <a:pt x="1663" y="2773"/>
                    </a:cubicBezTo>
                    <a:cubicBezTo>
                      <a:pt x="1700" y="2715"/>
                      <a:pt x="1696" y="2731"/>
                      <a:pt x="1786" y="2723"/>
                    </a:cubicBezTo>
                    <a:cubicBezTo>
                      <a:pt x="1827" y="2697"/>
                      <a:pt x="1817" y="2717"/>
                      <a:pt x="1860" y="2731"/>
                    </a:cubicBezTo>
                    <a:cubicBezTo>
                      <a:pt x="1964" y="2722"/>
                      <a:pt x="1963" y="2700"/>
                      <a:pt x="1992" y="2781"/>
                    </a:cubicBezTo>
                    <a:cubicBezTo>
                      <a:pt x="2001" y="2887"/>
                      <a:pt x="1978" y="2893"/>
                      <a:pt x="2074" y="2880"/>
                    </a:cubicBezTo>
                    <a:cubicBezTo>
                      <a:pt x="2082" y="2877"/>
                      <a:pt x="2092" y="2876"/>
                      <a:pt x="2099" y="2871"/>
                    </a:cubicBezTo>
                    <a:cubicBezTo>
                      <a:pt x="2114" y="2859"/>
                      <a:pt x="2121" y="2833"/>
                      <a:pt x="2140" y="2830"/>
                    </a:cubicBezTo>
                    <a:cubicBezTo>
                      <a:pt x="2159" y="2827"/>
                      <a:pt x="2178" y="2825"/>
                      <a:pt x="2197" y="2822"/>
                    </a:cubicBezTo>
                    <a:cubicBezTo>
                      <a:pt x="2200" y="2814"/>
                      <a:pt x="2198" y="2800"/>
                      <a:pt x="2206" y="2797"/>
                    </a:cubicBezTo>
                    <a:cubicBezTo>
                      <a:pt x="2244" y="2785"/>
                      <a:pt x="2244" y="2814"/>
                      <a:pt x="2271" y="2822"/>
                    </a:cubicBezTo>
                    <a:cubicBezTo>
                      <a:pt x="2290" y="2827"/>
                      <a:pt x="2310" y="2827"/>
                      <a:pt x="2329" y="2830"/>
                    </a:cubicBezTo>
                    <a:cubicBezTo>
                      <a:pt x="2353" y="2854"/>
                      <a:pt x="2375" y="2884"/>
                      <a:pt x="2395" y="2912"/>
                    </a:cubicBezTo>
                    <a:cubicBezTo>
                      <a:pt x="2406" y="2968"/>
                      <a:pt x="2413" y="2950"/>
                      <a:pt x="2428" y="2995"/>
                    </a:cubicBezTo>
                    <a:cubicBezTo>
                      <a:pt x="2400" y="3080"/>
                      <a:pt x="2380" y="3180"/>
                      <a:pt x="2485" y="3200"/>
                    </a:cubicBezTo>
                    <a:cubicBezTo>
                      <a:pt x="2507" y="3195"/>
                      <a:pt x="2529" y="3189"/>
                      <a:pt x="2551" y="3184"/>
                    </a:cubicBezTo>
                    <a:cubicBezTo>
                      <a:pt x="2568" y="3180"/>
                      <a:pt x="2601" y="3168"/>
                      <a:pt x="2601" y="3168"/>
                    </a:cubicBezTo>
                    <a:cubicBezTo>
                      <a:pt x="2617" y="3192"/>
                      <a:pt x="2624" y="3215"/>
                      <a:pt x="2634" y="3242"/>
                    </a:cubicBezTo>
                    <a:cubicBezTo>
                      <a:pt x="2623" y="3271"/>
                      <a:pt x="2606" y="3278"/>
                      <a:pt x="2584" y="3299"/>
                    </a:cubicBezTo>
                    <a:cubicBezTo>
                      <a:pt x="2590" y="3310"/>
                      <a:pt x="2594" y="3322"/>
                      <a:pt x="2601" y="3332"/>
                    </a:cubicBezTo>
                    <a:cubicBezTo>
                      <a:pt x="2605" y="3338"/>
                      <a:pt x="2615" y="3342"/>
                      <a:pt x="2617" y="3349"/>
                    </a:cubicBezTo>
                    <a:cubicBezTo>
                      <a:pt x="2643" y="3439"/>
                      <a:pt x="2603" y="3392"/>
                      <a:pt x="2642" y="3431"/>
                    </a:cubicBezTo>
                    <a:cubicBezTo>
                      <a:pt x="2678" y="3419"/>
                      <a:pt x="2699" y="3392"/>
                      <a:pt x="2724" y="3365"/>
                    </a:cubicBezTo>
                    <a:cubicBezTo>
                      <a:pt x="2729" y="3373"/>
                      <a:pt x="2734" y="3382"/>
                      <a:pt x="2740" y="3390"/>
                    </a:cubicBezTo>
                    <a:cubicBezTo>
                      <a:pt x="2745" y="3396"/>
                      <a:pt x="2756" y="3398"/>
                      <a:pt x="2757" y="3406"/>
                    </a:cubicBezTo>
                    <a:cubicBezTo>
                      <a:pt x="2762" y="3456"/>
                      <a:pt x="2749" y="3491"/>
                      <a:pt x="2724" y="3530"/>
                    </a:cubicBezTo>
                    <a:cubicBezTo>
                      <a:pt x="2776" y="3580"/>
                      <a:pt x="2765" y="3562"/>
                      <a:pt x="2815" y="3530"/>
                    </a:cubicBezTo>
                    <a:cubicBezTo>
                      <a:pt x="2856" y="3534"/>
                      <a:pt x="2901" y="3528"/>
                      <a:pt x="2938" y="3546"/>
                    </a:cubicBezTo>
                    <a:cubicBezTo>
                      <a:pt x="2956" y="3555"/>
                      <a:pt x="2987" y="3579"/>
                      <a:pt x="2987" y="3579"/>
                    </a:cubicBezTo>
                    <a:cubicBezTo>
                      <a:pt x="2998" y="3576"/>
                      <a:pt x="3017" y="3582"/>
                      <a:pt x="3020" y="3571"/>
                    </a:cubicBezTo>
                    <a:cubicBezTo>
                      <a:pt x="3025" y="3554"/>
                      <a:pt x="3004" y="3521"/>
                      <a:pt x="3004" y="3521"/>
                    </a:cubicBezTo>
                    <a:cubicBezTo>
                      <a:pt x="3015" y="3489"/>
                      <a:pt x="3025" y="3482"/>
                      <a:pt x="3053" y="3464"/>
                    </a:cubicBezTo>
                    <a:cubicBezTo>
                      <a:pt x="3068" y="3416"/>
                      <a:pt x="3056" y="3367"/>
                      <a:pt x="3111" y="3349"/>
                    </a:cubicBezTo>
                    <a:cubicBezTo>
                      <a:pt x="3137" y="3322"/>
                      <a:pt x="3158" y="3293"/>
                      <a:pt x="3185" y="3266"/>
                    </a:cubicBezTo>
                    <a:cubicBezTo>
                      <a:pt x="3193" y="3242"/>
                      <a:pt x="3198" y="3196"/>
                      <a:pt x="3177" y="3176"/>
                    </a:cubicBezTo>
                    <a:cubicBezTo>
                      <a:pt x="3161" y="3160"/>
                      <a:pt x="3133" y="3164"/>
                      <a:pt x="3111" y="3159"/>
                    </a:cubicBezTo>
                    <a:cubicBezTo>
                      <a:pt x="3140" y="3140"/>
                      <a:pt x="3141" y="3122"/>
                      <a:pt x="3160" y="3094"/>
                    </a:cubicBezTo>
                    <a:cubicBezTo>
                      <a:pt x="3151" y="3058"/>
                      <a:pt x="3138" y="3049"/>
                      <a:pt x="3119" y="3019"/>
                    </a:cubicBezTo>
                    <a:cubicBezTo>
                      <a:pt x="3125" y="2953"/>
                      <a:pt x="3118" y="2928"/>
                      <a:pt x="3152" y="2880"/>
                    </a:cubicBezTo>
                    <a:cubicBezTo>
                      <a:pt x="3155" y="2872"/>
                      <a:pt x="3156" y="2863"/>
                      <a:pt x="3160" y="2855"/>
                    </a:cubicBezTo>
                    <a:cubicBezTo>
                      <a:pt x="3164" y="2848"/>
                      <a:pt x="3176" y="2846"/>
                      <a:pt x="3177" y="2838"/>
                    </a:cubicBezTo>
                    <a:cubicBezTo>
                      <a:pt x="3179" y="2822"/>
                      <a:pt x="3176" y="2804"/>
                      <a:pt x="3168" y="2789"/>
                    </a:cubicBezTo>
                    <a:cubicBezTo>
                      <a:pt x="3164" y="2780"/>
                      <a:pt x="3151" y="2779"/>
                      <a:pt x="3144" y="2773"/>
                    </a:cubicBezTo>
                    <a:cubicBezTo>
                      <a:pt x="3123" y="2756"/>
                      <a:pt x="3103" y="2695"/>
                      <a:pt x="3086" y="2690"/>
                    </a:cubicBezTo>
                    <a:cubicBezTo>
                      <a:pt x="3065" y="2684"/>
                      <a:pt x="3042" y="2685"/>
                      <a:pt x="3020" y="2682"/>
                    </a:cubicBezTo>
                    <a:cubicBezTo>
                      <a:pt x="3014" y="2576"/>
                      <a:pt x="3032" y="2543"/>
                      <a:pt x="2954" y="2493"/>
                    </a:cubicBezTo>
                    <a:cubicBezTo>
                      <a:pt x="2949" y="2501"/>
                      <a:pt x="2945" y="2511"/>
                      <a:pt x="2938" y="2518"/>
                    </a:cubicBezTo>
                    <a:cubicBezTo>
                      <a:pt x="2923" y="2531"/>
                      <a:pt x="2889" y="2550"/>
                      <a:pt x="2889" y="2550"/>
                    </a:cubicBezTo>
                    <a:cubicBezTo>
                      <a:pt x="2878" y="2547"/>
                      <a:pt x="2862" y="2552"/>
                      <a:pt x="2856" y="2542"/>
                    </a:cubicBezTo>
                    <a:cubicBezTo>
                      <a:pt x="2826" y="2493"/>
                      <a:pt x="2897" y="2526"/>
                      <a:pt x="2856" y="2485"/>
                    </a:cubicBezTo>
                    <a:cubicBezTo>
                      <a:pt x="2842" y="2471"/>
                      <a:pt x="2806" y="2452"/>
                      <a:pt x="2806" y="2452"/>
                    </a:cubicBezTo>
                    <a:cubicBezTo>
                      <a:pt x="2811" y="2419"/>
                      <a:pt x="2835" y="2354"/>
                      <a:pt x="2815" y="2320"/>
                    </a:cubicBezTo>
                    <a:cubicBezTo>
                      <a:pt x="2811" y="2312"/>
                      <a:pt x="2798" y="2315"/>
                      <a:pt x="2790" y="2312"/>
                    </a:cubicBezTo>
                    <a:cubicBezTo>
                      <a:pt x="2784" y="2293"/>
                      <a:pt x="2784" y="2281"/>
                      <a:pt x="2765" y="2271"/>
                    </a:cubicBezTo>
                    <a:cubicBezTo>
                      <a:pt x="2750" y="2263"/>
                      <a:pt x="2716" y="2254"/>
                      <a:pt x="2716" y="2254"/>
                    </a:cubicBezTo>
                    <a:cubicBezTo>
                      <a:pt x="2704" y="2219"/>
                      <a:pt x="2685" y="2197"/>
                      <a:pt x="2658" y="2172"/>
                    </a:cubicBezTo>
                    <a:cubicBezTo>
                      <a:pt x="2650" y="2129"/>
                      <a:pt x="2646" y="2126"/>
                      <a:pt x="2617" y="2098"/>
                    </a:cubicBezTo>
                    <a:cubicBezTo>
                      <a:pt x="2603" y="2101"/>
                      <a:pt x="2589" y="2100"/>
                      <a:pt x="2576" y="2106"/>
                    </a:cubicBezTo>
                    <a:cubicBezTo>
                      <a:pt x="2555" y="2115"/>
                      <a:pt x="2559" y="2130"/>
                      <a:pt x="2551" y="2147"/>
                    </a:cubicBezTo>
                    <a:cubicBezTo>
                      <a:pt x="2539" y="2172"/>
                      <a:pt x="2528" y="2194"/>
                      <a:pt x="2518" y="2221"/>
                    </a:cubicBezTo>
                    <a:cubicBezTo>
                      <a:pt x="2502" y="2218"/>
                      <a:pt x="2483" y="2221"/>
                      <a:pt x="2469" y="2213"/>
                    </a:cubicBezTo>
                    <a:cubicBezTo>
                      <a:pt x="2461" y="2209"/>
                      <a:pt x="2464" y="2196"/>
                      <a:pt x="2461" y="2188"/>
                    </a:cubicBezTo>
                    <a:cubicBezTo>
                      <a:pt x="2451" y="2158"/>
                      <a:pt x="2454" y="2168"/>
                      <a:pt x="2436" y="2139"/>
                    </a:cubicBezTo>
                    <a:cubicBezTo>
                      <a:pt x="2439" y="2123"/>
                      <a:pt x="2430" y="2100"/>
                      <a:pt x="2444" y="2090"/>
                    </a:cubicBezTo>
                    <a:cubicBezTo>
                      <a:pt x="2464" y="2076"/>
                      <a:pt x="2494" y="2088"/>
                      <a:pt x="2518" y="2081"/>
                    </a:cubicBezTo>
                    <a:cubicBezTo>
                      <a:pt x="2526" y="2079"/>
                      <a:pt x="2529" y="2070"/>
                      <a:pt x="2535" y="2065"/>
                    </a:cubicBezTo>
                    <a:cubicBezTo>
                      <a:pt x="2541" y="1990"/>
                      <a:pt x="2547" y="1970"/>
                      <a:pt x="2527" y="1909"/>
                    </a:cubicBezTo>
                    <a:cubicBezTo>
                      <a:pt x="2539" y="1896"/>
                      <a:pt x="2565" y="1893"/>
                      <a:pt x="2568" y="1876"/>
                    </a:cubicBezTo>
                    <a:cubicBezTo>
                      <a:pt x="2580" y="1808"/>
                      <a:pt x="2570" y="1810"/>
                      <a:pt x="2535" y="1785"/>
                    </a:cubicBezTo>
                    <a:cubicBezTo>
                      <a:pt x="2558" y="1749"/>
                      <a:pt x="2561" y="1742"/>
                      <a:pt x="2518" y="1728"/>
                    </a:cubicBezTo>
                    <a:cubicBezTo>
                      <a:pt x="2521" y="1720"/>
                      <a:pt x="2529" y="1712"/>
                      <a:pt x="2527" y="1703"/>
                    </a:cubicBezTo>
                    <a:cubicBezTo>
                      <a:pt x="2526" y="1695"/>
                      <a:pt x="2516" y="1691"/>
                      <a:pt x="2510" y="1686"/>
                    </a:cubicBezTo>
                    <a:cubicBezTo>
                      <a:pt x="2435" y="1630"/>
                      <a:pt x="2483" y="1676"/>
                      <a:pt x="2444" y="1637"/>
                    </a:cubicBezTo>
                    <a:cubicBezTo>
                      <a:pt x="2459" y="1532"/>
                      <a:pt x="2444" y="1556"/>
                      <a:pt x="2576" y="1547"/>
                    </a:cubicBezTo>
                    <a:cubicBezTo>
                      <a:pt x="2603" y="1529"/>
                      <a:pt x="2614" y="1507"/>
                      <a:pt x="2642" y="1489"/>
                    </a:cubicBezTo>
                    <a:cubicBezTo>
                      <a:pt x="2650" y="1492"/>
                      <a:pt x="2660" y="1491"/>
                      <a:pt x="2666" y="1497"/>
                    </a:cubicBezTo>
                    <a:cubicBezTo>
                      <a:pt x="2672" y="1503"/>
                      <a:pt x="2667" y="1519"/>
                      <a:pt x="2675" y="1522"/>
                    </a:cubicBezTo>
                    <a:cubicBezTo>
                      <a:pt x="2704" y="1532"/>
                      <a:pt x="2735" y="1527"/>
                      <a:pt x="2765" y="1530"/>
                    </a:cubicBezTo>
                    <a:cubicBezTo>
                      <a:pt x="2779" y="1527"/>
                      <a:pt x="2793" y="1528"/>
                      <a:pt x="2806" y="1522"/>
                    </a:cubicBezTo>
                    <a:cubicBezTo>
                      <a:pt x="2832" y="1511"/>
                      <a:pt x="2823" y="1486"/>
                      <a:pt x="2831" y="1464"/>
                    </a:cubicBezTo>
                    <a:cubicBezTo>
                      <a:pt x="2841" y="1437"/>
                      <a:pt x="2848" y="1440"/>
                      <a:pt x="2872" y="1431"/>
                    </a:cubicBezTo>
                    <a:cubicBezTo>
                      <a:pt x="2895" y="1410"/>
                      <a:pt x="2920" y="1408"/>
                      <a:pt x="2946" y="1390"/>
                    </a:cubicBezTo>
                    <a:cubicBezTo>
                      <a:pt x="2990" y="1434"/>
                      <a:pt x="2943" y="1467"/>
                      <a:pt x="3012" y="1489"/>
                    </a:cubicBezTo>
                    <a:cubicBezTo>
                      <a:pt x="3028" y="1486"/>
                      <a:pt x="3047" y="1491"/>
                      <a:pt x="3061" y="1481"/>
                    </a:cubicBezTo>
                    <a:cubicBezTo>
                      <a:pt x="3084" y="1465"/>
                      <a:pt x="3091" y="1434"/>
                      <a:pt x="3111" y="1415"/>
                    </a:cubicBezTo>
                    <a:cubicBezTo>
                      <a:pt x="3136" y="1492"/>
                      <a:pt x="3095" y="1380"/>
                      <a:pt x="3144" y="1464"/>
                    </a:cubicBezTo>
                    <a:cubicBezTo>
                      <a:pt x="3171" y="1511"/>
                      <a:pt x="3128" y="1489"/>
                      <a:pt x="3177" y="1505"/>
                    </a:cubicBezTo>
                    <a:cubicBezTo>
                      <a:pt x="3193" y="1502"/>
                      <a:pt x="3213" y="1507"/>
                      <a:pt x="3226" y="1497"/>
                    </a:cubicBezTo>
                    <a:cubicBezTo>
                      <a:pt x="3242" y="1485"/>
                      <a:pt x="3233" y="1458"/>
                      <a:pt x="3242" y="1440"/>
                    </a:cubicBezTo>
                    <a:cubicBezTo>
                      <a:pt x="3257" y="1410"/>
                      <a:pt x="3278" y="1400"/>
                      <a:pt x="3308" y="1390"/>
                    </a:cubicBezTo>
                    <a:cubicBezTo>
                      <a:pt x="3314" y="1385"/>
                      <a:pt x="3323" y="1381"/>
                      <a:pt x="3325" y="1374"/>
                    </a:cubicBezTo>
                    <a:cubicBezTo>
                      <a:pt x="3331" y="1356"/>
                      <a:pt x="3321" y="1331"/>
                      <a:pt x="3333" y="1316"/>
                    </a:cubicBezTo>
                    <a:cubicBezTo>
                      <a:pt x="3343" y="1302"/>
                      <a:pt x="3382" y="1300"/>
                      <a:pt x="3382" y="1300"/>
                    </a:cubicBezTo>
                    <a:cubicBezTo>
                      <a:pt x="3397" y="1258"/>
                      <a:pt x="3442" y="1240"/>
                      <a:pt x="3473" y="1209"/>
                    </a:cubicBezTo>
                    <a:cubicBezTo>
                      <a:pt x="3476" y="1201"/>
                      <a:pt x="3475" y="1190"/>
                      <a:pt x="3481" y="1184"/>
                    </a:cubicBezTo>
                    <a:cubicBezTo>
                      <a:pt x="3493" y="1172"/>
                      <a:pt x="3561" y="1165"/>
                      <a:pt x="3580" y="1160"/>
                    </a:cubicBezTo>
                    <a:cubicBezTo>
                      <a:pt x="3633" y="1177"/>
                      <a:pt x="3656" y="1193"/>
                      <a:pt x="3695" y="1234"/>
                    </a:cubicBezTo>
                    <a:cubicBezTo>
                      <a:pt x="3747" y="1217"/>
                      <a:pt x="3720" y="1183"/>
                      <a:pt x="3744" y="1143"/>
                    </a:cubicBezTo>
                    <a:cubicBezTo>
                      <a:pt x="3753" y="1128"/>
                      <a:pt x="3768" y="1117"/>
                      <a:pt x="3777" y="1102"/>
                    </a:cubicBezTo>
                    <a:cubicBezTo>
                      <a:pt x="3764" y="917"/>
                      <a:pt x="3791" y="1029"/>
                      <a:pt x="3728" y="962"/>
                    </a:cubicBezTo>
                    <a:cubicBezTo>
                      <a:pt x="3758" y="943"/>
                      <a:pt x="3758" y="926"/>
                      <a:pt x="3777" y="896"/>
                    </a:cubicBezTo>
                    <a:cubicBezTo>
                      <a:pt x="3780" y="882"/>
                      <a:pt x="3786" y="869"/>
                      <a:pt x="3786" y="855"/>
                    </a:cubicBezTo>
                    <a:cubicBezTo>
                      <a:pt x="3786" y="833"/>
                      <a:pt x="3758" y="725"/>
                      <a:pt x="3744" y="707"/>
                    </a:cubicBezTo>
                    <a:cubicBezTo>
                      <a:pt x="3732" y="692"/>
                      <a:pt x="3717" y="680"/>
                      <a:pt x="3703" y="666"/>
                    </a:cubicBezTo>
                    <a:cubicBezTo>
                      <a:pt x="3686" y="649"/>
                      <a:pt x="3644" y="640"/>
                      <a:pt x="3621" y="633"/>
                    </a:cubicBezTo>
                    <a:cubicBezTo>
                      <a:pt x="3606" y="556"/>
                      <a:pt x="3593" y="581"/>
                      <a:pt x="3514" y="567"/>
                    </a:cubicBezTo>
                    <a:cubicBezTo>
                      <a:pt x="3492" y="563"/>
                      <a:pt x="3448" y="551"/>
                      <a:pt x="3448" y="551"/>
                    </a:cubicBezTo>
                    <a:cubicBezTo>
                      <a:pt x="3421" y="522"/>
                      <a:pt x="3447" y="496"/>
                      <a:pt x="3432" y="452"/>
                    </a:cubicBezTo>
                    <a:cubicBezTo>
                      <a:pt x="3423" y="427"/>
                      <a:pt x="3378" y="416"/>
                      <a:pt x="3358" y="411"/>
                    </a:cubicBezTo>
                    <a:cubicBezTo>
                      <a:pt x="3268" y="416"/>
                      <a:pt x="3167" y="431"/>
                      <a:pt x="3078" y="403"/>
                    </a:cubicBezTo>
                    <a:cubicBezTo>
                      <a:pt x="3076" y="401"/>
                      <a:pt x="3029" y="375"/>
                      <a:pt x="3037" y="362"/>
                    </a:cubicBezTo>
                    <a:cubicBezTo>
                      <a:pt x="3045" y="349"/>
                      <a:pt x="3064" y="351"/>
                      <a:pt x="3078" y="34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46" name="Freeform 52">
                <a:extLst>
                  <a:ext uri="{FF2B5EF4-FFF2-40B4-BE49-F238E27FC236}">
                    <a16:creationId xmlns:a16="http://schemas.microsoft.com/office/drawing/2014/main" id="{A5422E7B-A813-AE8A-408A-BFF4E575307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831783" y="5269392"/>
                <a:ext cx="450548" cy="490537"/>
              </a:xfrm>
              <a:custGeom>
                <a:avLst/>
                <a:gdLst>
                  <a:gd name="T0" fmla="*/ 8 w 291"/>
                  <a:gd name="T1" fmla="*/ 113 h 308"/>
                  <a:gd name="T2" fmla="*/ 13 w 291"/>
                  <a:gd name="T3" fmla="*/ 117 h 308"/>
                  <a:gd name="T4" fmla="*/ 4 w 291"/>
                  <a:gd name="T5" fmla="*/ 121 h 308"/>
                  <a:gd name="T6" fmla="*/ 161 w 291"/>
                  <a:gd name="T7" fmla="*/ 169 h 308"/>
                  <a:gd name="T8" fmla="*/ 169 w 291"/>
                  <a:gd name="T9" fmla="*/ 148 h 308"/>
                  <a:gd name="T10" fmla="*/ 174 w 291"/>
                  <a:gd name="T11" fmla="*/ 126 h 308"/>
                  <a:gd name="T12" fmla="*/ 182 w 291"/>
                  <a:gd name="T13" fmla="*/ 108 h 308"/>
                  <a:gd name="T14" fmla="*/ 187 w 291"/>
                  <a:gd name="T15" fmla="*/ 91 h 308"/>
                  <a:gd name="T16" fmla="*/ 191 w 291"/>
                  <a:gd name="T17" fmla="*/ 82 h 308"/>
                  <a:gd name="T18" fmla="*/ 191 w 291"/>
                  <a:gd name="T19" fmla="*/ 74 h 308"/>
                  <a:gd name="T20" fmla="*/ 204 w 291"/>
                  <a:gd name="T21" fmla="*/ 48 h 308"/>
                  <a:gd name="T22" fmla="*/ 213 w 291"/>
                  <a:gd name="T23" fmla="*/ 35 h 308"/>
                  <a:gd name="T24" fmla="*/ 226 w 291"/>
                  <a:gd name="T25" fmla="*/ 21 h 308"/>
                  <a:gd name="T26" fmla="*/ 239 w 291"/>
                  <a:gd name="T27" fmla="*/ 13 h 308"/>
                  <a:gd name="T28" fmla="*/ 243 w 291"/>
                  <a:gd name="T29" fmla="*/ 13 h 308"/>
                  <a:gd name="T30" fmla="*/ 239 w 291"/>
                  <a:gd name="T31" fmla="*/ 8 h 308"/>
                  <a:gd name="T32" fmla="*/ 248 w 291"/>
                  <a:gd name="T33" fmla="*/ 0 h 308"/>
                  <a:gd name="T34" fmla="*/ 256 w 291"/>
                  <a:gd name="T35" fmla="*/ 0 h 308"/>
                  <a:gd name="T36" fmla="*/ 265 w 291"/>
                  <a:gd name="T37" fmla="*/ 8 h 308"/>
                  <a:gd name="T38" fmla="*/ 291 w 291"/>
                  <a:gd name="T39" fmla="*/ 17 h 308"/>
                  <a:gd name="T40" fmla="*/ 282 w 291"/>
                  <a:gd name="T41" fmla="*/ 21 h 308"/>
                  <a:gd name="T42" fmla="*/ 278 w 291"/>
                  <a:gd name="T43" fmla="*/ 35 h 308"/>
                  <a:gd name="T44" fmla="*/ 282 w 291"/>
                  <a:gd name="T45" fmla="*/ 52 h 308"/>
                  <a:gd name="T46" fmla="*/ 287 w 291"/>
                  <a:gd name="T47" fmla="*/ 56 h 308"/>
                  <a:gd name="T48" fmla="*/ 287 w 291"/>
                  <a:gd name="T49" fmla="*/ 65 h 308"/>
                  <a:gd name="T50" fmla="*/ 282 w 291"/>
                  <a:gd name="T51" fmla="*/ 69 h 308"/>
                  <a:gd name="T52" fmla="*/ 282 w 291"/>
                  <a:gd name="T53" fmla="*/ 82 h 308"/>
                  <a:gd name="T54" fmla="*/ 274 w 291"/>
                  <a:gd name="T55" fmla="*/ 104 h 308"/>
                  <a:gd name="T56" fmla="*/ 278 w 291"/>
                  <a:gd name="T57" fmla="*/ 113 h 308"/>
                  <a:gd name="T58" fmla="*/ 274 w 291"/>
                  <a:gd name="T59" fmla="*/ 165 h 308"/>
                  <a:gd name="T60" fmla="*/ 269 w 291"/>
                  <a:gd name="T61" fmla="*/ 195 h 308"/>
                  <a:gd name="T62" fmla="*/ 261 w 291"/>
                  <a:gd name="T63" fmla="*/ 230 h 308"/>
                  <a:gd name="T64" fmla="*/ 252 w 291"/>
                  <a:gd name="T65" fmla="*/ 239 h 308"/>
                  <a:gd name="T66" fmla="*/ 243 w 291"/>
                  <a:gd name="T67" fmla="*/ 269 h 308"/>
                  <a:gd name="T68" fmla="*/ 248 w 291"/>
                  <a:gd name="T69" fmla="*/ 278 h 308"/>
                  <a:gd name="T70" fmla="*/ 239 w 291"/>
                  <a:gd name="T71" fmla="*/ 308 h 308"/>
                  <a:gd name="T72" fmla="*/ 235 w 291"/>
                  <a:gd name="T73" fmla="*/ 291 h 308"/>
                  <a:gd name="T74" fmla="*/ 226 w 291"/>
                  <a:gd name="T75" fmla="*/ 278 h 308"/>
                  <a:gd name="T76" fmla="*/ 217 w 291"/>
                  <a:gd name="T77" fmla="*/ 269 h 308"/>
                  <a:gd name="T78" fmla="*/ 208 w 291"/>
                  <a:gd name="T79" fmla="*/ 265 h 308"/>
                  <a:gd name="T80" fmla="*/ 200 w 291"/>
                  <a:gd name="T81" fmla="*/ 265 h 308"/>
                  <a:gd name="T82" fmla="*/ 195 w 291"/>
                  <a:gd name="T83" fmla="*/ 261 h 308"/>
                  <a:gd name="T84" fmla="*/ 195 w 291"/>
                  <a:gd name="T85" fmla="*/ 256 h 308"/>
                  <a:gd name="T86" fmla="*/ 187 w 291"/>
                  <a:gd name="T87" fmla="*/ 252 h 308"/>
                  <a:gd name="T88" fmla="*/ 187 w 291"/>
                  <a:gd name="T89" fmla="*/ 243 h 308"/>
                  <a:gd name="T90" fmla="*/ 178 w 291"/>
                  <a:gd name="T91" fmla="*/ 230 h 308"/>
                  <a:gd name="T92" fmla="*/ 165 w 291"/>
                  <a:gd name="T93" fmla="*/ 221 h 308"/>
                  <a:gd name="T94" fmla="*/ 165 w 291"/>
                  <a:gd name="T95" fmla="*/ 217 h 308"/>
                  <a:gd name="T96" fmla="*/ 165 w 291"/>
                  <a:gd name="T97" fmla="*/ 208 h 308"/>
                  <a:gd name="T98" fmla="*/ 165 w 291"/>
                  <a:gd name="T99" fmla="*/ 204 h 308"/>
                  <a:gd name="T100" fmla="*/ 169 w 291"/>
                  <a:gd name="T101" fmla="*/ 191 h 308"/>
                  <a:gd name="T102" fmla="*/ 165 w 291"/>
                  <a:gd name="T103" fmla="*/ 178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1" h="308">
                    <a:moveTo>
                      <a:pt x="4" y="121"/>
                    </a:moveTo>
                    <a:lnTo>
                      <a:pt x="4" y="121"/>
                    </a:lnTo>
                    <a:lnTo>
                      <a:pt x="4" y="117"/>
                    </a:lnTo>
                    <a:lnTo>
                      <a:pt x="8" y="113"/>
                    </a:lnTo>
                    <a:lnTo>
                      <a:pt x="8" y="113"/>
                    </a:lnTo>
                    <a:lnTo>
                      <a:pt x="13" y="113"/>
                    </a:lnTo>
                    <a:lnTo>
                      <a:pt x="13" y="117"/>
                    </a:lnTo>
                    <a:lnTo>
                      <a:pt x="13" y="117"/>
                    </a:lnTo>
                    <a:lnTo>
                      <a:pt x="13" y="121"/>
                    </a:lnTo>
                    <a:lnTo>
                      <a:pt x="4" y="126"/>
                    </a:lnTo>
                    <a:lnTo>
                      <a:pt x="0" y="121"/>
                    </a:lnTo>
                    <a:lnTo>
                      <a:pt x="4" y="121"/>
                    </a:lnTo>
                    <a:close/>
                    <a:moveTo>
                      <a:pt x="165" y="178"/>
                    </a:moveTo>
                    <a:lnTo>
                      <a:pt x="165" y="178"/>
                    </a:lnTo>
                    <a:lnTo>
                      <a:pt x="161" y="174"/>
                    </a:lnTo>
                    <a:lnTo>
                      <a:pt x="161" y="169"/>
                    </a:lnTo>
                    <a:lnTo>
                      <a:pt x="161" y="165"/>
                    </a:lnTo>
                    <a:lnTo>
                      <a:pt x="165" y="152"/>
                    </a:lnTo>
                    <a:lnTo>
                      <a:pt x="169" y="148"/>
                    </a:lnTo>
                    <a:lnTo>
                      <a:pt x="169" y="148"/>
                    </a:lnTo>
                    <a:lnTo>
                      <a:pt x="169" y="139"/>
                    </a:lnTo>
                    <a:lnTo>
                      <a:pt x="169" y="139"/>
                    </a:lnTo>
                    <a:lnTo>
                      <a:pt x="174" y="135"/>
                    </a:lnTo>
                    <a:lnTo>
                      <a:pt x="174" y="126"/>
                    </a:lnTo>
                    <a:lnTo>
                      <a:pt x="178" y="117"/>
                    </a:lnTo>
                    <a:lnTo>
                      <a:pt x="178" y="117"/>
                    </a:lnTo>
                    <a:lnTo>
                      <a:pt x="182" y="113"/>
                    </a:lnTo>
                    <a:lnTo>
                      <a:pt x="182" y="108"/>
                    </a:lnTo>
                    <a:lnTo>
                      <a:pt x="182" y="104"/>
                    </a:lnTo>
                    <a:lnTo>
                      <a:pt x="187" y="95"/>
                    </a:lnTo>
                    <a:lnTo>
                      <a:pt x="187" y="95"/>
                    </a:lnTo>
                    <a:lnTo>
                      <a:pt x="187" y="91"/>
                    </a:lnTo>
                    <a:lnTo>
                      <a:pt x="187" y="91"/>
                    </a:lnTo>
                    <a:lnTo>
                      <a:pt x="187" y="91"/>
                    </a:lnTo>
                    <a:lnTo>
                      <a:pt x="191" y="87"/>
                    </a:lnTo>
                    <a:lnTo>
                      <a:pt x="191" y="82"/>
                    </a:lnTo>
                    <a:lnTo>
                      <a:pt x="191" y="82"/>
                    </a:lnTo>
                    <a:lnTo>
                      <a:pt x="191" y="82"/>
                    </a:lnTo>
                    <a:lnTo>
                      <a:pt x="191" y="78"/>
                    </a:lnTo>
                    <a:lnTo>
                      <a:pt x="191" y="74"/>
                    </a:lnTo>
                    <a:lnTo>
                      <a:pt x="195" y="69"/>
                    </a:lnTo>
                    <a:lnTo>
                      <a:pt x="204" y="56"/>
                    </a:lnTo>
                    <a:lnTo>
                      <a:pt x="204" y="56"/>
                    </a:lnTo>
                    <a:lnTo>
                      <a:pt x="204" y="48"/>
                    </a:lnTo>
                    <a:lnTo>
                      <a:pt x="208" y="43"/>
                    </a:lnTo>
                    <a:lnTo>
                      <a:pt x="208" y="39"/>
                    </a:lnTo>
                    <a:lnTo>
                      <a:pt x="208" y="39"/>
                    </a:lnTo>
                    <a:lnTo>
                      <a:pt x="213" y="35"/>
                    </a:lnTo>
                    <a:lnTo>
                      <a:pt x="213" y="30"/>
                    </a:lnTo>
                    <a:lnTo>
                      <a:pt x="213" y="26"/>
                    </a:lnTo>
                    <a:lnTo>
                      <a:pt x="226" y="21"/>
                    </a:lnTo>
                    <a:lnTo>
                      <a:pt x="226" y="21"/>
                    </a:lnTo>
                    <a:lnTo>
                      <a:pt x="230" y="17"/>
                    </a:lnTo>
                    <a:lnTo>
                      <a:pt x="235" y="17"/>
                    </a:lnTo>
                    <a:lnTo>
                      <a:pt x="235" y="17"/>
                    </a:lnTo>
                    <a:lnTo>
                      <a:pt x="239" y="13"/>
                    </a:lnTo>
                    <a:lnTo>
                      <a:pt x="239" y="13"/>
                    </a:lnTo>
                    <a:lnTo>
                      <a:pt x="239" y="13"/>
                    </a:lnTo>
                    <a:lnTo>
                      <a:pt x="239" y="13"/>
                    </a:lnTo>
                    <a:lnTo>
                      <a:pt x="243" y="13"/>
                    </a:lnTo>
                    <a:lnTo>
                      <a:pt x="243" y="13"/>
                    </a:lnTo>
                    <a:lnTo>
                      <a:pt x="243" y="13"/>
                    </a:lnTo>
                    <a:lnTo>
                      <a:pt x="239" y="13"/>
                    </a:lnTo>
                    <a:lnTo>
                      <a:pt x="239" y="8"/>
                    </a:lnTo>
                    <a:lnTo>
                      <a:pt x="243" y="4"/>
                    </a:lnTo>
                    <a:lnTo>
                      <a:pt x="243" y="4"/>
                    </a:lnTo>
                    <a:lnTo>
                      <a:pt x="243" y="4"/>
                    </a:lnTo>
                    <a:lnTo>
                      <a:pt x="248" y="0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56" y="0"/>
                    </a:lnTo>
                    <a:lnTo>
                      <a:pt x="256" y="0"/>
                    </a:lnTo>
                    <a:lnTo>
                      <a:pt x="256" y="4"/>
                    </a:lnTo>
                    <a:lnTo>
                      <a:pt x="261" y="8"/>
                    </a:lnTo>
                    <a:lnTo>
                      <a:pt x="265" y="8"/>
                    </a:lnTo>
                    <a:lnTo>
                      <a:pt x="269" y="8"/>
                    </a:lnTo>
                    <a:lnTo>
                      <a:pt x="278" y="8"/>
                    </a:lnTo>
                    <a:lnTo>
                      <a:pt x="291" y="17"/>
                    </a:lnTo>
                    <a:lnTo>
                      <a:pt x="291" y="17"/>
                    </a:lnTo>
                    <a:lnTo>
                      <a:pt x="291" y="17"/>
                    </a:lnTo>
                    <a:lnTo>
                      <a:pt x="287" y="17"/>
                    </a:lnTo>
                    <a:lnTo>
                      <a:pt x="287" y="21"/>
                    </a:lnTo>
                    <a:lnTo>
                      <a:pt x="282" y="21"/>
                    </a:lnTo>
                    <a:lnTo>
                      <a:pt x="282" y="26"/>
                    </a:lnTo>
                    <a:lnTo>
                      <a:pt x="278" y="30"/>
                    </a:lnTo>
                    <a:lnTo>
                      <a:pt x="278" y="35"/>
                    </a:lnTo>
                    <a:lnTo>
                      <a:pt x="278" y="35"/>
                    </a:lnTo>
                    <a:lnTo>
                      <a:pt x="278" y="39"/>
                    </a:lnTo>
                    <a:lnTo>
                      <a:pt x="278" y="43"/>
                    </a:lnTo>
                    <a:lnTo>
                      <a:pt x="278" y="43"/>
                    </a:lnTo>
                    <a:lnTo>
                      <a:pt x="282" y="52"/>
                    </a:lnTo>
                    <a:lnTo>
                      <a:pt x="282" y="52"/>
                    </a:lnTo>
                    <a:lnTo>
                      <a:pt x="282" y="52"/>
                    </a:lnTo>
                    <a:lnTo>
                      <a:pt x="287" y="56"/>
                    </a:lnTo>
                    <a:lnTo>
                      <a:pt x="287" y="56"/>
                    </a:lnTo>
                    <a:lnTo>
                      <a:pt x="287" y="56"/>
                    </a:lnTo>
                    <a:lnTo>
                      <a:pt x="287" y="61"/>
                    </a:lnTo>
                    <a:lnTo>
                      <a:pt x="287" y="65"/>
                    </a:lnTo>
                    <a:lnTo>
                      <a:pt x="287" y="65"/>
                    </a:lnTo>
                    <a:lnTo>
                      <a:pt x="287" y="69"/>
                    </a:lnTo>
                    <a:lnTo>
                      <a:pt x="282" y="69"/>
                    </a:lnTo>
                    <a:lnTo>
                      <a:pt x="282" y="69"/>
                    </a:lnTo>
                    <a:lnTo>
                      <a:pt x="282" y="69"/>
                    </a:lnTo>
                    <a:lnTo>
                      <a:pt x="282" y="74"/>
                    </a:lnTo>
                    <a:lnTo>
                      <a:pt x="282" y="78"/>
                    </a:lnTo>
                    <a:lnTo>
                      <a:pt x="282" y="82"/>
                    </a:lnTo>
                    <a:lnTo>
                      <a:pt x="282" y="82"/>
                    </a:lnTo>
                    <a:lnTo>
                      <a:pt x="282" y="82"/>
                    </a:lnTo>
                    <a:lnTo>
                      <a:pt x="278" y="91"/>
                    </a:lnTo>
                    <a:lnTo>
                      <a:pt x="278" y="95"/>
                    </a:lnTo>
                    <a:lnTo>
                      <a:pt x="274" y="104"/>
                    </a:lnTo>
                    <a:lnTo>
                      <a:pt x="274" y="104"/>
                    </a:lnTo>
                    <a:lnTo>
                      <a:pt x="274" y="108"/>
                    </a:lnTo>
                    <a:lnTo>
                      <a:pt x="278" y="108"/>
                    </a:lnTo>
                    <a:lnTo>
                      <a:pt x="278" y="113"/>
                    </a:lnTo>
                    <a:lnTo>
                      <a:pt x="278" y="121"/>
                    </a:lnTo>
                    <a:lnTo>
                      <a:pt x="274" y="139"/>
                    </a:lnTo>
                    <a:lnTo>
                      <a:pt x="278" y="156"/>
                    </a:lnTo>
                    <a:lnTo>
                      <a:pt x="274" y="165"/>
                    </a:lnTo>
                    <a:lnTo>
                      <a:pt x="274" y="165"/>
                    </a:lnTo>
                    <a:lnTo>
                      <a:pt x="274" y="165"/>
                    </a:lnTo>
                    <a:lnTo>
                      <a:pt x="274" y="174"/>
                    </a:lnTo>
                    <a:lnTo>
                      <a:pt x="269" y="195"/>
                    </a:lnTo>
                    <a:lnTo>
                      <a:pt x="265" y="213"/>
                    </a:lnTo>
                    <a:lnTo>
                      <a:pt x="261" y="226"/>
                    </a:lnTo>
                    <a:lnTo>
                      <a:pt x="261" y="230"/>
                    </a:lnTo>
                    <a:lnTo>
                      <a:pt x="261" y="230"/>
                    </a:lnTo>
                    <a:lnTo>
                      <a:pt x="256" y="230"/>
                    </a:lnTo>
                    <a:lnTo>
                      <a:pt x="256" y="230"/>
                    </a:lnTo>
                    <a:lnTo>
                      <a:pt x="256" y="235"/>
                    </a:lnTo>
                    <a:lnTo>
                      <a:pt x="252" y="239"/>
                    </a:lnTo>
                    <a:lnTo>
                      <a:pt x="252" y="239"/>
                    </a:lnTo>
                    <a:lnTo>
                      <a:pt x="248" y="248"/>
                    </a:lnTo>
                    <a:lnTo>
                      <a:pt x="248" y="252"/>
                    </a:lnTo>
                    <a:lnTo>
                      <a:pt x="243" y="269"/>
                    </a:lnTo>
                    <a:lnTo>
                      <a:pt x="243" y="269"/>
                    </a:lnTo>
                    <a:lnTo>
                      <a:pt x="243" y="274"/>
                    </a:lnTo>
                    <a:lnTo>
                      <a:pt x="248" y="274"/>
                    </a:lnTo>
                    <a:lnTo>
                      <a:pt x="248" y="278"/>
                    </a:lnTo>
                    <a:lnTo>
                      <a:pt x="248" y="291"/>
                    </a:lnTo>
                    <a:lnTo>
                      <a:pt x="252" y="295"/>
                    </a:lnTo>
                    <a:lnTo>
                      <a:pt x="248" y="308"/>
                    </a:lnTo>
                    <a:lnTo>
                      <a:pt x="239" y="308"/>
                    </a:lnTo>
                    <a:lnTo>
                      <a:pt x="239" y="308"/>
                    </a:lnTo>
                    <a:lnTo>
                      <a:pt x="235" y="308"/>
                    </a:lnTo>
                    <a:lnTo>
                      <a:pt x="235" y="295"/>
                    </a:lnTo>
                    <a:lnTo>
                      <a:pt x="235" y="291"/>
                    </a:lnTo>
                    <a:lnTo>
                      <a:pt x="235" y="291"/>
                    </a:lnTo>
                    <a:lnTo>
                      <a:pt x="230" y="287"/>
                    </a:lnTo>
                    <a:lnTo>
                      <a:pt x="230" y="287"/>
                    </a:lnTo>
                    <a:lnTo>
                      <a:pt x="226" y="278"/>
                    </a:lnTo>
                    <a:lnTo>
                      <a:pt x="226" y="278"/>
                    </a:lnTo>
                    <a:lnTo>
                      <a:pt x="222" y="274"/>
                    </a:lnTo>
                    <a:lnTo>
                      <a:pt x="222" y="269"/>
                    </a:lnTo>
                    <a:lnTo>
                      <a:pt x="217" y="269"/>
                    </a:lnTo>
                    <a:lnTo>
                      <a:pt x="213" y="269"/>
                    </a:lnTo>
                    <a:lnTo>
                      <a:pt x="213" y="265"/>
                    </a:lnTo>
                    <a:lnTo>
                      <a:pt x="208" y="265"/>
                    </a:lnTo>
                    <a:lnTo>
                      <a:pt x="208" y="265"/>
                    </a:lnTo>
                    <a:lnTo>
                      <a:pt x="204" y="265"/>
                    </a:lnTo>
                    <a:lnTo>
                      <a:pt x="204" y="265"/>
                    </a:lnTo>
                    <a:lnTo>
                      <a:pt x="204" y="265"/>
                    </a:lnTo>
                    <a:lnTo>
                      <a:pt x="200" y="265"/>
                    </a:lnTo>
                    <a:lnTo>
                      <a:pt x="200" y="261"/>
                    </a:lnTo>
                    <a:lnTo>
                      <a:pt x="195" y="261"/>
                    </a:lnTo>
                    <a:lnTo>
                      <a:pt x="195" y="261"/>
                    </a:lnTo>
                    <a:lnTo>
                      <a:pt x="195" y="261"/>
                    </a:lnTo>
                    <a:lnTo>
                      <a:pt x="195" y="261"/>
                    </a:lnTo>
                    <a:lnTo>
                      <a:pt x="195" y="261"/>
                    </a:lnTo>
                    <a:lnTo>
                      <a:pt x="195" y="256"/>
                    </a:lnTo>
                    <a:lnTo>
                      <a:pt x="195" y="256"/>
                    </a:lnTo>
                    <a:lnTo>
                      <a:pt x="191" y="256"/>
                    </a:lnTo>
                    <a:lnTo>
                      <a:pt x="191" y="252"/>
                    </a:lnTo>
                    <a:lnTo>
                      <a:pt x="187" y="252"/>
                    </a:lnTo>
                    <a:lnTo>
                      <a:pt x="187" y="252"/>
                    </a:lnTo>
                    <a:lnTo>
                      <a:pt x="187" y="252"/>
                    </a:lnTo>
                    <a:lnTo>
                      <a:pt x="187" y="252"/>
                    </a:lnTo>
                    <a:lnTo>
                      <a:pt x="187" y="248"/>
                    </a:lnTo>
                    <a:lnTo>
                      <a:pt x="187" y="243"/>
                    </a:lnTo>
                    <a:lnTo>
                      <a:pt x="182" y="239"/>
                    </a:lnTo>
                    <a:lnTo>
                      <a:pt x="182" y="239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26"/>
                    </a:lnTo>
                    <a:lnTo>
                      <a:pt x="174" y="221"/>
                    </a:lnTo>
                    <a:lnTo>
                      <a:pt x="169" y="221"/>
                    </a:lnTo>
                    <a:lnTo>
                      <a:pt x="165" y="221"/>
                    </a:lnTo>
                    <a:lnTo>
                      <a:pt x="165" y="217"/>
                    </a:lnTo>
                    <a:lnTo>
                      <a:pt x="165" y="217"/>
                    </a:lnTo>
                    <a:lnTo>
                      <a:pt x="165" y="217"/>
                    </a:lnTo>
                    <a:lnTo>
                      <a:pt x="165" y="217"/>
                    </a:lnTo>
                    <a:lnTo>
                      <a:pt x="169" y="217"/>
                    </a:lnTo>
                    <a:lnTo>
                      <a:pt x="169" y="213"/>
                    </a:lnTo>
                    <a:lnTo>
                      <a:pt x="169" y="213"/>
                    </a:lnTo>
                    <a:lnTo>
                      <a:pt x="165" y="208"/>
                    </a:lnTo>
                    <a:lnTo>
                      <a:pt x="165" y="208"/>
                    </a:lnTo>
                    <a:lnTo>
                      <a:pt x="165" y="208"/>
                    </a:lnTo>
                    <a:lnTo>
                      <a:pt x="165" y="208"/>
                    </a:lnTo>
                    <a:lnTo>
                      <a:pt x="165" y="204"/>
                    </a:lnTo>
                    <a:lnTo>
                      <a:pt x="165" y="200"/>
                    </a:lnTo>
                    <a:lnTo>
                      <a:pt x="165" y="195"/>
                    </a:lnTo>
                    <a:lnTo>
                      <a:pt x="169" y="195"/>
                    </a:lnTo>
                    <a:lnTo>
                      <a:pt x="169" y="191"/>
                    </a:lnTo>
                    <a:lnTo>
                      <a:pt x="169" y="187"/>
                    </a:lnTo>
                    <a:lnTo>
                      <a:pt x="165" y="182"/>
                    </a:lnTo>
                    <a:lnTo>
                      <a:pt x="165" y="178"/>
                    </a:lnTo>
                    <a:lnTo>
                      <a:pt x="165" y="17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47" name="AutoShape 82" descr="03">
                <a:hlinkClick r:id="rId4"/>
                <a:extLst>
                  <a:ext uri="{FF2B5EF4-FFF2-40B4-BE49-F238E27FC236}">
                    <a16:creationId xmlns:a16="http://schemas.microsoft.com/office/drawing/2014/main" id="{824B4A9A-88D3-7131-D014-F75152ADBCFD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4858082" y="3555333"/>
                <a:ext cx="65" cy="184666"/>
              </a:xfrm>
              <a:prstGeom prst="rect">
                <a:avLst/>
              </a:prstGeom>
              <a:grpFill/>
              <a:ln w="9525" algn="ctr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宋体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49" name="AutoShape 84" descr="03">
                <a:hlinkClick r:id="rId4"/>
                <a:extLst>
                  <a:ext uri="{FF2B5EF4-FFF2-40B4-BE49-F238E27FC236}">
                    <a16:creationId xmlns:a16="http://schemas.microsoft.com/office/drawing/2014/main" id="{173E402A-5C27-5B5C-63B3-4062AAEC14EF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4495259" y="3555331"/>
                <a:ext cx="65" cy="184666"/>
              </a:xfrm>
              <a:prstGeom prst="rect">
                <a:avLst/>
              </a:prstGeom>
              <a:grpFill/>
              <a:ln w="9525" algn="ctr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100">
                <a:extLst>
                  <a:ext uri="{FF2B5EF4-FFF2-40B4-BE49-F238E27FC236}">
                    <a16:creationId xmlns:a16="http://schemas.microsoft.com/office/drawing/2014/main" id="{A2AFE76A-8C4A-B9F5-76E0-68840E3D059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132266" y="4279147"/>
                <a:ext cx="133048" cy="165100"/>
              </a:xfrm>
              <a:custGeom>
                <a:avLst/>
                <a:gdLst>
                  <a:gd name="T0" fmla="*/ 39 w 78"/>
                  <a:gd name="T1" fmla="*/ 96 h 100"/>
                  <a:gd name="T2" fmla="*/ 35 w 78"/>
                  <a:gd name="T3" fmla="*/ 91 h 100"/>
                  <a:gd name="T4" fmla="*/ 22 w 78"/>
                  <a:gd name="T5" fmla="*/ 87 h 100"/>
                  <a:gd name="T6" fmla="*/ 13 w 78"/>
                  <a:gd name="T7" fmla="*/ 74 h 100"/>
                  <a:gd name="T8" fmla="*/ 8 w 78"/>
                  <a:gd name="T9" fmla="*/ 74 h 100"/>
                  <a:gd name="T10" fmla="*/ 4 w 78"/>
                  <a:gd name="T11" fmla="*/ 74 h 100"/>
                  <a:gd name="T12" fmla="*/ 4 w 78"/>
                  <a:gd name="T13" fmla="*/ 65 h 100"/>
                  <a:gd name="T14" fmla="*/ 8 w 78"/>
                  <a:gd name="T15" fmla="*/ 65 h 100"/>
                  <a:gd name="T16" fmla="*/ 17 w 78"/>
                  <a:gd name="T17" fmla="*/ 61 h 100"/>
                  <a:gd name="T18" fmla="*/ 13 w 78"/>
                  <a:gd name="T19" fmla="*/ 56 h 100"/>
                  <a:gd name="T20" fmla="*/ 17 w 78"/>
                  <a:gd name="T21" fmla="*/ 35 h 100"/>
                  <a:gd name="T22" fmla="*/ 30 w 78"/>
                  <a:gd name="T23" fmla="*/ 30 h 100"/>
                  <a:gd name="T24" fmla="*/ 39 w 78"/>
                  <a:gd name="T25" fmla="*/ 35 h 100"/>
                  <a:gd name="T26" fmla="*/ 56 w 78"/>
                  <a:gd name="T27" fmla="*/ 39 h 100"/>
                  <a:gd name="T28" fmla="*/ 61 w 78"/>
                  <a:gd name="T29" fmla="*/ 39 h 100"/>
                  <a:gd name="T30" fmla="*/ 65 w 78"/>
                  <a:gd name="T31" fmla="*/ 43 h 100"/>
                  <a:gd name="T32" fmla="*/ 69 w 78"/>
                  <a:gd name="T33" fmla="*/ 48 h 100"/>
                  <a:gd name="T34" fmla="*/ 78 w 78"/>
                  <a:gd name="T35" fmla="*/ 61 h 100"/>
                  <a:gd name="T36" fmla="*/ 78 w 78"/>
                  <a:gd name="T37" fmla="*/ 69 h 100"/>
                  <a:gd name="T38" fmla="*/ 78 w 78"/>
                  <a:gd name="T39" fmla="*/ 74 h 100"/>
                  <a:gd name="T40" fmla="*/ 74 w 78"/>
                  <a:gd name="T41" fmla="*/ 78 h 100"/>
                  <a:gd name="T42" fmla="*/ 65 w 78"/>
                  <a:gd name="T43" fmla="*/ 78 h 100"/>
                  <a:gd name="T44" fmla="*/ 56 w 78"/>
                  <a:gd name="T45" fmla="*/ 83 h 100"/>
                  <a:gd name="T46" fmla="*/ 48 w 78"/>
                  <a:gd name="T47" fmla="*/ 87 h 100"/>
                  <a:gd name="T48" fmla="*/ 43 w 78"/>
                  <a:gd name="T49" fmla="*/ 96 h 100"/>
                  <a:gd name="T50" fmla="*/ 39 w 78"/>
                  <a:gd name="T51" fmla="*/ 100 h 100"/>
                  <a:gd name="T52" fmla="*/ 17 w 78"/>
                  <a:gd name="T53" fmla="*/ 4 h 100"/>
                  <a:gd name="T54" fmla="*/ 22 w 78"/>
                  <a:gd name="T55" fmla="*/ 0 h 100"/>
                  <a:gd name="T56" fmla="*/ 26 w 78"/>
                  <a:gd name="T57" fmla="*/ 0 h 100"/>
                  <a:gd name="T58" fmla="*/ 35 w 78"/>
                  <a:gd name="T59" fmla="*/ 4 h 100"/>
                  <a:gd name="T60" fmla="*/ 35 w 78"/>
                  <a:gd name="T61" fmla="*/ 4 h 100"/>
                  <a:gd name="T62" fmla="*/ 35 w 78"/>
                  <a:gd name="T63" fmla="*/ 9 h 100"/>
                  <a:gd name="T64" fmla="*/ 39 w 78"/>
                  <a:gd name="T65" fmla="*/ 9 h 100"/>
                  <a:gd name="T66" fmla="*/ 48 w 78"/>
                  <a:gd name="T67" fmla="*/ 13 h 100"/>
                  <a:gd name="T68" fmla="*/ 61 w 78"/>
                  <a:gd name="T69" fmla="*/ 17 h 100"/>
                  <a:gd name="T70" fmla="*/ 61 w 78"/>
                  <a:gd name="T71" fmla="*/ 17 h 100"/>
                  <a:gd name="T72" fmla="*/ 65 w 78"/>
                  <a:gd name="T73" fmla="*/ 17 h 100"/>
                  <a:gd name="T74" fmla="*/ 69 w 78"/>
                  <a:gd name="T75" fmla="*/ 17 h 100"/>
                  <a:gd name="T76" fmla="*/ 69 w 78"/>
                  <a:gd name="T77" fmla="*/ 17 h 100"/>
                  <a:gd name="T78" fmla="*/ 69 w 78"/>
                  <a:gd name="T79" fmla="*/ 22 h 100"/>
                  <a:gd name="T80" fmla="*/ 65 w 78"/>
                  <a:gd name="T81" fmla="*/ 26 h 100"/>
                  <a:gd name="T82" fmla="*/ 61 w 78"/>
                  <a:gd name="T83" fmla="*/ 26 h 100"/>
                  <a:gd name="T84" fmla="*/ 43 w 78"/>
                  <a:gd name="T85" fmla="*/ 22 h 100"/>
                  <a:gd name="T86" fmla="*/ 30 w 78"/>
                  <a:gd name="T87" fmla="*/ 17 h 100"/>
                  <a:gd name="T88" fmla="*/ 30 w 78"/>
                  <a:gd name="T89" fmla="*/ 17 h 100"/>
                  <a:gd name="T90" fmla="*/ 26 w 78"/>
                  <a:gd name="T91" fmla="*/ 13 h 100"/>
                  <a:gd name="T92" fmla="*/ 17 w 78"/>
                  <a:gd name="T93" fmla="*/ 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78" h="100">
                    <a:moveTo>
                      <a:pt x="39" y="100"/>
                    </a:moveTo>
                    <a:lnTo>
                      <a:pt x="39" y="96"/>
                    </a:lnTo>
                    <a:lnTo>
                      <a:pt x="35" y="91"/>
                    </a:lnTo>
                    <a:lnTo>
                      <a:pt x="35" y="91"/>
                    </a:lnTo>
                    <a:lnTo>
                      <a:pt x="22" y="87"/>
                    </a:lnTo>
                    <a:lnTo>
                      <a:pt x="22" y="87"/>
                    </a:lnTo>
                    <a:lnTo>
                      <a:pt x="13" y="83"/>
                    </a:lnTo>
                    <a:lnTo>
                      <a:pt x="13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0" y="65"/>
                    </a:lnTo>
                    <a:lnTo>
                      <a:pt x="4" y="65"/>
                    </a:lnTo>
                    <a:lnTo>
                      <a:pt x="4" y="65"/>
                    </a:lnTo>
                    <a:lnTo>
                      <a:pt x="8" y="65"/>
                    </a:lnTo>
                    <a:lnTo>
                      <a:pt x="13" y="65"/>
                    </a:lnTo>
                    <a:lnTo>
                      <a:pt x="17" y="61"/>
                    </a:lnTo>
                    <a:lnTo>
                      <a:pt x="17" y="61"/>
                    </a:lnTo>
                    <a:lnTo>
                      <a:pt x="13" y="56"/>
                    </a:lnTo>
                    <a:lnTo>
                      <a:pt x="17" y="39"/>
                    </a:lnTo>
                    <a:lnTo>
                      <a:pt x="17" y="35"/>
                    </a:lnTo>
                    <a:lnTo>
                      <a:pt x="22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9" y="35"/>
                    </a:lnTo>
                    <a:lnTo>
                      <a:pt x="52" y="39"/>
                    </a:lnTo>
                    <a:lnTo>
                      <a:pt x="56" y="39"/>
                    </a:lnTo>
                    <a:lnTo>
                      <a:pt x="56" y="39"/>
                    </a:lnTo>
                    <a:lnTo>
                      <a:pt x="61" y="39"/>
                    </a:lnTo>
                    <a:lnTo>
                      <a:pt x="61" y="43"/>
                    </a:lnTo>
                    <a:lnTo>
                      <a:pt x="65" y="43"/>
                    </a:lnTo>
                    <a:lnTo>
                      <a:pt x="65" y="48"/>
                    </a:lnTo>
                    <a:lnTo>
                      <a:pt x="69" y="48"/>
                    </a:lnTo>
                    <a:lnTo>
                      <a:pt x="69" y="52"/>
                    </a:lnTo>
                    <a:lnTo>
                      <a:pt x="78" y="61"/>
                    </a:lnTo>
                    <a:lnTo>
                      <a:pt x="78" y="65"/>
                    </a:lnTo>
                    <a:lnTo>
                      <a:pt x="78" y="69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69" y="78"/>
                    </a:lnTo>
                    <a:lnTo>
                      <a:pt x="65" y="78"/>
                    </a:lnTo>
                    <a:lnTo>
                      <a:pt x="61" y="78"/>
                    </a:lnTo>
                    <a:lnTo>
                      <a:pt x="56" y="83"/>
                    </a:lnTo>
                    <a:lnTo>
                      <a:pt x="52" y="83"/>
                    </a:lnTo>
                    <a:lnTo>
                      <a:pt x="48" y="87"/>
                    </a:lnTo>
                    <a:lnTo>
                      <a:pt x="48" y="91"/>
                    </a:lnTo>
                    <a:lnTo>
                      <a:pt x="43" y="96"/>
                    </a:lnTo>
                    <a:lnTo>
                      <a:pt x="43" y="96"/>
                    </a:lnTo>
                    <a:lnTo>
                      <a:pt x="39" y="100"/>
                    </a:lnTo>
                    <a:close/>
                    <a:moveTo>
                      <a:pt x="17" y="4"/>
                    </a:moveTo>
                    <a:lnTo>
                      <a:pt x="17" y="4"/>
                    </a:lnTo>
                    <a:lnTo>
                      <a:pt x="17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5" y="4"/>
                    </a:lnTo>
                    <a:lnTo>
                      <a:pt x="35" y="4"/>
                    </a:lnTo>
                    <a:lnTo>
                      <a:pt x="35" y="4"/>
                    </a:lnTo>
                    <a:lnTo>
                      <a:pt x="39" y="9"/>
                    </a:lnTo>
                    <a:lnTo>
                      <a:pt x="35" y="9"/>
                    </a:lnTo>
                    <a:lnTo>
                      <a:pt x="35" y="9"/>
                    </a:lnTo>
                    <a:lnTo>
                      <a:pt x="39" y="9"/>
                    </a:lnTo>
                    <a:lnTo>
                      <a:pt x="43" y="13"/>
                    </a:lnTo>
                    <a:lnTo>
                      <a:pt x="48" y="13"/>
                    </a:lnTo>
                    <a:lnTo>
                      <a:pt x="52" y="13"/>
                    </a:lnTo>
                    <a:lnTo>
                      <a:pt x="61" y="17"/>
                    </a:lnTo>
                    <a:lnTo>
                      <a:pt x="61" y="17"/>
                    </a:lnTo>
                    <a:lnTo>
                      <a:pt x="61" y="17"/>
                    </a:lnTo>
                    <a:lnTo>
                      <a:pt x="61" y="17"/>
                    </a:lnTo>
                    <a:lnTo>
                      <a:pt x="65" y="17"/>
                    </a:lnTo>
                    <a:lnTo>
                      <a:pt x="65" y="17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9" y="22"/>
                    </a:lnTo>
                    <a:lnTo>
                      <a:pt x="69" y="22"/>
                    </a:lnTo>
                    <a:lnTo>
                      <a:pt x="65" y="26"/>
                    </a:lnTo>
                    <a:lnTo>
                      <a:pt x="65" y="26"/>
                    </a:lnTo>
                    <a:lnTo>
                      <a:pt x="65" y="26"/>
                    </a:lnTo>
                    <a:lnTo>
                      <a:pt x="61" y="26"/>
                    </a:lnTo>
                    <a:lnTo>
                      <a:pt x="56" y="26"/>
                    </a:lnTo>
                    <a:lnTo>
                      <a:pt x="43" y="22"/>
                    </a:lnTo>
                    <a:lnTo>
                      <a:pt x="35" y="17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26" y="13"/>
                    </a:lnTo>
                    <a:lnTo>
                      <a:pt x="26" y="13"/>
                    </a:lnTo>
                    <a:lnTo>
                      <a:pt x="17" y="9"/>
                    </a:lnTo>
                    <a:lnTo>
                      <a:pt x="17" y="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26">
                <a:extLst>
                  <a:ext uri="{FF2B5EF4-FFF2-40B4-BE49-F238E27FC236}">
                    <a16:creationId xmlns:a16="http://schemas.microsoft.com/office/drawing/2014/main" id="{BFC75193-6DBB-406F-3843-BD6C7E3EB0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9401" y="1156620"/>
                <a:ext cx="1465036" cy="1266825"/>
              </a:xfrm>
              <a:custGeom>
                <a:avLst/>
                <a:gdLst>
                  <a:gd name="T0" fmla="*/ 261 w 844"/>
                  <a:gd name="T1" fmla="*/ 356 h 765"/>
                  <a:gd name="T2" fmla="*/ 265 w 844"/>
                  <a:gd name="T3" fmla="*/ 291 h 765"/>
                  <a:gd name="T4" fmla="*/ 283 w 844"/>
                  <a:gd name="T5" fmla="*/ 222 h 765"/>
                  <a:gd name="T6" fmla="*/ 257 w 844"/>
                  <a:gd name="T7" fmla="*/ 161 h 765"/>
                  <a:gd name="T8" fmla="*/ 217 w 844"/>
                  <a:gd name="T9" fmla="*/ 169 h 765"/>
                  <a:gd name="T10" fmla="*/ 178 w 844"/>
                  <a:gd name="T11" fmla="*/ 182 h 765"/>
                  <a:gd name="T12" fmla="*/ 148 w 844"/>
                  <a:gd name="T13" fmla="*/ 195 h 765"/>
                  <a:gd name="T14" fmla="*/ 100 w 844"/>
                  <a:gd name="T15" fmla="*/ 174 h 765"/>
                  <a:gd name="T16" fmla="*/ 91 w 844"/>
                  <a:gd name="T17" fmla="*/ 122 h 765"/>
                  <a:gd name="T18" fmla="*/ 52 w 844"/>
                  <a:gd name="T19" fmla="*/ 113 h 765"/>
                  <a:gd name="T20" fmla="*/ 22 w 844"/>
                  <a:gd name="T21" fmla="*/ 117 h 765"/>
                  <a:gd name="T22" fmla="*/ 22 w 844"/>
                  <a:gd name="T23" fmla="*/ 74 h 765"/>
                  <a:gd name="T24" fmla="*/ 13 w 844"/>
                  <a:gd name="T25" fmla="*/ 39 h 765"/>
                  <a:gd name="T26" fmla="*/ 74 w 844"/>
                  <a:gd name="T27" fmla="*/ 13 h 765"/>
                  <a:gd name="T28" fmla="*/ 130 w 844"/>
                  <a:gd name="T29" fmla="*/ 8 h 765"/>
                  <a:gd name="T30" fmla="*/ 170 w 844"/>
                  <a:gd name="T31" fmla="*/ 17 h 765"/>
                  <a:gd name="T32" fmla="*/ 213 w 844"/>
                  <a:gd name="T33" fmla="*/ 17 h 765"/>
                  <a:gd name="T34" fmla="*/ 248 w 844"/>
                  <a:gd name="T35" fmla="*/ 39 h 765"/>
                  <a:gd name="T36" fmla="*/ 270 w 844"/>
                  <a:gd name="T37" fmla="*/ 61 h 765"/>
                  <a:gd name="T38" fmla="*/ 287 w 844"/>
                  <a:gd name="T39" fmla="*/ 95 h 765"/>
                  <a:gd name="T40" fmla="*/ 322 w 844"/>
                  <a:gd name="T41" fmla="*/ 152 h 765"/>
                  <a:gd name="T42" fmla="*/ 348 w 844"/>
                  <a:gd name="T43" fmla="*/ 178 h 765"/>
                  <a:gd name="T44" fmla="*/ 378 w 844"/>
                  <a:gd name="T45" fmla="*/ 230 h 765"/>
                  <a:gd name="T46" fmla="*/ 404 w 844"/>
                  <a:gd name="T47" fmla="*/ 274 h 765"/>
                  <a:gd name="T48" fmla="*/ 474 w 844"/>
                  <a:gd name="T49" fmla="*/ 274 h 765"/>
                  <a:gd name="T50" fmla="*/ 517 w 844"/>
                  <a:gd name="T51" fmla="*/ 278 h 765"/>
                  <a:gd name="T52" fmla="*/ 570 w 844"/>
                  <a:gd name="T53" fmla="*/ 300 h 765"/>
                  <a:gd name="T54" fmla="*/ 587 w 844"/>
                  <a:gd name="T55" fmla="*/ 322 h 765"/>
                  <a:gd name="T56" fmla="*/ 622 w 844"/>
                  <a:gd name="T57" fmla="*/ 374 h 765"/>
                  <a:gd name="T58" fmla="*/ 657 w 844"/>
                  <a:gd name="T59" fmla="*/ 378 h 765"/>
                  <a:gd name="T60" fmla="*/ 709 w 844"/>
                  <a:gd name="T61" fmla="*/ 361 h 765"/>
                  <a:gd name="T62" fmla="*/ 765 w 844"/>
                  <a:gd name="T63" fmla="*/ 308 h 765"/>
                  <a:gd name="T64" fmla="*/ 822 w 844"/>
                  <a:gd name="T65" fmla="*/ 269 h 765"/>
                  <a:gd name="T66" fmla="*/ 839 w 844"/>
                  <a:gd name="T67" fmla="*/ 313 h 765"/>
                  <a:gd name="T68" fmla="*/ 831 w 844"/>
                  <a:gd name="T69" fmla="*/ 378 h 765"/>
                  <a:gd name="T70" fmla="*/ 831 w 844"/>
                  <a:gd name="T71" fmla="*/ 439 h 765"/>
                  <a:gd name="T72" fmla="*/ 831 w 844"/>
                  <a:gd name="T73" fmla="*/ 504 h 765"/>
                  <a:gd name="T74" fmla="*/ 822 w 844"/>
                  <a:gd name="T75" fmla="*/ 556 h 765"/>
                  <a:gd name="T76" fmla="*/ 757 w 844"/>
                  <a:gd name="T77" fmla="*/ 569 h 765"/>
                  <a:gd name="T78" fmla="*/ 717 w 844"/>
                  <a:gd name="T79" fmla="*/ 613 h 765"/>
                  <a:gd name="T80" fmla="*/ 744 w 844"/>
                  <a:gd name="T81" fmla="*/ 687 h 765"/>
                  <a:gd name="T82" fmla="*/ 739 w 844"/>
                  <a:gd name="T83" fmla="*/ 730 h 765"/>
                  <a:gd name="T84" fmla="*/ 691 w 844"/>
                  <a:gd name="T85" fmla="*/ 700 h 765"/>
                  <a:gd name="T86" fmla="*/ 661 w 844"/>
                  <a:gd name="T87" fmla="*/ 717 h 765"/>
                  <a:gd name="T88" fmla="*/ 631 w 844"/>
                  <a:gd name="T89" fmla="*/ 756 h 765"/>
                  <a:gd name="T90" fmla="*/ 578 w 844"/>
                  <a:gd name="T91" fmla="*/ 735 h 765"/>
                  <a:gd name="T92" fmla="*/ 544 w 844"/>
                  <a:gd name="T93" fmla="*/ 691 h 765"/>
                  <a:gd name="T94" fmla="*/ 522 w 844"/>
                  <a:gd name="T95" fmla="*/ 726 h 765"/>
                  <a:gd name="T96" fmla="*/ 478 w 844"/>
                  <a:gd name="T97" fmla="*/ 704 h 765"/>
                  <a:gd name="T98" fmla="*/ 448 w 844"/>
                  <a:gd name="T99" fmla="*/ 665 h 765"/>
                  <a:gd name="T100" fmla="*/ 391 w 844"/>
                  <a:gd name="T101" fmla="*/ 669 h 765"/>
                  <a:gd name="T102" fmla="*/ 344 w 844"/>
                  <a:gd name="T103" fmla="*/ 669 h 765"/>
                  <a:gd name="T104" fmla="*/ 278 w 844"/>
                  <a:gd name="T105" fmla="*/ 652 h 765"/>
                  <a:gd name="T106" fmla="*/ 230 w 844"/>
                  <a:gd name="T107" fmla="*/ 621 h 765"/>
                  <a:gd name="T108" fmla="*/ 209 w 844"/>
                  <a:gd name="T109" fmla="*/ 595 h 765"/>
                  <a:gd name="T110" fmla="*/ 230 w 844"/>
                  <a:gd name="T111" fmla="*/ 569 h 765"/>
                  <a:gd name="T112" fmla="*/ 183 w 844"/>
                  <a:gd name="T113" fmla="*/ 561 h 765"/>
                  <a:gd name="T114" fmla="*/ 165 w 844"/>
                  <a:gd name="T115" fmla="*/ 521 h 765"/>
                  <a:gd name="T116" fmla="*/ 200 w 844"/>
                  <a:gd name="T117" fmla="*/ 478 h 765"/>
                  <a:gd name="T118" fmla="*/ 235 w 844"/>
                  <a:gd name="T119" fmla="*/ 426 h 765"/>
                  <a:gd name="T120" fmla="*/ 261 w 844"/>
                  <a:gd name="T121" fmla="*/ 435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4" h="765">
                    <a:moveTo>
                      <a:pt x="257" y="417"/>
                    </a:moveTo>
                    <a:lnTo>
                      <a:pt x="257" y="413"/>
                    </a:lnTo>
                    <a:lnTo>
                      <a:pt x="257" y="408"/>
                    </a:lnTo>
                    <a:lnTo>
                      <a:pt x="257" y="404"/>
                    </a:lnTo>
                    <a:lnTo>
                      <a:pt x="257" y="400"/>
                    </a:lnTo>
                    <a:lnTo>
                      <a:pt x="257" y="395"/>
                    </a:lnTo>
                    <a:lnTo>
                      <a:pt x="257" y="387"/>
                    </a:lnTo>
                    <a:lnTo>
                      <a:pt x="257" y="378"/>
                    </a:lnTo>
                    <a:lnTo>
                      <a:pt x="261" y="369"/>
                    </a:lnTo>
                    <a:lnTo>
                      <a:pt x="261" y="365"/>
                    </a:lnTo>
                    <a:lnTo>
                      <a:pt x="261" y="356"/>
                    </a:lnTo>
                    <a:lnTo>
                      <a:pt x="265" y="356"/>
                    </a:lnTo>
                    <a:lnTo>
                      <a:pt x="270" y="356"/>
                    </a:lnTo>
                    <a:lnTo>
                      <a:pt x="274" y="356"/>
                    </a:lnTo>
                    <a:lnTo>
                      <a:pt x="278" y="356"/>
                    </a:lnTo>
                    <a:lnTo>
                      <a:pt x="278" y="348"/>
                    </a:lnTo>
                    <a:lnTo>
                      <a:pt x="278" y="339"/>
                    </a:lnTo>
                    <a:lnTo>
                      <a:pt x="278" y="330"/>
                    </a:lnTo>
                    <a:lnTo>
                      <a:pt x="274" y="322"/>
                    </a:lnTo>
                    <a:lnTo>
                      <a:pt x="270" y="313"/>
                    </a:lnTo>
                    <a:lnTo>
                      <a:pt x="270" y="304"/>
                    </a:lnTo>
                    <a:lnTo>
                      <a:pt x="265" y="291"/>
                    </a:lnTo>
                    <a:lnTo>
                      <a:pt x="265" y="287"/>
                    </a:lnTo>
                    <a:lnTo>
                      <a:pt x="270" y="278"/>
                    </a:lnTo>
                    <a:lnTo>
                      <a:pt x="270" y="269"/>
                    </a:lnTo>
                    <a:lnTo>
                      <a:pt x="270" y="261"/>
                    </a:lnTo>
                    <a:lnTo>
                      <a:pt x="274" y="252"/>
                    </a:lnTo>
                    <a:lnTo>
                      <a:pt x="274" y="248"/>
                    </a:lnTo>
                    <a:lnTo>
                      <a:pt x="274" y="243"/>
                    </a:lnTo>
                    <a:lnTo>
                      <a:pt x="278" y="235"/>
                    </a:lnTo>
                    <a:lnTo>
                      <a:pt x="283" y="230"/>
                    </a:lnTo>
                    <a:lnTo>
                      <a:pt x="283" y="226"/>
                    </a:lnTo>
                    <a:lnTo>
                      <a:pt x="283" y="222"/>
                    </a:lnTo>
                    <a:lnTo>
                      <a:pt x="278" y="213"/>
                    </a:lnTo>
                    <a:lnTo>
                      <a:pt x="278" y="208"/>
                    </a:lnTo>
                    <a:lnTo>
                      <a:pt x="283" y="200"/>
                    </a:lnTo>
                    <a:lnTo>
                      <a:pt x="287" y="195"/>
                    </a:lnTo>
                    <a:lnTo>
                      <a:pt x="287" y="191"/>
                    </a:lnTo>
                    <a:lnTo>
                      <a:pt x="287" y="182"/>
                    </a:lnTo>
                    <a:lnTo>
                      <a:pt x="283" y="178"/>
                    </a:lnTo>
                    <a:lnTo>
                      <a:pt x="274" y="174"/>
                    </a:lnTo>
                    <a:lnTo>
                      <a:pt x="270" y="174"/>
                    </a:lnTo>
                    <a:lnTo>
                      <a:pt x="261" y="169"/>
                    </a:lnTo>
                    <a:lnTo>
                      <a:pt x="257" y="161"/>
                    </a:lnTo>
                    <a:lnTo>
                      <a:pt x="252" y="156"/>
                    </a:lnTo>
                    <a:lnTo>
                      <a:pt x="248" y="152"/>
                    </a:lnTo>
                    <a:lnTo>
                      <a:pt x="243" y="152"/>
                    </a:lnTo>
                    <a:lnTo>
                      <a:pt x="239" y="148"/>
                    </a:lnTo>
                    <a:lnTo>
                      <a:pt x="235" y="148"/>
                    </a:lnTo>
                    <a:lnTo>
                      <a:pt x="230" y="148"/>
                    </a:lnTo>
                    <a:lnTo>
                      <a:pt x="226" y="148"/>
                    </a:lnTo>
                    <a:lnTo>
                      <a:pt x="222" y="148"/>
                    </a:lnTo>
                    <a:lnTo>
                      <a:pt x="222" y="152"/>
                    </a:lnTo>
                    <a:lnTo>
                      <a:pt x="217" y="161"/>
                    </a:lnTo>
                    <a:lnTo>
                      <a:pt x="217" y="169"/>
                    </a:lnTo>
                    <a:lnTo>
                      <a:pt x="213" y="174"/>
                    </a:lnTo>
                    <a:lnTo>
                      <a:pt x="209" y="178"/>
                    </a:lnTo>
                    <a:lnTo>
                      <a:pt x="204" y="178"/>
                    </a:lnTo>
                    <a:lnTo>
                      <a:pt x="200" y="178"/>
                    </a:lnTo>
                    <a:lnTo>
                      <a:pt x="196" y="178"/>
                    </a:lnTo>
                    <a:lnTo>
                      <a:pt x="196" y="182"/>
                    </a:lnTo>
                    <a:lnTo>
                      <a:pt x="191" y="182"/>
                    </a:lnTo>
                    <a:lnTo>
                      <a:pt x="191" y="187"/>
                    </a:lnTo>
                    <a:lnTo>
                      <a:pt x="187" y="187"/>
                    </a:lnTo>
                    <a:lnTo>
                      <a:pt x="183" y="182"/>
                    </a:lnTo>
                    <a:lnTo>
                      <a:pt x="178" y="182"/>
                    </a:lnTo>
                    <a:lnTo>
                      <a:pt x="178" y="187"/>
                    </a:lnTo>
                    <a:lnTo>
                      <a:pt x="174" y="187"/>
                    </a:lnTo>
                    <a:lnTo>
                      <a:pt x="170" y="187"/>
                    </a:lnTo>
                    <a:lnTo>
                      <a:pt x="165" y="187"/>
                    </a:lnTo>
                    <a:lnTo>
                      <a:pt x="161" y="191"/>
                    </a:lnTo>
                    <a:lnTo>
                      <a:pt x="161" y="195"/>
                    </a:lnTo>
                    <a:lnTo>
                      <a:pt x="161" y="200"/>
                    </a:lnTo>
                    <a:lnTo>
                      <a:pt x="157" y="200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195"/>
                    </a:lnTo>
                    <a:lnTo>
                      <a:pt x="143" y="195"/>
                    </a:lnTo>
                    <a:lnTo>
                      <a:pt x="139" y="200"/>
                    </a:lnTo>
                    <a:lnTo>
                      <a:pt x="135" y="200"/>
                    </a:lnTo>
                    <a:lnTo>
                      <a:pt x="126" y="200"/>
                    </a:lnTo>
                    <a:lnTo>
                      <a:pt x="122" y="195"/>
                    </a:lnTo>
                    <a:lnTo>
                      <a:pt x="117" y="191"/>
                    </a:lnTo>
                    <a:lnTo>
                      <a:pt x="113" y="191"/>
                    </a:lnTo>
                    <a:lnTo>
                      <a:pt x="109" y="187"/>
                    </a:lnTo>
                    <a:lnTo>
                      <a:pt x="104" y="182"/>
                    </a:lnTo>
                    <a:lnTo>
                      <a:pt x="104" y="178"/>
                    </a:lnTo>
                    <a:lnTo>
                      <a:pt x="100" y="174"/>
                    </a:lnTo>
                    <a:lnTo>
                      <a:pt x="100" y="169"/>
                    </a:lnTo>
                    <a:lnTo>
                      <a:pt x="96" y="169"/>
                    </a:lnTo>
                    <a:lnTo>
                      <a:pt x="96" y="165"/>
                    </a:lnTo>
                    <a:lnTo>
                      <a:pt x="96" y="161"/>
                    </a:lnTo>
                    <a:lnTo>
                      <a:pt x="96" y="156"/>
                    </a:lnTo>
                    <a:lnTo>
                      <a:pt x="87" y="139"/>
                    </a:lnTo>
                    <a:lnTo>
                      <a:pt x="87" y="135"/>
                    </a:lnTo>
                    <a:lnTo>
                      <a:pt x="83" y="135"/>
                    </a:lnTo>
                    <a:lnTo>
                      <a:pt x="87" y="130"/>
                    </a:lnTo>
                    <a:lnTo>
                      <a:pt x="91" y="126"/>
                    </a:lnTo>
                    <a:lnTo>
                      <a:pt x="91" y="122"/>
                    </a:lnTo>
                    <a:lnTo>
                      <a:pt x="87" y="122"/>
                    </a:lnTo>
                    <a:lnTo>
                      <a:pt x="83" y="122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0" y="113"/>
                    </a:lnTo>
                    <a:lnTo>
                      <a:pt x="65" y="113"/>
                    </a:lnTo>
                    <a:lnTo>
                      <a:pt x="65" y="108"/>
                    </a:lnTo>
                    <a:lnTo>
                      <a:pt x="57" y="104"/>
                    </a:lnTo>
                    <a:lnTo>
                      <a:pt x="57" y="108"/>
                    </a:lnTo>
                    <a:lnTo>
                      <a:pt x="52" y="108"/>
                    </a:lnTo>
                    <a:lnTo>
                      <a:pt x="52" y="113"/>
                    </a:lnTo>
                    <a:lnTo>
                      <a:pt x="52" y="117"/>
                    </a:lnTo>
                    <a:lnTo>
                      <a:pt x="52" y="122"/>
                    </a:lnTo>
                    <a:lnTo>
                      <a:pt x="48" y="126"/>
                    </a:lnTo>
                    <a:lnTo>
                      <a:pt x="48" y="130"/>
                    </a:lnTo>
                    <a:lnTo>
                      <a:pt x="43" y="130"/>
                    </a:lnTo>
                    <a:lnTo>
                      <a:pt x="39" y="130"/>
                    </a:lnTo>
                    <a:lnTo>
                      <a:pt x="35" y="126"/>
                    </a:lnTo>
                    <a:lnTo>
                      <a:pt x="35" y="122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2" y="117"/>
                    </a:lnTo>
                    <a:lnTo>
                      <a:pt x="17" y="117"/>
                    </a:lnTo>
                    <a:lnTo>
                      <a:pt x="13" y="113"/>
                    </a:lnTo>
                    <a:lnTo>
                      <a:pt x="9" y="113"/>
                    </a:lnTo>
                    <a:lnTo>
                      <a:pt x="4" y="113"/>
                    </a:lnTo>
                    <a:lnTo>
                      <a:pt x="0" y="108"/>
                    </a:lnTo>
                    <a:lnTo>
                      <a:pt x="4" y="104"/>
                    </a:lnTo>
                    <a:lnTo>
                      <a:pt x="9" y="95"/>
                    </a:lnTo>
                    <a:lnTo>
                      <a:pt x="13" y="87"/>
                    </a:lnTo>
                    <a:lnTo>
                      <a:pt x="17" y="87"/>
                    </a:lnTo>
                    <a:lnTo>
                      <a:pt x="17" y="82"/>
                    </a:lnTo>
                    <a:lnTo>
                      <a:pt x="22" y="74"/>
                    </a:lnTo>
                    <a:lnTo>
                      <a:pt x="26" y="69"/>
                    </a:lnTo>
                    <a:lnTo>
                      <a:pt x="26" y="65"/>
                    </a:lnTo>
                    <a:lnTo>
                      <a:pt x="22" y="56"/>
                    </a:lnTo>
                    <a:lnTo>
                      <a:pt x="13" y="48"/>
                    </a:lnTo>
                    <a:lnTo>
                      <a:pt x="9" y="48"/>
                    </a:lnTo>
                    <a:lnTo>
                      <a:pt x="4" y="48"/>
                    </a:lnTo>
                    <a:lnTo>
                      <a:pt x="0" y="43"/>
                    </a:lnTo>
                    <a:lnTo>
                      <a:pt x="4" y="43"/>
                    </a:lnTo>
                    <a:lnTo>
                      <a:pt x="4" y="39"/>
                    </a:lnTo>
                    <a:lnTo>
                      <a:pt x="9" y="39"/>
                    </a:lnTo>
                    <a:lnTo>
                      <a:pt x="13" y="39"/>
                    </a:lnTo>
                    <a:lnTo>
                      <a:pt x="17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9" y="22"/>
                    </a:lnTo>
                    <a:lnTo>
                      <a:pt x="52" y="22"/>
                    </a:lnTo>
                    <a:lnTo>
                      <a:pt x="61" y="17"/>
                    </a:lnTo>
                    <a:lnTo>
                      <a:pt x="65" y="17"/>
                    </a:lnTo>
                    <a:lnTo>
                      <a:pt x="70" y="17"/>
                    </a:lnTo>
                    <a:lnTo>
                      <a:pt x="74" y="17"/>
                    </a:lnTo>
                    <a:lnTo>
                      <a:pt x="74" y="13"/>
                    </a:lnTo>
                    <a:lnTo>
                      <a:pt x="87" y="8"/>
                    </a:lnTo>
                    <a:lnTo>
                      <a:pt x="91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9" y="0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0" y="8"/>
                    </a:lnTo>
                    <a:lnTo>
                      <a:pt x="135" y="8"/>
                    </a:lnTo>
                    <a:lnTo>
                      <a:pt x="139" y="13"/>
                    </a:lnTo>
                    <a:lnTo>
                      <a:pt x="143" y="8"/>
                    </a:lnTo>
                    <a:lnTo>
                      <a:pt x="148" y="8"/>
                    </a:lnTo>
                    <a:lnTo>
                      <a:pt x="148" y="13"/>
                    </a:lnTo>
                    <a:lnTo>
                      <a:pt x="152" y="13"/>
                    </a:lnTo>
                    <a:lnTo>
                      <a:pt x="152" y="17"/>
                    </a:lnTo>
                    <a:lnTo>
                      <a:pt x="157" y="22"/>
                    </a:lnTo>
                    <a:lnTo>
                      <a:pt x="161" y="22"/>
                    </a:lnTo>
                    <a:lnTo>
                      <a:pt x="165" y="22"/>
                    </a:lnTo>
                    <a:lnTo>
                      <a:pt x="170" y="17"/>
                    </a:lnTo>
                    <a:lnTo>
                      <a:pt x="174" y="22"/>
                    </a:lnTo>
                    <a:lnTo>
                      <a:pt x="178" y="22"/>
                    </a:lnTo>
                    <a:lnTo>
                      <a:pt x="183" y="22"/>
                    </a:lnTo>
                    <a:lnTo>
                      <a:pt x="183" y="17"/>
                    </a:lnTo>
                    <a:lnTo>
                      <a:pt x="187" y="17"/>
                    </a:lnTo>
                    <a:lnTo>
                      <a:pt x="187" y="13"/>
                    </a:lnTo>
                    <a:lnTo>
                      <a:pt x="191" y="13"/>
                    </a:lnTo>
                    <a:lnTo>
                      <a:pt x="196" y="13"/>
                    </a:lnTo>
                    <a:lnTo>
                      <a:pt x="204" y="13"/>
                    </a:lnTo>
                    <a:lnTo>
                      <a:pt x="209" y="17"/>
                    </a:lnTo>
                    <a:lnTo>
                      <a:pt x="213" y="17"/>
                    </a:lnTo>
                    <a:lnTo>
                      <a:pt x="217" y="17"/>
                    </a:lnTo>
                    <a:lnTo>
                      <a:pt x="222" y="17"/>
                    </a:lnTo>
                    <a:lnTo>
                      <a:pt x="230" y="22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26" y="30"/>
                    </a:lnTo>
                    <a:lnTo>
                      <a:pt x="226" y="35"/>
                    </a:lnTo>
                    <a:lnTo>
                      <a:pt x="230" y="30"/>
                    </a:lnTo>
                    <a:lnTo>
                      <a:pt x="239" y="30"/>
                    </a:lnTo>
                    <a:lnTo>
                      <a:pt x="239" y="35"/>
                    </a:lnTo>
                    <a:lnTo>
                      <a:pt x="248" y="39"/>
                    </a:lnTo>
                    <a:lnTo>
                      <a:pt x="252" y="35"/>
                    </a:lnTo>
                    <a:lnTo>
                      <a:pt x="252" y="39"/>
                    </a:lnTo>
                    <a:lnTo>
                      <a:pt x="252" y="43"/>
                    </a:lnTo>
                    <a:lnTo>
                      <a:pt x="248" y="48"/>
                    </a:lnTo>
                    <a:lnTo>
                      <a:pt x="248" y="52"/>
                    </a:lnTo>
                    <a:lnTo>
                      <a:pt x="252" y="56"/>
                    </a:lnTo>
                    <a:lnTo>
                      <a:pt x="257" y="52"/>
                    </a:lnTo>
                    <a:lnTo>
                      <a:pt x="261" y="56"/>
                    </a:lnTo>
                    <a:lnTo>
                      <a:pt x="265" y="56"/>
                    </a:lnTo>
                    <a:lnTo>
                      <a:pt x="265" y="61"/>
                    </a:lnTo>
                    <a:lnTo>
                      <a:pt x="270" y="61"/>
                    </a:lnTo>
                    <a:lnTo>
                      <a:pt x="274" y="65"/>
                    </a:lnTo>
                    <a:lnTo>
                      <a:pt x="274" y="69"/>
                    </a:lnTo>
                    <a:lnTo>
                      <a:pt x="274" y="74"/>
                    </a:lnTo>
                    <a:lnTo>
                      <a:pt x="274" y="78"/>
                    </a:lnTo>
                    <a:lnTo>
                      <a:pt x="274" y="82"/>
                    </a:lnTo>
                    <a:lnTo>
                      <a:pt x="278" y="82"/>
                    </a:lnTo>
                    <a:lnTo>
                      <a:pt x="283" y="82"/>
                    </a:lnTo>
                    <a:lnTo>
                      <a:pt x="287" y="82"/>
                    </a:lnTo>
                    <a:lnTo>
                      <a:pt x="291" y="87"/>
                    </a:lnTo>
                    <a:lnTo>
                      <a:pt x="291" y="91"/>
                    </a:lnTo>
                    <a:lnTo>
                      <a:pt x="287" y="95"/>
                    </a:lnTo>
                    <a:lnTo>
                      <a:pt x="287" y="100"/>
                    </a:lnTo>
                    <a:lnTo>
                      <a:pt x="291" y="104"/>
                    </a:lnTo>
                    <a:lnTo>
                      <a:pt x="300" y="113"/>
                    </a:lnTo>
                    <a:lnTo>
                      <a:pt x="309" y="117"/>
                    </a:lnTo>
                    <a:lnTo>
                      <a:pt x="309" y="126"/>
                    </a:lnTo>
                    <a:lnTo>
                      <a:pt x="317" y="143"/>
                    </a:lnTo>
                    <a:lnTo>
                      <a:pt x="322" y="143"/>
                    </a:lnTo>
                    <a:lnTo>
                      <a:pt x="326" y="143"/>
                    </a:lnTo>
                    <a:lnTo>
                      <a:pt x="326" y="148"/>
                    </a:lnTo>
                    <a:lnTo>
                      <a:pt x="322" y="148"/>
                    </a:lnTo>
                    <a:lnTo>
                      <a:pt x="322" y="152"/>
                    </a:lnTo>
                    <a:lnTo>
                      <a:pt x="322" y="156"/>
                    </a:lnTo>
                    <a:lnTo>
                      <a:pt x="326" y="156"/>
                    </a:lnTo>
                    <a:lnTo>
                      <a:pt x="326" y="152"/>
                    </a:lnTo>
                    <a:lnTo>
                      <a:pt x="326" y="148"/>
                    </a:lnTo>
                    <a:lnTo>
                      <a:pt x="330" y="148"/>
                    </a:lnTo>
                    <a:lnTo>
                      <a:pt x="330" y="156"/>
                    </a:lnTo>
                    <a:lnTo>
                      <a:pt x="330" y="161"/>
                    </a:lnTo>
                    <a:lnTo>
                      <a:pt x="330" y="165"/>
                    </a:lnTo>
                    <a:lnTo>
                      <a:pt x="335" y="169"/>
                    </a:lnTo>
                    <a:lnTo>
                      <a:pt x="344" y="178"/>
                    </a:lnTo>
                    <a:lnTo>
                      <a:pt x="348" y="178"/>
                    </a:lnTo>
                    <a:lnTo>
                      <a:pt x="348" y="182"/>
                    </a:lnTo>
                    <a:lnTo>
                      <a:pt x="352" y="187"/>
                    </a:lnTo>
                    <a:lnTo>
                      <a:pt x="361" y="191"/>
                    </a:lnTo>
                    <a:lnTo>
                      <a:pt x="361" y="195"/>
                    </a:lnTo>
                    <a:lnTo>
                      <a:pt x="361" y="200"/>
                    </a:lnTo>
                    <a:lnTo>
                      <a:pt x="365" y="204"/>
                    </a:lnTo>
                    <a:lnTo>
                      <a:pt x="365" y="208"/>
                    </a:lnTo>
                    <a:lnTo>
                      <a:pt x="365" y="217"/>
                    </a:lnTo>
                    <a:lnTo>
                      <a:pt x="370" y="226"/>
                    </a:lnTo>
                    <a:lnTo>
                      <a:pt x="374" y="230"/>
                    </a:lnTo>
                    <a:lnTo>
                      <a:pt x="378" y="230"/>
                    </a:lnTo>
                    <a:lnTo>
                      <a:pt x="383" y="230"/>
                    </a:lnTo>
                    <a:lnTo>
                      <a:pt x="387" y="230"/>
                    </a:lnTo>
                    <a:lnTo>
                      <a:pt x="387" y="235"/>
                    </a:lnTo>
                    <a:lnTo>
                      <a:pt x="387" y="239"/>
                    </a:lnTo>
                    <a:lnTo>
                      <a:pt x="387" y="243"/>
                    </a:lnTo>
                    <a:lnTo>
                      <a:pt x="387" y="248"/>
                    </a:lnTo>
                    <a:lnTo>
                      <a:pt x="391" y="265"/>
                    </a:lnTo>
                    <a:lnTo>
                      <a:pt x="391" y="269"/>
                    </a:lnTo>
                    <a:lnTo>
                      <a:pt x="396" y="269"/>
                    </a:lnTo>
                    <a:lnTo>
                      <a:pt x="400" y="269"/>
                    </a:lnTo>
                    <a:lnTo>
                      <a:pt x="404" y="274"/>
                    </a:lnTo>
                    <a:lnTo>
                      <a:pt x="404" y="278"/>
                    </a:lnTo>
                    <a:lnTo>
                      <a:pt x="413" y="282"/>
                    </a:lnTo>
                    <a:lnTo>
                      <a:pt x="430" y="282"/>
                    </a:lnTo>
                    <a:lnTo>
                      <a:pt x="435" y="278"/>
                    </a:lnTo>
                    <a:lnTo>
                      <a:pt x="439" y="278"/>
                    </a:lnTo>
                    <a:lnTo>
                      <a:pt x="444" y="274"/>
                    </a:lnTo>
                    <a:lnTo>
                      <a:pt x="452" y="269"/>
                    </a:lnTo>
                    <a:lnTo>
                      <a:pt x="461" y="269"/>
                    </a:lnTo>
                    <a:lnTo>
                      <a:pt x="465" y="269"/>
                    </a:lnTo>
                    <a:lnTo>
                      <a:pt x="470" y="269"/>
                    </a:lnTo>
                    <a:lnTo>
                      <a:pt x="474" y="274"/>
                    </a:lnTo>
                    <a:lnTo>
                      <a:pt x="483" y="274"/>
                    </a:lnTo>
                    <a:lnTo>
                      <a:pt x="483" y="278"/>
                    </a:lnTo>
                    <a:lnTo>
                      <a:pt x="487" y="278"/>
                    </a:lnTo>
                    <a:lnTo>
                      <a:pt x="487" y="282"/>
                    </a:lnTo>
                    <a:lnTo>
                      <a:pt x="491" y="282"/>
                    </a:lnTo>
                    <a:lnTo>
                      <a:pt x="491" y="278"/>
                    </a:lnTo>
                    <a:lnTo>
                      <a:pt x="504" y="269"/>
                    </a:lnTo>
                    <a:lnTo>
                      <a:pt x="509" y="269"/>
                    </a:lnTo>
                    <a:lnTo>
                      <a:pt x="513" y="269"/>
                    </a:lnTo>
                    <a:lnTo>
                      <a:pt x="513" y="278"/>
                    </a:lnTo>
                    <a:lnTo>
                      <a:pt x="517" y="278"/>
                    </a:lnTo>
                    <a:lnTo>
                      <a:pt x="522" y="278"/>
                    </a:lnTo>
                    <a:lnTo>
                      <a:pt x="526" y="278"/>
                    </a:lnTo>
                    <a:lnTo>
                      <a:pt x="526" y="282"/>
                    </a:lnTo>
                    <a:lnTo>
                      <a:pt x="526" y="287"/>
                    </a:lnTo>
                    <a:lnTo>
                      <a:pt x="530" y="287"/>
                    </a:lnTo>
                    <a:lnTo>
                      <a:pt x="539" y="291"/>
                    </a:lnTo>
                    <a:lnTo>
                      <a:pt x="539" y="295"/>
                    </a:lnTo>
                    <a:lnTo>
                      <a:pt x="552" y="300"/>
                    </a:lnTo>
                    <a:lnTo>
                      <a:pt x="561" y="304"/>
                    </a:lnTo>
                    <a:lnTo>
                      <a:pt x="565" y="304"/>
                    </a:lnTo>
                    <a:lnTo>
                      <a:pt x="570" y="300"/>
                    </a:lnTo>
                    <a:lnTo>
                      <a:pt x="574" y="300"/>
                    </a:lnTo>
                    <a:lnTo>
                      <a:pt x="574" y="295"/>
                    </a:lnTo>
                    <a:lnTo>
                      <a:pt x="574" y="300"/>
                    </a:lnTo>
                    <a:lnTo>
                      <a:pt x="578" y="300"/>
                    </a:lnTo>
                    <a:lnTo>
                      <a:pt x="583" y="300"/>
                    </a:lnTo>
                    <a:lnTo>
                      <a:pt x="583" y="295"/>
                    </a:lnTo>
                    <a:lnTo>
                      <a:pt x="587" y="295"/>
                    </a:lnTo>
                    <a:lnTo>
                      <a:pt x="587" y="300"/>
                    </a:lnTo>
                    <a:lnTo>
                      <a:pt x="587" y="308"/>
                    </a:lnTo>
                    <a:lnTo>
                      <a:pt x="587" y="317"/>
                    </a:lnTo>
                    <a:lnTo>
                      <a:pt x="587" y="322"/>
                    </a:lnTo>
                    <a:lnTo>
                      <a:pt x="591" y="326"/>
                    </a:lnTo>
                    <a:lnTo>
                      <a:pt x="600" y="330"/>
                    </a:lnTo>
                    <a:lnTo>
                      <a:pt x="609" y="339"/>
                    </a:lnTo>
                    <a:lnTo>
                      <a:pt x="609" y="352"/>
                    </a:lnTo>
                    <a:lnTo>
                      <a:pt x="604" y="356"/>
                    </a:lnTo>
                    <a:lnTo>
                      <a:pt x="604" y="361"/>
                    </a:lnTo>
                    <a:lnTo>
                      <a:pt x="609" y="365"/>
                    </a:lnTo>
                    <a:lnTo>
                      <a:pt x="613" y="365"/>
                    </a:lnTo>
                    <a:lnTo>
                      <a:pt x="617" y="369"/>
                    </a:lnTo>
                    <a:lnTo>
                      <a:pt x="622" y="369"/>
                    </a:lnTo>
                    <a:lnTo>
                      <a:pt x="622" y="374"/>
                    </a:lnTo>
                    <a:lnTo>
                      <a:pt x="626" y="374"/>
                    </a:lnTo>
                    <a:lnTo>
                      <a:pt x="626" y="378"/>
                    </a:lnTo>
                    <a:lnTo>
                      <a:pt x="631" y="378"/>
                    </a:lnTo>
                    <a:lnTo>
                      <a:pt x="631" y="382"/>
                    </a:lnTo>
                    <a:lnTo>
                      <a:pt x="631" y="387"/>
                    </a:lnTo>
                    <a:lnTo>
                      <a:pt x="635" y="387"/>
                    </a:lnTo>
                    <a:lnTo>
                      <a:pt x="639" y="387"/>
                    </a:lnTo>
                    <a:lnTo>
                      <a:pt x="644" y="382"/>
                    </a:lnTo>
                    <a:lnTo>
                      <a:pt x="648" y="382"/>
                    </a:lnTo>
                    <a:lnTo>
                      <a:pt x="648" y="378"/>
                    </a:lnTo>
                    <a:lnTo>
                      <a:pt x="657" y="378"/>
                    </a:lnTo>
                    <a:lnTo>
                      <a:pt x="657" y="374"/>
                    </a:lnTo>
                    <a:lnTo>
                      <a:pt x="661" y="374"/>
                    </a:lnTo>
                    <a:lnTo>
                      <a:pt x="665" y="374"/>
                    </a:lnTo>
                    <a:lnTo>
                      <a:pt x="665" y="378"/>
                    </a:lnTo>
                    <a:lnTo>
                      <a:pt x="670" y="378"/>
                    </a:lnTo>
                    <a:lnTo>
                      <a:pt x="683" y="374"/>
                    </a:lnTo>
                    <a:lnTo>
                      <a:pt x="687" y="374"/>
                    </a:lnTo>
                    <a:lnTo>
                      <a:pt x="696" y="369"/>
                    </a:lnTo>
                    <a:lnTo>
                      <a:pt x="700" y="365"/>
                    </a:lnTo>
                    <a:lnTo>
                      <a:pt x="704" y="361"/>
                    </a:lnTo>
                    <a:lnTo>
                      <a:pt x="709" y="361"/>
                    </a:lnTo>
                    <a:lnTo>
                      <a:pt x="713" y="361"/>
                    </a:lnTo>
                    <a:lnTo>
                      <a:pt x="717" y="361"/>
                    </a:lnTo>
                    <a:lnTo>
                      <a:pt x="722" y="356"/>
                    </a:lnTo>
                    <a:lnTo>
                      <a:pt x="722" y="343"/>
                    </a:lnTo>
                    <a:lnTo>
                      <a:pt x="731" y="330"/>
                    </a:lnTo>
                    <a:lnTo>
                      <a:pt x="739" y="317"/>
                    </a:lnTo>
                    <a:lnTo>
                      <a:pt x="744" y="313"/>
                    </a:lnTo>
                    <a:lnTo>
                      <a:pt x="748" y="313"/>
                    </a:lnTo>
                    <a:lnTo>
                      <a:pt x="757" y="313"/>
                    </a:lnTo>
                    <a:lnTo>
                      <a:pt x="761" y="313"/>
                    </a:lnTo>
                    <a:lnTo>
                      <a:pt x="765" y="308"/>
                    </a:lnTo>
                    <a:lnTo>
                      <a:pt x="765" y="304"/>
                    </a:lnTo>
                    <a:lnTo>
                      <a:pt x="765" y="300"/>
                    </a:lnTo>
                    <a:lnTo>
                      <a:pt x="770" y="291"/>
                    </a:lnTo>
                    <a:lnTo>
                      <a:pt x="778" y="287"/>
                    </a:lnTo>
                    <a:lnTo>
                      <a:pt x="783" y="282"/>
                    </a:lnTo>
                    <a:lnTo>
                      <a:pt x="787" y="278"/>
                    </a:lnTo>
                    <a:lnTo>
                      <a:pt x="791" y="274"/>
                    </a:lnTo>
                    <a:lnTo>
                      <a:pt x="804" y="269"/>
                    </a:lnTo>
                    <a:lnTo>
                      <a:pt x="809" y="269"/>
                    </a:lnTo>
                    <a:lnTo>
                      <a:pt x="818" y="269"/>
                    </a:lnTo>
                    <a:lnTo>
                      <a:pt x="822" y="269"/>
                    </a:lnTo>
                    <a:lnTo>
                      <a:pt x="826" y="269"/>
                    </a:lnTo>
                    <a:lnTo>
                      <a:pt x="822" y="274"/>
                    </a:lnTo>
                    <a:lnTo>
                      <a:pt x="822" y="278"/>
                    </a:lnTo>
                    <a:lnTo>
                      <a:pt x="826" y="278"/>
                    </a:lnTo>
                    <a:lnTo>
                      <a:pt x="826" y="282"/>
                    </a:lnTo>
                    <a:lnTo>
                      <a:pt x="826" y="287"/>
                    </a:lnTo>
                    <a:lnTo>
                      <a:pt x="822" y="291"/>
                    </a:lnTo>
                    <a:lnTo>
                      <a:pt x="822" y="295"/>
                    </a:lnTo>
                    <a:lnTo>
                      <a:pt x="826" y="304"/>
                    </a:lnTo>
                    <a:lnTo>
                      <a:pt x="835" y="308"/>
                    </a:lnTo>
                    <a:lnTo>
                      <a:pt x="839" y="313"/>
                    </a:lnTo>
                    <a:lnTo>
                      <a:pt x="844" y="313"/>
                    </a:lnTo>
                    <a:lnTo>
                      <a:pt x="844" y="317"/>
                    </a:lnTo>
                    <a:lnTo>
                      <a:pt x="839" y="339"/>
                    </a:lnTo>
                    <a:lnTo>
                      <a:pt x="835" y="343"/>
                    </a:lnTo>
                    <a:lnTo>
                      <a:pt x="831" y="348"/>
                    </a:lnTo>
                    <a:lnTo>
                      <a:pt x="826" y="348"/>
                    </a:lnTo>
                    <a:lnTo>
                      <a:pt x="822" y="361"/>
                    </a:lnTo>
                    <a:lnTo>
                      <a:pt x="822" y="365"/>
                    </a:lnTo>
                    <a:lnTo>
                      <a:pt x="826" y="369"/>
                    </a:lnTo>
                    <a:lnTo>
                      <a:pt x="831" y="374"/>
                    </a:lnTo>
                    <a:lnTo>
                      <a:pt x="831" y="378"/>
                    </a:lnTo>
                    <a:lnTo>
                      <a:pt x="826" y="378"/>
                    </a:lnTo>
                    <a:lnTo>
                      <a:pt x="826" y="382"/>
                    </a:lnTo>
                    <a:lnTo>
                      <a:pt x="826" y="391"/>
                    </a:lnTo>
                    <a:lnTo>
                      <a:pt x="826" y="400"/>
                    </a:lnTo>
                    <a:lnTo>
                      <a:pt x="831" y="408"/>
                    </a:lnTo>
                    <a:lnTo>
                      <a:pt x="831" y="417"/>
                    </a:lnTo>
                    <a:lnTo>
                      <a:pt x="831" y="421"/>
                    </a:lnTo>
                    <a:lnTo>
                      <a:pt x="826" y="426"/>
                    </a:lnTo>
                    <a:lnTo>
                      <a:pt x="826" y="435"/>
                    </a:lnTo>
                    <a:lnTo>
                      <a:pt x="826" y="439"/>
                    </a:lnTo>
                    <a:lnTo>
                      <a:pt x="831" y="439"/>
                    </a:lnTo>
                    <a:lnTo>
                      <a:pt x="835" y="439"/>
                    </a:lnTo>
                    <a:lnTo>
                      <a:pt x="835" y="452"/>
                    </a:lnTo>
                    <a:lnTo>
                      <a:pt x="835" y="456"/>
                    </a:lnTo>
                    <a:lnTo>
                      <a:pt x="831" y="461"/>
                    </a:lnTo>
                    <a:lnTo>
                      <a:pt x="831" y="469"/>
                    </a:lnTo>
                    <a:lnTo>
                      <a:pt x="831" y="482"/>
                    </a:lnTo>
                    <a:lnTo>
                      <a:pt x="831" y="487"/>
                    </a:lnTo>
                    <a:lnTo>
                      <a:pt x="826" y="487"/>
                    </a:lnTo>
                    <a:lnTo>
                      <a:pt x="826" y="491"/>
                    </a:lnTo>
                    <a:lnTo>
                      <a:pt x="826" y="495"/>
                    </a:lnTo>
                    <a:lnTo>
                      <a:pt x="831" y="504"/>
                    </a:lnTo>
                    <a:lnTo>
                      <a:pt x="831" y="513"/>
                    </a:lnTo>
                    <a:lnTo>
                      <a:pt x="826" y="513"/>
                    </a:lnTo>
                    <a:lnTo>
                      <a:pt x="826" y="517"/>
                    </a:lnTo>
                    <a:lnTo>
                      <a:pt x="822" y="521"/>
                    </a:lnTo>
                    <a:lnTo>
                      <a:pt x="818" y="526"/>
                    </a:lnTo>
                    <a:lnTo>
                      <a:pt x="818" y="530"/>
                    </a:lnTo>
                    <a:lnTo>
                      <a:pt x="818" y="535"/>
                    </a:lnTo>
                    <a:lnTo>
                      <a:pt x="818" y="543"/>
                    </a:lnTo>
                    <a:lnTo>
                      <a:pt x="818" y="552"/>
                    </a:lnTo>
                    <a:lnTo>
                      <a:pt x="822" y="552"/>
                    </a:lnTo>
                    <a:lnTo>
                      <a:pt x="822" y="556"/>
                    </a:lnTo>
                    <a:lnTo>
                      <a:pt x="822" y="561"/>
                    </a:lnTo>
                    <a:lnTo>
                      <a:pt x="822" y="565"/>
                    </a:lnTo>
                    <a:lnTo>
                      <a:pt x="818" y="569"/>
                    </a:lnTo>
                    <a:lnTo>
                      <a:pt x="813" y="569"/>
                    </a:lnTo>
                    <a:lnTo>
                      <a:pt x="804" y="569"/>
                    </a:lnTo>
                    <a:lnTo>
                      <a:pt x="791" y="569"/>
                    </a:lnTo>
                    <a:lnTo>
                      <a:pt x="778" y="569"/>
                    </a:lnTo>
                    <a:lnTo>
                      <a:pt x="774" y="569"/>
                    </a:lnTo>
                    <a:lnTo>
                      <a:pt x="770" y="569"/>
                    </a:lnTo>
                    <a:lnTo>
                      <a:pt x="765" y="569"/>
                    </a:lnTo>
                    <a:lnTo>
                      <a:pt x="757" y="569"/>
                    </a:lnTo>
                    <a:lnTo>
                      <a:pt x="752" y="569"/>
                    </a:lnTo>
                    <a:lnTo>
                      <a:pt x="748" y="569"/>
                    </a:lnTo>
                    <a:lnTo>
                      <a:pt x="748" y="565"/>
                    </a:lnTo>
                    <a:lnTo>
                      <a:pt x="744" y="565"/>
                    </a:lnTo>
                    <a:lnTo>
                      <a:pt x="739" y="578"/>
                    </a:lnTo>
                    <a:lnTo>
                      <a:pt x="739" y="587"/>
                    </a:lnTo>
                    <a:lnTo>
                      <a:pt x="739" y="591"/>
                    </a:lnTo>
                    <a:lnTo>
                      <a:pt x="731" y="604"/>
                    </a:lnTo>
                    <a:lnTo>
                      <a:pt x="726" y="604"/>
                    </a:lnTo>
                    <a:lnTo>
                      <a:pt x="722" y="608"/>
                    </a:lnTo>
                    <a:lnTo>
                      <a:pt x="717" y="613"/>
                    </a:lnTo>
                    <a:lnTo>
                      <a:pt x="713" y="613"/>
                    </a:lnTo>
                    <a:lnTo>
                      <a:pt x="709" y="613"/>
                    </a:lnTo>
                    <a:lnTo>
                      <a:pt x="704" y="621"/>
                    </a:lnTo>
                    <a:lnTo>
                      <a:pt x="709" y="626"/>
                    </a:lnTo>
                    <a:lnTo>
                      <a:pt x="713" y="626"/>
                    </a:lnTo>
                    <a:lnTo>
                      <a:pt x="717" y="630"/>
                    </a:lnTo>
                    <a:lnTo>
                      <a:pt x="722" y="639"/>
                    </a:lnTo>
                    <a:lnTo>
                      <a:pt x="739" y="669"/>
                    </a:lnTo>
                    <a:lnTo>
                      <a:pt x="744" y="678"/>
                    </a:lnTo>
                    <a:lnTo>
                      <a:pt x="744" y="682"/>
                    </a:lnTo>
                    <a:lnTo>
                      <a:pt x="744" y="687"/>
                    </a:lnTo>
                    <a:lnTo>
                      <a:pt x="748" y="700"/>
                    </a:lnTo>
                    <a:lnTo>
                      <a:pt x="752" y="726"/>
                    </a:lnTo>
                    <a:lnTo>
                      <a:pt x="757" y="726"/>
                    </a:lnTo>
                    <a:lnTo>
                      <a:pt x="761" y="726"/>
                    </a:lnTo>
                    <a:lnTo>
                      <a:pt x="761" y="730"/>
                    </a:lnTo>
                    <a:lnTo>
                      <a:pt x="757" y="730"/>
                    </a:lnTo>
                    <a:lnTo>
                      <a:pt x="752" y="735"/>
                    </a:lnTo>
                    <a:lnTo>
                      <a:pt x="748" y="735"/>
                    </a:lnTo>
                    <a:lnTo>
                      <a:pt x="748" y="730"/>
                    </a:lnTo>
                    <a:lnTo>
                      <a:pt x="744" y="730"/>
                    </a:lnTo>
                    <a:lnTo>
                      <a:pt x="739" y="730"/>
                    </a:lnTo>
                    <a:lnTo>
                      <a:pt x="739" y="735"/>
                    </a:lnTo>
                    <a:lnTo>
                      <a:pt x="739" y="739"/>
                    </a:lnTo>
                    <a:lnTo>
                      <a:pt x="735" y="739"/>
                    </a:lnTo>
                    <a:lnTo>
                      <a:pt x="731" y="735"/>
                    </a:lnTo>
                    <a:lnTo>
                      <a:pt x="726" y="735"/>
                    </a:lnTo>
                    <a:lnTo>
                      <a:pt x="717" y="730"/>
                    </a:lnTo>
                    <a:lnTo>
                      <a:pt x="713" y="730"/>
                    </a:lnTo>
                    <a:lnTo>
                      <a:pt x="709" y="730"/>
                    </a:lnTo>
                    <a:lnTo>
                      <a:pt x="700" y="726"/>
                    </a:lnTo>
                    <a:lnTo>
                      <a:pt x="696" y="713"/>
                    </a:lnTo>
                    <a:lnTo>
                      <a:pt x="691" y="700"/>
                    </a:lnTo>
                    <a:lnTo>
                      <a:pt x="687" y="700"/>
                    </a:lnTo>
                    <a:lnTo>
                      <a:pt x="683" y="708"/>
                    </a:lnTo>
                    <a:lnTo>
                      <a:pt x="678" y="717"/>
                    </a:lnTo>
                    <a:lnTo>
                      <a:pt x="678" y="721"/>
                    </a:lnTo>
                    <a:lnTo>
                      <a:pt x="674" y="721"/>
                    </a:lnTo>
                    <a:lnTo>
                      <a:pt x="674" y="717"/>
                    </a:lnTo>
                    <a:lnTo>
                      <a:pt x="674" y="713"/>
                    </a:lnTo>
                    <a:lnTo>
                      <a:pt x="670" y="708"/>
                    </a:lnTo>
                    <a:lnTo>
                      <a:pt x="665" y="708"/>
                    </a:lnTo>
                    <a:lnTo>
                      <a:pt x="661" y="713"/>
                    </a:lnTo>
                    <a:lnTo>
                      <a:pt x="661" y="717"/>
                    </a:lnTo>
                    <a:lnTo>
                      <a:pt x="661" y="721"/>
                    </a:lnTo>
                    <a:lnTo>
                      <a:pt x="657" y="721"/>
                    </a:lnTo>
                    <a:lnTo>
                      <a:pt x="657" y="726"/>
                    </a:lnTo>
                    <a:lnTo>
                      <a:pt x="652" y="726"/>
                    </a:lnTo>
                    <a:lnTo>
                      <a:pt x="648" y="726"/>
                    </a:lnTo>
                    <a:lnTo>
                      <a:pt x="644" y="730"/>
                    </a:lnTo>
                    <a:lnTo>
                      <a:pt x="631" y="739"/>
                    </a:lnTo>
                    <a:lnTo>
                      <a:pt x="631" y="743"/>
                    </a:lnTo>
                    <a:lnTo>
                      <a:pt x="631" y="748"/>
                    </a:lnTo>
                    <a:lnTo>
                      <a:pt x="631" y="752"/>
                    </a:lnTo>
                    <a:lnTo>
                      <a:pt x="631" y="756"/>
                    </a:lnTo>
                    <a:lnTo>
                      <a:pt x="622" y="765"/>
                    </a:lnTo>
                    <a:lnTo>
                      <a:pt x="613" y="765"/>
                    </a:lnTo>
                    <a:lnTo>
                      <a:pt x="604" y="752"/>
                    </a:lnTo>
                    <a:lnTo>
                      <a:pt x="600" y="748"/>
                    </a:lnTo>
                    <a:lnTo>
                      <a:pt x="600" y="739"/>
                    </a:lnTo>
                    <a:lnTo>
                      <a:pt x="596" y="739"/>
                    </a:lnTo>
                    <a:lnTo>
                      <a:pt x="591" y="739"/>
                    </a:lnTo>
                    <a:lnTo>
                      <a:pt x="587" y="739"/>
                    </a:lnTo>
                    <a:lnTo>
                      <a:pt x="583" y="739"/>
                    </a:lnTo>
                    <a:lnTo>
                      <a:pt x="583" y="735"/>
                    </a:lnTo>
                    <a:lnTo>
                      <a:pt x="578" y="735"/>
                    </a:lnTo>
                    <a:lnTo>
                      <a:pt x="574" y="730"/>
                    </a:lnTo>
                    <a:lnTo>
                      <a:pt x="574" y="726"/>
                    </a:lnTo>
                    <a:lnTo>
                      <a:pt x="570" y="726"/>
                    </a:lnTo>
                    <a:lnTo>
                      <a:pt x="570" y="721"/>
                    </a:lnTo>
                    <a:lnTo>
                      <a:pt x="565" y="713"/>
                    </a:lnTo>
                    <a:lnTo>
                      <a:pt x="565" y="708"/>
                    </a:lnTo>
                    <a:lnTo>
                      <a:pt x="565" y="704"/>
                    </a:lnTo>
                    <a:lnTo>
                      <a:pt x="565" y="700"/>
                    </a:lnTo>
                    <a:lnTo>
                      <a:pt x="565" y="695"/>
                    </a:lnTo>
                    <a:lnTo>
                      <a:pt x="565" y="691"/>
                    </a:lnTo>
                    <a:lnTo>
                      <a:pt x="544" y="691"/>
                    </a:lnTo>
                    <a:lnTo>
                      <a:pt x="539" y="691"/>
                    </a:lnTo>
                    <a:lnTo>
                      <a:pt x="544" y="713"/>
                    </a:lnTo>
                    <a:lnTo>
                      <a:pt x="548" y="717"/>
                    </a:lnTo>
                    <a:lnTo>
                      <a:pt x="548" y="721"/>
                    </a:lnTo>
                    <a:lnTo>
                      <a:pt x="552" y="730"/>
                    </a:lnTo>
                    <a:lnTo>
                      <a:pt x="552" y="735"/>
                    </a:lnTo>
                    <a:lnTo>
                      <a:pt x="548" y="735"/>
                    </a:lnTo>
                    <a:lnTo>
                      <a:pt x="539" y="739"/>
                    </a:lnTo>
                    <a:lnTo>
                      <a:pt x="535" y="739"/>
                    </a:lnTo>
                    <a:lnTo>
                      <a:pt x="522" y="730"/>
                    </a:lnTo>
                    <a:lnTo>
                      <a:pt x="522" y="726"/>
                    </a:lnTo>
                    <a:lnTo>
                      <a:pt x="513" y="717"/>
                    </a:lnTo>
                    <a:lnTo>
                      <a:pt x="509" y="708"/>
                    </a:lnTo>
                    <a:lnTo>
                      <a:pt x="513" y="704"/>
                    </a:lnTo>
                    <a:lnTo>
                      <a:pt x="509" y="700"/>
                    </a:lnTo>
                    <a:lnTo>
                      <a:pt x="500" y="700"/>
                    </a:lnTo>
                    <a:lnTo>
                      <a:pt x="487" y="700"/>
                    </a:lnTo>
                    <a:lnTo>
                      <a:pt x="487" y="704"/>
                    </a:lnTo>
                    <a:lnTo>
                      <a:pt x="483" y="704"/>
                    </a:lnTo>
                    <a:lnTo>
                      <a:pt x="483" y="708"/>
                    </a:lnTo>
                    <a:lnTo>
                      <a:pt x="478" y="708"/>
                    </a:lnTo>
                    <a:lnTo>
                      <a:pt x="478" y="704"/>
                    </a:lnTo>
                    <a:lnTo>
                      <a:pt x="478" y="700"/>
                    </a:lnTo>
                    <a:lnTo>
                      <a:pt x="474" y="695"/>
                    </a:lnTo>
                    <a:lnTo>
                      <a:pt x="474" y="691"/>
                    </a:lnTo>
                    <a:lnTo>
                      <a:pt x="474" y="687"/>
                    </a:lnTo>
                    <a:lnTo>
                      <a:pt x="474" y="682"/>
                    </a:lnTo>
                    <a:lnTo>
                      <a:pt x="474" y="678"/>
                    </a:lnTo>
                    <a:lnTo>
                      <a:pt x="465" y="665"/>
                    </a:lnTo>
                    <a:lnTo>
                      <a:pt x="461" y="665"/>
                    </a:lnTo>
                    <a:lnTo>
                      <a:pt x="457" y="665"/>
                    </a:lnTo>
                    <a:lnTo>
                      <a:pt x="452" y="665"/>
                    </a:lnTo>
                    <a:lnTo>
                      <a:pt x="448" y="665"/>
                    </a:lnTo>
                    <a:lnTo>
                      <a:pt x="444" y="661"/>
                    </a:lnTo>
                    <a:lnTo>
                      <a:pt x="439" y="661"/>
                    </a:lnTo>
                    <a:lnTo>
                      <a:pt x="430" y="665"/>
                    </a:lnTo>
                    <a:lnTo>
                      <a:pt x="426" y="669"/>
                    </a:lnTo>
                    <a:lnTo>
                      <a:pt x="422" y="674"/>
                    </a:lnTo>
                    <a:lnTo>
                      <a:pt x="417" y="678"/>
                    </a:lnTo>
                    <a:lnTo>
                      <a:pt x="413" y="678"/>
                    </a:lnTo>
                    <a:lnTo>
                      <a:pt x="404" y="674"/>
                    </a:lnTo>
                    <a:lnTo>
                      <a:pt x="400" y="674"/>
                    </a:lnTo>
                    <a:lnTo>
                      <a:pt x="396" y="674"/>
                    </a:lnTo>
                    <a:lnTo>
                      <a:pt x="391" y="669"/>
                    </a:lnTo>
                    <a:lnTo>
                      <a:pt x="387" y="669"/>
                    </a:lnTo>
                    <a:lnTo>
                      <a:pt x="387" y="665"/>
                    </a:lnTo>
                    <a:lnTo>
                      <a:pt x="383" y="661"/>
                    </a:lnTo>
                    <a:lnTo>
                      <a:pt x="383" y="656"/>
                    </a:lnTo>
                    <a:lnTo>
                      <a:pt x="383" y="652"/>
                    </a:lnTo>
                    <a:lnTo>
                      <a:pt x="378" y="656"/>
                    </a:lnTo>
                    <a:lnTo>
                      <a:pt x="370" y="661"/>
                    </a:lnTo>
                    <a:lnTo>
                      <a:pt x="365" y="665"/>
                    </a:lnTo>
                    <a:lnTo>
                      <a:pt x="361" y="665"/>
                    </a:lnTo>
                    <a:lnTo>
                      <a:pt x="348" y="669"/>
                    </a:lnTo>
                    <a:lnTo>
                      <a:pt x="344" y="669"/>
                    </a:lnTo>
                    <a:lnTo>
                      <a:pt x="344" y="665"/>
                    </a:lnTo>
                    <a:lnTo>
                      <a:pt x="339" y="665"/>
                    </a:lnTo>
                    <a:lnTo>
                      <a:pt x="335" y="661"/>
                    </a:lnTo>
                    <a:lnTo>
                      <a:pt x="335" y="665"/>
                    </a:lnTo>
                    <a:lnTo>
                      <a:pt x="330" y="669"/>
                    </a:lnTo>
                    <a:lnTo>
                      <a:pt x="317" y="678"/>
                    </a:lnTo>
                    <a:lnTo>
                      <a:pt x="313" y="678"/>
                    </a:lnTo>
                    <a:lnTo>
                      <a:pt x="304" y="678"/>
                    </a:lnTo>
                    <a:lnTo>
                      <a:pt x="296" y="669"/>
                    </a:lnTo>
                    <a:lnTo>
                      <a:pt x="287" y="661"/>
                    </a:lnTo>
                    <a:lnTo>
                      <a:pt x="278" y="652"/>
                    </a:lnTo>
                    <a:lnTo>
                      <a:pt x="274" y="643"/>
                    </a:lnTo>
                    <a:lnTo>
                      <a:pt x="274" y="635"/>
                    </a:lnTo>
                    <a:lnTo>
                      <a:pt x="270" y="626"/>
                    </a:lnTo>
                    <a:lnTo>
                      <a:pt x="265" y="613"/>
                    </a:lnTo>
                    <a:lnTo>
                      <a:pt x="261" y="613"/>
                    </a:lnTo>
                    <a:lnTo>
                      <a:pt x="257" y="613"/>
                    </a:lnTo>
                    <a:lnTo>
                      <a:pt x="252" y="617"/>
                    </a:lnTo>
                    <a:lnTo>
                      <a:pt x="243" y="621"/>
                    </a:lnTo>
                    <a:lnTo>
                      <a:pt x="239" y="621"/>
                    </a:lnTo>
                    <a:lnTo>
                      <a:pt x="235" y="621"/>
                    </a:lnTo>
                    <a:lnTo>
                      <a:pt x="230" y="621"/>
                    </a:lnTo>
                    <a:lnTo>
                      <a:pt x="230" y="626"/>
                    </a:lnTo>
                    <a:lnTo>
                      <a:pt x="226" y="621"/>
                    </a:lnTo>
                    <a:lnTo>
                      <a:pt x="222" y="621"/>
                    </a:lnTo>
                    <a:lnTo>
                      <a:pt x="222" y="626"/>
                    </a:lnTo>
                    <a:lnTo>
                      <a:pt x="217" y="626"/>
                    </a:lnTo>
                    <a:lnTo>
                      <a:pt x="213" y="621"/>
                    </a:lnTo>
                    <a:lnTo>
                      <a:pt x="209" y="617"/>
                    </a:lnTo>
                    <a:lnTo>
                      <a:pt x="204" y="613"/>
                    </a:lnTo>
                    <a:lnTo>
                      <a:pt x="204" y="600"/>
                    </a:lnTo>
                    <a:lnTo>
                      <a:pt x="204" y="595"/>
                    </a:lnTo>
                    <a:lnTo>
                      <a:pt x="209" y="595"/>
                    </a:lnTo>
                    <a:lnTo>
                      <a:pt x="213" y="595"/>
                    </a:lnTo>
                    <a:lnTo>
                      <a:pt x="217" y="595"/>
                    </a:lnTo>
                    <a:lnTo>
                      <a:pt x="222" y="595"/>
                    </a:lnTo>
                    <a:lnTo>
                      <a:pt x="226" y="595"/>
                    </a:lnTo>
                    <a:lnTo>
                      <a:pt x="226" y="591"/>
                    </a:lnTo>
                    <a:lnTo>
                      <a:pt x="230" y="591"/>
                    </a:lnTo>
                    <a:lnTo>
                      <a:pt x="230" y="582"/>
                    </a:lnTo>
                    <a:lnTo>
                      <a:pt x="235" y="582"/>
                    </a:lnTo>
                    <a:lnTo>
                      <a:pt x="235" y="578"/>
                    </a:lnTo>
                    <a:lnTo>
                      <a:pt x="235" y="574"/>
                    </a:lnTo>
                    <a:lnTo>
                      <a:pt x="230" y="569"/>
                    </a:lnTo>
                    <a:lnTo>
                      <a:pt x="222" y="565"/>
                    </a:lnTo>
                    <a:lnTo>
                      <a:pt x="222" y="569"/>
                    </a:lnTo>
                    <a:lnTo>
                      <a:pt x="213" y="574"/>
                    </a:lnTo>
                    <a:lnTo>
                      <a:pt x="213" y="582"/>
                    </a:lnTo>
                    <a:lnTo>
                      <a:pt x="209" y="582"/>
                    </a:lnTo>
                    <a:lnTo>
                      <a:pt x="204" y="578"/>
                    </a:lnTo>
                    <a:lnTo>
                      <a:pt x="200" y="578"/>
                    </a:lnTo>
                    <a:lnTo>
                      <a:pt x="196" y="574"/>
                    </a:lnTo>
                    <a:lnTo>
                      <a:pt x="191" y="569"/>
                    </a:lnTo>
                    <a:lnTo>
                      <a:pt x="183" y="565"/>
                    </a:lnTo>
                    <a:lnTo>
                      <a:pt x="183" y="561"/>
                    </a:lnTo>
                    <a:lnTo>
                      <a:pt x="178" y="561"/>
                    </a:lnTo>
                    <a:lnTo>
                      <a:pt x="174" y="561"/>
                    </a:lnTo>
                    <a:lnTo>
                      <a:pt x="170" y="556"/>
                    </a:lnTo>
                    <a:lnTo>
                      <a:pt x="165" y="556"/>
                    </a:lnTo>
                    <a:lnTo>
                      <a:pt x="157" y="543"/>
                    </a:lnTo>
                    <a:lnTo>
                      <a:pt x="157" y="539"/>
                    </a:lnTo>
                    <a:lnTo>
                      <a:pt x="161" y="539"/>
                    </a:lnTo>
                    <a:lnTo>
                      <a:pt x="161" y="535"/>
                    </a:lnTo>
                    <a:lnTo>
                      <a:pt x="161" y="530"/>
                    </a:lnTo>
                    <a:lnTo>
                      <a:pt x="161" y="526"/>
                    </a:lnTo>
                    <a:lnTo>
                      <a:pt x="165" y="521"/>
                    </a:lnTo>
                    <a:lnTo>
                      <a:pt x="174" y="513"/>
                    </a:lnTo>
                    <a:lnTo>
                      <a:pt x="178" y="504"/>
                    </a:lnTo>
                    <a:lnTo>
                      <a:pt x="183" y="504"/>
                    </a:lnTo>
                    <a:lnTo>
                      <a:pt x="183" y="500"/>
                    </a:lnTo>
                    <a:lnTo>
                      <a:pt x="187" y="500"/>
                    </a:lnTo>
                    <a:lnTo>
                      <a:pt x="191" y="495"/>
                    </a:lnTo>
                    <a:lnTo>
                      <a:pt x="191" y="491"/>
                    </a:lnTo>
                    <a:lnTo>
                      <a:pt x="196" y="491"/>
                    </a:lnTo>
                    <a:lnTo>
                      <a:pt x="196" y="487"/>
                    </a:lnTo>
                    <a:lnTo>
                      <a:pt x="196" y="482"/>
                    </a:lnTo>
                    <a:lnTo>
                      <a:pt x="200" y="478"/>
                    </a:lnTo>
                    <a:lnTo>
                      <a:pt x="204" y="474"/>
                    </a:lnTo>
                    <a:lnTo>
                      <a:pt x="209" y="474"/>
                    </a:lnTo>
                    <a:lnTo>
                      <a:pt x="209" y="469"/>
                    </a:lnTo>
                    <a:lnTo>
                      <a:pt x="213" y="465"/>
                    </a:lnTo>
                    <a:lnTo>
                      <a:pt x="213" y="461"/>
                    </a:lnTo>
                    <a:lnTo>
                      <a:pt x="213" y="456"/>
                    </a:lnTo>
                    <a:lnTo>
                      <a:pt x="217" y="452"/>
                    </a:lnTo>
                    <a:lnTo>
                      <a:pt x="222" y="448"/>
                    </a:lnTo>
                    <a:lnTo>
                      <a:pt x="222" y="443"/>
                    </a:lnTo>
                    <a:lnTo>
                      <a:pt x="230" y="430"/>
                    </a:lnTo>
                    <a:lnTo>
                      <a:pt x="235" y="426"/>
                    </a:lnTo>
                    <a:lnTo>
                      <a:pt x="235" y="421"/>
                    </a:lnTo>
                    <a:lnTo>
                      <a:pt x="239" y="417"/>
                    </a:lnTo>
                    <a:lnTo>
                      <a:pt x="239" y="421"/>
                    </a:lnTo>
                    <a:lnTo>
                      <a:pt x="243" y="421"/>
                    </a:lnTo>
                    <a:lnTo>
                      <a:pt x="243" y="426"/>
                    </a:lnTo>
                    <a:lnTo>
                      <a:pt x="243" y="430"/>
                    </a:lnTo>
                    <a:lnTo>
                      <a:pt x="257" y="448"/>
                    </a:lnTo>
                    <a:lnTo>
                      <a:pt x="261" y="452"/>
                    </a:lnTo>
                    <a:lnTo>
                      <a:pt x="261" y="448"/>
                    </a:lnTo>
                    <a:lnTo>
                      <a:pt x="261" y="439"/>
                    </a:lnTo>
                    <a:lnTo>
                      <a:pt x="261" y="435"/>
                    </a:lnTo>
                    <a:lnTo>
                      <a:pt x="261" y="430"/>
                    </a:lnTo>
                    <a:lnTo>
                      <a:pt x="257" y="430"/>
                    </a:lnTo>
                    <a:lnTo>
                      <a:pt x="257" y="426"/>
                    </a:lnTo>
                    <a:lnTo>
                      <a:pt x="257" y="41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>
                <a:defPPr>
                  <a:defRPr lang="nl-B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5" name="椭圆 24">
              <a:extLst>
                <a:ext uri="{FF2B5EF4-FFF2-40B4-BE49-F238E27FC236}">
                  <a16:creationId xmlns:a16="http://schemas.microsoft.com/office/drawing/2014/main" id="{2A31D5F3-4FBB-9F1C-E6B6-1881635F305B}"/>
                </a:ext>
              </a:extLst>
            </p:cNvPr>
            <p:cNvSpPr/>
            <p:nvPr/>
          </p:nvSpPr>
          <p:spPr>
            <a:xfrm>
              <a:off x="4686918" y="2503593"/>
              <a:ext cx="80303" cy="8190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zh-CN" alt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1" name="椭圆 24">
              <a:extLst>
                <a:ext uri="{FF2B5EF4-FFF2-40B4-BE49-F238E27FC236}">
                  <a16:creationId xmlns:a16="http://schemas.microsoft.com/office/drawing/2014/main" id="{54F231EE-7331-6F8B-9715-42C8A85F4281}"/>
                </a:ext>
              </a:extLst>
            </p:cNvPr>
            <p:cNvSpPr/>
            <p:nvPr/>
          </p:nvSpPr>
          <p:spPr>
            <a:xfrm>
              <a:off x="4786452" y="3075795"/>
              <a:ext cx="72000" cy="7200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zh-CN" alt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4" name="椭圆 24">
              <a:extLst>
                <a:ext uri="{FF2B5EF4-FFF2-40B4-BE49-F238E27FC236}">
                  <a16:creationId xmlns:a16="http://schemas.microsoft.com/office/drawing/2014/main" id="{76CA7DA0-A117-6C02-6729-15625156D970}"/>
                </a:ext>
              </a:extLst>
            </p:cNvPr>
            <p:cNvSpPr/>
            <p:nvPr/>
          </p:nvSpPr>
          <p:spPr>
            <a:xfrm>
              <a:off x="4663361" y="3249283"/>
              <a:ext cx="72000" cy="7200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zh-CN" alt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9" name="椭圆 24">
              <a:extLst>
                <a:ext uri="{FF2B5EF4-FFF2-40B4-BE49-F238E27FC236}">
                  <a16:creationId xmlns:a16="http://schemas.microsoft.com/office/drawing/2014/main" id="{2C913E6E-8CCC-D490-ADA3-88F08E359004}"/>
                </a:ext>
              </a:extLst>
            </p:cNvPr>
            <p:cNvSpPr/>
            <p:nvPr/>
          </p:nvSpPr>
          <p:spPr>
            <a:xfrm>
              <a:off x="4578056" y="3031923"/>
              <a:ext cx="72000" cy="7200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zh-CN" alt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99BFBA9-439A-DF0C-F85D-0C54DBABE2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63" imgH="664" progId="TCLayout.ActiveDocument.1">
                  <p:embed/>
                </p:oleObj>
              </mc:Choice>
              <mc:Fallback>
                <p:oleObj name="think-cell Slide" r:id="rId5" imgW="663" imgH="66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99BFBA9-439A-DF0C-F85D-0C54DBABE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>
            <a:extLst>
              <a:ext uri="{FF2B5EF4-FFF2-40B4-BE49-F238E27FC236}">
                <a16:creationId xmlns:a16="http://schemas.microsoft.com/office/drawing/2014/main" id="{333DFD2D-543C-869D-88D9-C4E6ED93C910}"/>
              </a:ext>
            </a:extLst>
          </p:cNvPr>
          <p:cNvSpPr txBox="1">
            <a:spLocks/>
          </p:cNvSpPr>
          <p:nvPr/>
        </p:nvSpPr>
        <p:spPr>
          <a:xfrm>
            <a:off x="259117" y="181841"/>
            <a:ext cx="4810164" cy="383847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800"/>
              <a:t>We’re where you are </a:t>
            </a:r>
            <a:r>
              <a:rPr lang="zh-CN" altLang="en-US" sz="1800"/>
              <a:t>我们就在您身边</a:t>
            </a:r>
            <a:endParaRPr lang="en-US" sz="1800"/>
          </a:p>
        </p:txBody>
      </p:sp>
      <p:sp>
        <p:nvSpPr>
          <p:cNvPr id="78" name="文本框 30">
            <a:extLst>
              <a:ext uri="{FF2B5EF4-FFF2-40B4-BE49-F238E27FC236}">
                <a16:creationId xmlns:a16="http://schemas.microsoft.com/office/drawing/2014/main" id="{8B495BB3-CBBB-55A2-4F4E-C971E57F976F}"/>
              </a:ext>
            </a:extLst>
          </p:cNvPr>
          <p:cNvSpPr txBox="1"/>
          <p:nvPr/>
        </p:nvSpPr>
        <p:spPr>
          <a:xfrm>
            <a:off x="594324" y="4361419"/>
            <a:ext cx="7742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zh-CN" altLang="en-US" sz="800">
                <a:latin typeface="+mj-lt"/>
              </a:rPr>
              <a:t>沈阳</a:t>
            </a:r>
            <a:endParaRPr lang="en-US" altLang="zh-CN" sz="800">
              <a:latin typeface="+mj-lt"/>
            </a:endParaRPr>
          </a:p>
          <a:p>
            <a:pPr algn="ctr">
              <a:buClr>
                <a:schemeClr val="accent1"/>
              </a:buClr>
            </a:pPr>
            <a:r>
              <a:rPr lang="en-US" altLang="zh-CN" sz="800">
                <a:latin typeface="+mj-lt"/>
              </a:rPr>
              <a:t>Shenyang</a:t>
            </a:r>
            <a:endParaRPr lang="zh-CN" altLang="en-US" sz="800">
              <a:latin typeface="+mj-lt"/>
            </a:endParaRPr>
          </a:p>
        </p:txBody>
      </p:sp>
      <p:sp>
        <p:nvSpPr>
          <p:cNvPr id="79" name="文本框 31">
            <a:extLst>
              <a:ext uri="{FF2B5EF4-FFF2-40B4-BE49-F238E27FC236}">
                <a16:creationId xmlns:a16="http://schemas.microsoft.com/office/drawing/2014/main" id="{7AF4DD21-D427-1D59-6803-2131D68A7700}"/>
              </a:ext>
            </a:extLst>
          </p:cNvPr>
          <p:cNvSpPr txBox="1"/>
          <p:nvPr/>
        </p:nvSpPr>
        <p:spPr>
          <a:xfrm>
            <a:off x="1278331" y="4361419"/>
            <a:ext cx="5852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800" b="1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r>
              <a:rPr lang="zh-CN" altLang="en-US" b="0">
                <a:solidFill>
                  <a:schemeClr val="tx1"/>
                </a:solidFill>
                <a:latin typeface="+mj-lt"/>
              </a:rPr>
              <a:t>威海</a:t>
            </a:r>
            <a:endParaRPr lang="en-US" altLang="zh-CN" b="0">
              <a:solidFill>
                <a:schemeClr val="tx1"/>
              </a:solidFill>
              <a:latin typeface="+mj-lt"/>
            </a:endParaRPr>
          </a:p>
          <a:p>
            <a:r>
              <a:rPr lang="en-US" altLang="zh-CN" b="0">
                <a:solidFill>
                  <a:schemeClr val="tx1"/>
                </a:solidFill>
                <a:latin typeface="+mj-lt"/>
              </a:rPr>
              <a:t>Weihai</a:t>
            </a:r>
            <a:endParaRPr lang="zh-CN" altLang="en-US" b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0" name="文本框 32">
            <a:extLst>
              <a:ext uri="{FF2B5EF4-FFF2-40B4-BE49-F238E27FC236}">
                <a16:creationId xmlns:a16="http://schemas.microsoft.com/office/drawing/2014/main" id="{40B92F12-911A-4FD1-0EC4-BFB132A41BE5}"/>
              </a:ext>
            </a:extLst>
          </p:cNvPr>
          <p:cNvSpPr txBox="1"/>
          <p:nvPr/>
        </p:nvSpPr>
        <p:spPr>
          <a:xfrm>
            <a:off x="1752198" y="4361419"/>
            <a:ext cx="7115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800" b="1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r>
              <a:rPr lang="zh-CN" altLang="en-US" b="0">
                <a:solidFill>
                  <a:schemeClr val="tx1"/>
                </a:solidFill>
                <a:latin typeface="+mj-lt"/>
              </a:rPr>
              <a:t>青岛</a:t>
            </a:r>
            <a:endParaRPr lang="en-US" altLang="zh-CN" b="0">
              <a:solidFill>
                <a:schemeClr val="tx1"/>
              </a:solidFill>
              <a:latin typeface="+mj-lt"/>
            </a:endParaRPr>
          </a:p>
          <a:p>
            <a:r>
              <a:rPr lang="en-US" altLang="zh-CN" b="0">
                <a:solidFill>
                  <a:schemeClr val="tx1"/>
                </a:solidFill>
                <a:latin typeface="+mj-lt"/>
              </a:rPr>
              <a:t>Qingdao</a:t>
            </a:r>
            <a:endParaRPr lang="zh-CN" altLang="en-US" b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1" name="文本框 35">
            <a:extLst>
              <a:ext uri="{FF2B5EF4-FFF2-40B4-BE49-F238E27FC236}">
                <a16:creationId xmlns:a16="http://schemas.microsoft.com/office/drawing/2014/main" id="{75D11D5C-C0FE-CF5E-C86F-A3839615CEC9}"/>
              </a:ext>
            </a:extLst>
          </p:cNvPr>
          <p:cNvSpPr txBox="1"/>
          <p:nvPr/>
        </p:nvSpPr>
        <p:spPr>
          <a:xfrm>
            <a:off x="2296894" y="4361419"/>
            <a:ext cx="6955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800" b="1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r>
              <a:rPr lang="zh-CN" altLang="en-US" b="0">
                <a:solidFill>
                  <a:schemeClr val="tx1"/>
                </a:solidFill>
                <a:latin typeface="+mj-lt"/>
              </a:rPr>
              <a:t>江阴</a:t>
            </a:r>
            <a:endParaRPr lang="en-US" altLang="zh-CN" b="0">
              <a:solidFill>
                <a:schemeClr val="tx1"/>
              </a:solidFill>
              <a:latin typeface="+mj-lt"/>
            </a:endParaRPr>
          </a:p>
          <a:p>
            <a:r>
              <a:rPr lang="en-US" altLang="zh-CN" b="0">
                <a:solidFill>
                  <a:schemeClr val="tx1"/>
                </a:solidFill>
                <a:latin typeface="+mj-lt"/>
              </a:rPr>
              <a:t>Jiangyin</a:t>
            </a:r>
            <a:endParaRPr lang="zh-CN" altLang="en-US" b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2" name="文本框 35">
            <a:extLst>
              <a:ext uri="{FF2B5EF4-FFF2-40B4-BE49-F238E27FC236}">
                <a16:creationId xmlns:a16="http://schemas.microsoft.com/office/drawing/2014/main" id="{22B9B85D-356B-3D2A-D961-C99E6C1FD9BF}"/>
              </a:ext>
            </a:extLst>
          </p:cNvPr>
          <p:cNvSpPr txBox="1"/>
          <p:nvPr/>
        </p:nvSpPr>
        <p:spPr>
          <a:xfrm>
            <a:off x="2820546" y="4361419"/>
            <a:ext cx="7912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800" b="1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r>
              <a:rPr lang="zh-CN" altLang="en-US" b="0">
                <a:solidFill>
                  <a:schemeClr val="tx1"/>
                </a:solidFill>
                <a:latin typeface="+mj-lt"/>
              </a:rPr>
              <a:t>上海</a:t>
            </a:r>
            <a:endParaRPr lang="en-US" altLang="zh-CN" b="0">
              <a:solidFill>
                <a:schemeClr val="tx1"/>
              </a:solidFill>
              <a:latin typeface="+mj-lt"/>
            </a:endParaRPr>
          </a:p>
          <a:p>
            <a:r>
              <a:rPr lang="en-US" altLang="zh-CN" b="0">
                <a:solidFill>
                  <a:schemeClr val="tx1"/>
                </a:solidFill>
                <a:latin typeface="+mj-lt"/>
              </a:rPr>
              <a:t>Shanghai</a:t>
            </a:r>
            <a:endParaRPr lang="zh-CN" altLang="en-US" b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3" name="文本框 36">
            <a:extLst>
              <a:ext uri="{FF2B5EF4-FFF2-40B4-BE49-F238E27FC236}">
                <a16:creationId xmlns:a16="http://schemas.microsoft.com/office/drawing/2014/main" id="{5201C87F-0442-D2E3-47C8-9FD72E7DEDD2}"/>
              </a:ext>
            </a:extLst>
          </p:cNvPr>
          <p:cNvSpPr txBox="1"/>
          <p:nvPr/>
        </p:nvSpPr>
        <p:spPr>
          <a:xfrm>
            <a:off x="3445599" y="4361419"/>
            <a:ext cx="7364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800" b="1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r>
              <a:rPr lang="zh-CN" altLang="en-US" b="0">
                <a:solidFill>
                  <a:schemeClr val="tx1"/>
                </a:solidFill>
                <a:latin typeface="+mj-lt"/>
              </a:rPr>
              <a:t>苏州</a:t>
            </a:r>
            <a:endParaRPr lang="en-US" altLang="zh-CN" b="0">
              <a:solidFill>
                <a:schemeClr val="tx1"/>
              </a:solidFill>
              <a:latin typeface="+mj-lt"/>
            </a:endParaRPr>
          </a:p>
          <a:p>
            <a:r>
              <a:rPr lang="en-US" altLang="zh-CN" b="0">
                <a:solidFill>
                  <a:schemeClr val="tx1"/>
                </a:solidFill>
                <a:latin typeface="+mj-lt"/>
              </a:rPr>
              <a:t>Suzhou</a:t>
            </a:r>
            <a:endParaRPr lang="zh-CN" altLang="en-US" b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4" name="文本框 34">
            <a:extLst>
              <a:ext uri="{FF2B5EF4-FFF2-40B4-BE49-F238E27FC236}">
                <a16:creationId xmlns:a16="http://schemas.microsoft.com/office/drawing/2014/main" id="{11505554-693C-3589-7ACE-14115BFA5294}"/>
              </a:ext>
            </a:extLst>
          </p:cNvPr>
          <p:cNvSpPr txBox="1"/>
          <p:nvPr/>
        </p:nvSpPr>
        <p:spPr>
          <a:xfrm>
            <a:off x="4027138" y="4361419"/>
            <a:ext cx="7742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800" b="1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r>
              <a:rPr lang="zh-CN" altLang="en-US" b="0">
                <a:solidFill>
                  <a:schemeClr val="tx1"/>
                </a:solidFill>
                <a:latin typeface="+mj-lt"/>
              </a:rPr>
              <a:t>杭州</a:t>
            </a:r>
            <a:endParaRPr lang="en-US" altLang="zh-CN" b="0">
              <a:solidFill>
                <a:schemeClr val="tx1"/>
              </a:solidFill>
              <a:latin typeface="+mj-lt"/>
            </a:endParaRPr>
          </a:p>
          <a:p>
            <a:r>
              <a:rPr lang="en-US" altLang="zh-CN" b="0">
                <a:solidFill>
                  <a:schemeClr val="tx1"/>
                </a:solidFill>
                <a:latin typeface="+mj-lt"/>
              </a:rPr>
              <a:t>Hangzhou</a:t>
            </a:r>
            <a:endParaRPr lang="zh-CN" altLang="en-US" b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62D873D-7153-5108-8D1F-F64A0610E160}"/>
              </a:ext>
            </a:extLst>
          </p:cNvPr>
          <p:cNvSpPr txBox="1"/>
          <p:nvPr/>
        </p:nvSpPr>
        <p:spPr>
          <a:xfrm>
            <a:off x="5465829" y="1020840"/>
            <a:ext cx="3580695" cy="728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buClr>
                <a:schemeClr val="accent1"/>
              </a:buClr>
              <a:defRPr sz="800"/>
            </a:lvl1pPr>
          </a:lstStyle>
          <a:p>
            <a:pPr>
              <a:spcAft>
                <a:spcPts val="300"/>
              </a:spcAft>
            </a:pPr>
            <a:r>
              <a:rPr lang="en-US" altLang="zh-CN" sz="900" b="1"/>
              <a:t>Localized innovation </a:t>
            </a:r>
            <a:r>
              <a:rPr lang="zh-CN" altLang="en-US" sz="900" b="1"/>
              <a:t>本土创新</a:t>
            </a:r>
            <a:endParaRPr lang="en-US" altLang="zh-CN" sz="900" b="1"/>
          </a:p>
          <a:p>
            <a:r>
              <a:rPr lang="en-US" sz="900"/>
              <a:t>From global to local: synergizing R&amp;D and manufacturing facilities in China</a:t>
            </a:r>
          </a:p>
          <a:p>
            <a:r>
              <a:rPr lang="zh-CN" altLang="en-US" sz="900"/>
              <a:t>亚洲研发中心与生产基地协同创新，推动技术本地化转化 </a:t>
            </a:r>
            <a:endParaRPr lang="en-US" sz="900" err="1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8C7E71F-A884-4DB0-E6DE-29AF2ACC8FA1}"/>
              </a:ext>
            </a:extLst>
          </p:cNvPr>
          <p:cNvSpPr txBox="1"/>
          <p:nvPr/>
        </p:nvSpPr>
        <p:spPr>
          <a:xfrm>
            <a:off x="326442" y="3300657"/>
            <a:ext cx="119776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BE" sz="600"/>
              <a:t>Bekaert production plants</a:t>
            </a:r>
            <a:endParaRPr lang="en-US" sz="600"/>
          </a:p>
          <a:p>
            <a:pPr>
              <a:buClr>
                <a:schemeClr val="accent1"/>
              </a:buClr>
            </a:pPr>
            <a:r>
              <a:rPr lang="zh-CN" altLang="en-US" sz="600"/>
              <a:t>贝卡尔特生产基地</a:t>
            </a:r>
            <a:endParaRPr lang="en-US" altLang="zh-CN" sz="600"/>
          </a:p>
          <a:p>
            <a:pPr>
              <a:buClr>
                <a:schemeClr val="accent1"/>
              </a:buClr>
            </a:pPr>
            <a:endParaRPr lang="en-BE" sz="600"/>
          </a:p>
          <a:p>
            <a:pPr algn="l">
              <a:buClr>
                <a:schemeClr val="accent1"/>
              </a:buClr>
            </a:pPr>
            <a:r>
              <a:rPr lang="en-BE" sz="600"/>
              <a:t>Bekaert offices</a:t>
            </a:r>
            <a:endParaRPr lang="en-US" sz="600"/>
          </a:p>
          <a:p>
            <a:pPr algn="l">
              <a:buClr>
                <a:schemeClr val="accent1"/>
              </a:buClr>
            </a:pPr>
            <a:r>
              <a:rPr lang="zh-CN" altLang="en-US" sz="600"/>
              <a:t>贝卡尔特办公室</a:t>
            </a:r>
            <a:endParaRPr lang="en-US" altLang="zh-CN" sz="600"/>
          </a:p>
          <a:p>
            <a:pPr algn="l">
              <a:buClr>
                <a:schemeClr val="accent1"/>
              </a:buClr>
            </a:pPr>
            <a:endParaRPr lang="en-BE" sz="600"/>
          </a:p>
          <a:p>
            <a:pPr algn="l">
              <a:buClr>
                <a:schemeClr val="accent1"/>
              </a:buClr>
            </a:pPr>
            <a:r>
              <a:rPr lang="en-BE" sz="600"/>
              <a:t>Bekaert R&amp;D centers</a:t>
            </a:r>
            <a:endParaRPr lang="en-US" sz="600"/>
          </a:p>
          <a:p>
            <a:pPr algn="l">
              <a:buClr>
                <a:schemeClr val="accent1"/>
              </a:buClr>
            </a:pPr>
            <a:r>
              <a:rPr lang="zh-CN" altLang="en-US" sz="600"/>
              <a:t>贝卡尔特研发中心</a:t>
            </a:r>
            <a:endParaRPr lang="en-BE" sz="600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1E2E660D-D8BA-BDA5-BB1D-03043DD5D98F}"/>
              </a:ext>
            </a:extLst>
          </p:cNvPr>
          <p:cNvSpPr/>
          <p:nvPr/>
        </p:nvSpPr>
        <p:spPr>
          <a:xfrm>
            <a:off x="224607" y="3619126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8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2B726F66-DA68-7A80-E51B-1B9D69452F8E}"/>
              </a:ext>
            </a:extLst>
          </p:cNvPr>
          <p:cNvSpPr/>
          <p:nvPr/>
        </p:nvSpPr>
        <p:spPr>
          <a:xfrm>
            <a:off x="224607" y="3380009"/>
            <a:ext cx="72000" cy="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8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3B027300-B831-C339-38CC-336A00421FF3}"/>
              </a:ext>
            </a:extLst>
          </p:cNvPr>
          <p:cNvSpPr/>
          <p:nvPr/>
        </p:nvSpPr>
        <p:spPr>
          <a:xfrm>
            <a:off x="224607" y="3903055"/>
            <a:ext cx="72000" cy="72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8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0" name="椭圆 24">
            <a:extLst>
              <a:ext uri="{FF2B5EF4-FFF2-40B4-BE49-F238E27FC236}">
                <a16:creationId xmlns:a16="http://schemas.microsoft.com/office/drawing/2014/main" id="{BB91DB82-641D-4F84-6013-67B324FF38F6}"/>
              </a:ext>
            </a:extLst>
          </p:cNvPr>
          <p:cNvSpPr/>
          <p:nvPr/>
        </p:nvSpPr>
        <p:spPr>
          <a:xfrm>
            <a:off x="3936516" y="1966427"/>
            <a:ext cx="72000" cy="72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zh-CN" alt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1" name="椭圆 24">
            <a:extLst>
              <a:ext uri="{FF2B5EF4-FFF2-40B4-BE49-F238E27FC236}">
                <a16:creationId xmlns:a16="http://schemas.microsoft.com/office/drawing/2014/main" id="{F0190D4E-5019-CA54-31E2-698AD635C7FC}"/>
              </a:ext>
            </a:extLst>
          </p:cNvPr>
          <p:cNvSpPr/>
          <p:nvPr/>
        </p:nvSpPr>
        <p:spPr>
          <a:xfrm>
            <a:off x="3890665" y="2668656"/>
            <a:ext cx="108000" cy="108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zh-CN" alt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3" name="椭圆 24">
            <a:extLst>
              <a:ext uri="{FF2B5EF4-FFF2-40B4-BE49-F238E27FC236}">
                <a16:creationId xmlns:a16="http://schemas.microsoft.com/office/drawing/2014/main" id="{CD7551E4-A364-1276-9F40-7EB6978C0911}"/>
              </a:ext>
            </a:extLst>
          </p:cNvPr>
          <p:cNvSpPr/>
          <p:nvPr/>
        </p:nvSpPr>
        <p:spPr>
          <a:xfrm>
            <a:off x="4027138" y="2808624"/>
            <a:ext cx="64555" cy="63292"/>
          </a:xfrm>
          <a:prstGeom prst="ellipse">
            <a:avLst/>
          </a:prstGeom>
          <a:solidFill>
            <a:srgbClr val="FF602C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zh-CN" alt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4" name="椭圆 24">
            <a:extLst>
              <a:ext uri="{FF2B5EF4-FFF2-40B4-BE49-F238E27FC236}">
                <a16:creationId xmlns:a16="http://schemas.microsoft.com/office/drawing/2014/main" id="{9A7372DD-9502-3DBD-EA3E-CA750CBBE3F8}"/>
              </a:ext>
            </a:extLst>
          </p:cNvPr>
          <p:cNvSpPr/>
          <p:nvPr/>
        </p:nvSpPr>
        <p:spPr>
          <a:xfrm>
            <a:off x="3917038" y="2770493"/>
            <a:ext cx="64555" cy="63292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zh-CN" alt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4FC348E9-308E-9B86-2AE7-281A559C1162}"/>
              </a:ext>
            </a:extLst>
          </p:cNvPr>
          <p:cNvSpPr/>
          <p:nvPr/>
        </p:nvSpPr>
        <p:spPr>
          <a:xfrm>
            <a:off x="5254830" y="4880758"/>
            <a:ext cx="148442" cy="1484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US" sz="1200" b="0" i="0" err="1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97DD98D1-855D-C369-7B09-D22D47619B03}"/>
              </a:ext>
            </a:extLst>
          </p:cNvPr>
          <p:cNvGrpSpPr/>
          <p:nvPr/>
        </p:nvGrpSpPr>
        <p:grpSpPr>
          <a:xfrm>
            <a:off x="5051471" y="2762711"/>
            <a:ext cx="396000" cy="396000"/>
            <a:chOff x="5101890" y="2911460"/>
            <a:chExt cx="360000" cy="360000"/>
          </a:xfrm>
          <a:solidFill>
            <a:srgbClr val="D7D2CB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3FE5C8D0-2B8F-34C2-8975-13C74A2A55EA}"/>
                </a:ext>
              </a:extLst>
            </p:cNvPr>
            <p:cNvSpPr/>
            <p:nvPr/>
          </p:nvSpPr>
          <p:spPr>
            <a:xfrm>
              <a:off x="5101890" y="2911460"/>
              <a:ext cx="360000" cy="36000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en-US" sz="1200" err="1">
                <a:solidFill>
                  <a:schemeClr val="bg1"/>
                </a:solidFill>
              </a:endParaRPr>
            </a:p>
          </p:txBody>
        </p:sp>
        <p:pic>
          <p:nvPicPr>
            <p:cNvPr id="149" name="Graphic 148">
              <a:extLst>
                <a:ext uri="{FF2B5EF4-FFF2-40B4-BE49-F238E27FC236}">
                  <a16:creationId xmlns:a16="http://schemas.microsoft.com/office/drawing/2014/main" id="{92EBD617-2413-6816-AC6C-CF07AC91DC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121208" y="2922796"/>
              <a:ext cx="324000" cy="324000"/>
            </a:xfrm>
            <a:prstGeom prst="rect">
              <a:avLst/>
            </a:prstGeom>
          </p:spPr>
        </p:pic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BFF3FB4E-0312-4B97-E44A-746DAA6C2B24}"/>
              </a:ext>
            </a:extLst>
          </p:cNvPr>
          <p:cNvGrpSpPr/>
          <p:nvPr/>
        </p:nvGrpSpPr>
        <p:grpSpPr>
          <a:xfrm>
            <a:off x="5051471" y="3556961"/>
            <a:ext cx="396000" cy="396000"/>
            <a:chOff x="5110126" y="3740297"/>
            <a:chExt cx="332138" cy="326911"/>
          </a:xfrm>
          <a:solidFill>
            <a:srgbClr val="D7D2CB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3037AFD4-0B0C-AA53-A5E0-BC97FB8248AF}"/>
                </a:ext>
              </a:extLst>
            </p:cNvPr>
            <p:cNvSpPr/>
            <p:nvPr/>
          </p:nvSpPr>
          <p:spPr>
            <a:xfrm>
              <a:off x="5118264" y="3740297"/>
              <a:ext cx="324000" cy="32400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en-US" sz="1200" err="1">
                <a:solidFill>
                  <a:schemeClr val="bg1"/>
                </a:solidFill>
              </a:endParaRPr>
            </a:p>
          </p:txBody>
        </p:sp>
        <p:pic>
          <p:nvPicPr>
            <p:cNvPr id="153" name="Graphic 152">
              <a:extLst>
                <a:ext uri="{FF2B5EF4-FFF2-40B4-BE49-F238E27FC236}">
                  <a16:creationId xmlns:a16="http://schemas.microsoft.com/office/drawing/2014/main" id="{DCE6112F-A4F9-CB1E-1CF1-8245351D0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110126" y="3743208"/>
              <a:ext cx="324000" cy="324000"/>
            </a:xfrm>
            <a:prstGeom prst="rect">
              <a:avLst/>
            </a:prstGeom>
          </p:spPr>
        </p:pic>
      </p:grpSp>
      <p:sp>
        <p:nvSpPr>
          <p:cNvPr id="154" name="TextBox 153">
            <a:extLst>
              <a:ext uri="{FF2B5EF4-FFF2-40B4-BE49-F238E27FC236}">
                <a16:creationId xmlns:a16="http://schemas.microsoft.com/office/drawing/2014/main" id="{E3AC2B82-E9F6-23DE-1C84-CA9197A38C8A}"/>
              </a:ext>
            </a:extLst>
          </p:cNvPr>
          <p:cNvSpPr txBox="1"/>
          <p:nvPr/>
        </p:nvSpPr>
        <p:spPr>
          <a:xfrm>
            <a:off x="5465829" y="1891265"/>
            <a:ext cx="3384750" cy="728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defRPr sz="800" b="1"/>
            </a:lvl1pPr>
          </a:lstStyle>
          <a:p>
            <a:pPr>
              <a:spcAft>
                <a:spcPts val="300"/>
              </a:spcAft>
            </a:pPr>
            <a:r>
              <a:rPr lang="en-US" altLang="zh-CN" sz="900"/>
              <a:t>Region-tailored solutions </a:t>
            </a:r>
            <a:r>
              <a:rPr lang="zh-CN" altLang="en-US" sz="900"/>
              <a:t>区域定制化解决方案</a:t>
            </a:r>
            <a:endParaRPr lang="en-US" altLang="zh-CN" sz="900"/>
          </a:p>
          <a:p>
            <a:pPr>
              <a:spcAft>
                <a:spcPts val="0"/>
              </a:spcAft>
            </a:pPr>
            <a:r>
              <a:rPr lang="en-US" altLang="zh-CN" sz="900" b="0"/>
              <a:t>Stay close to our customers, offering tailored product portfolios for diverse market segments</a:t>
            </a:r>
          </a:p>
          <a:p>
            <a:pPr>
              <a:spcAft>
                <a:spcPts val="0"/>
              </a:spcAft>
            </a:pPr>
            <a:r>
              <a:rPr lang="zh-CN" altLang="en-US" sz="900" b="0"/>
              <a:t>贴近我们的客户，针对不同细分市场，提供差异化产品组合</a:t>
            </a:r>
            <a:endParaRPr lang="en-US" altLang="zh-CN" sz="900" b="0"/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60F2BFC6-EC47-9463-867C-343CD9283741}"/>
              </a:ext>
            </a:extLst>
          </p:cNvPr>
          <p:cNvSpPr txBox="1"/>
          <p:nvPr/>
        </p:nvSpPr>
        <p:spPr>
          <a:xfrm>
            <a:off x="5465829" y="2761690"/>
            <a:ext cx="3425036" cy="576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defRPr sz="800" b="1"/>
            </a:lvl1pPr>
          </a:lstStyle>
          <a:p>
            <a:pPr>
              <a:spcAft>
                <a:spcPts val="300"/>
              </a:spcAft>
            </a:pPr>
            <a:r>
              <a:rPr lang="en-US" altLang="zh-CN" sz="900"/>
              <a:t>Distributed production network </a:t>
            </a:r>
            <a:r>
              <a:rPr lang="zh-CN" altLang="en-US" sz="900"/>
              <a:t>分布式制造网络</a:t>
            </a:r>
            <a:endParaRPr lang="en-US" altLang="zh-CN" sz="900"/>
          </a:p>
          <a:p>
            <a:pPr>
              <a:spcAft>
                <a:spcPts val="0"/>
              </a:spcAft>
            </a:pPr>
            <a:r>
              <a:rPr lang="en-US" altLang="zh-CN" sz="900" b="0"/>
              <a:t>Local supply chains, agile customer response</a:t>
            </a:r>
          </a:p>
          <a:p>
            <a:pPr>
              <a:spcAft>
                <a:spcPts val="0"/>
              </a:spcAft>
            </a:pPr>
            <a:r>
              <a:rPr lang="zh-CN" altLang="en-US" sz="900" b="0"/>
              <a:t>本地化供应、灵活响应客户需求</a:t>
            </a:r>
            <a:endParaRPr lang="en-US" sz="900" b="0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422823AB-E699-77C7-EEC5-6C59E1E51219}"/>
              </a:ext>
            </a:extLst>
          </p:cNvPr>
          <p:cNvSpPr txBox="1"/>
          <p:nvPr/>
        </p:nvSpPr>
        <p:spPr>
          <a:xfrm>
            <a:off x="5465829" y="3512596"/>
            <a:ext cx="3506438" cy="728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defRPr sz="800" b="1"/>
            </a:lvl1pPr>
          </a:lstStyle>
          <a:p>
            <a:pPr>
              <a:spcAft>
                <a:spcPts val="300"/>
              </a:spcAft>
            </a:pPr>
            <a:r>
              <a:rPr lang="en-US" altLang="zh-CN" sz="900"/>
              <a:t>Culture proximity </a:t>
            </a:r>
            <a:r>
              <a:rPr lang="zh-CN" altLang="en-US" sz="900"/>
              <a:t>文化亲近</a:t>
            </a:r>
            <a:endParaRPr lang="en-US" altLang="zh-CN" sz="900"/>
          </a:p>
          <a:p>
            <a:pPr>
              <a:spcAft>
                <a:spcPts val="0"/>
              </a:spcAft>
            </a:pPr>
            <a:r>
              <a:rPr lang="en-US" altLang="zh-CN" sz="900" b="0"/>
              <a:t>Maintain close communication and efficient collaboration with customers and partners</a:t>
            </a:r>
          </a:p>
          <a:p>
            <a:pPr>
              <a:spcAft>
                <a:spcPts val="0"/>
              </a:spcAft>
            </a:pPr>
            <a:r>
              <a:rPr lang="zh-CN" altLang="en-US" sz="900" b="0"/>
              <a:t>与客户、合作伙伴保持密切沟通，高效协作</a:t>
            </a:r>
            <a:endParaRPr lang="en-US" sz="900" b="0"/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2D023F8C-FD64-EA87-B102-3D0B3781A1B5}"/>
              </a:ext>
            </a:extLst>
          </p:cNvPr>
          <p:cNvGrpSpPr/>
          <p:nvPr/>
        </p:nvGrpSpPr>
        <p:grpSpPr>
          <a:xfrm>
            <a:off x="5052365" y="1968461"/>
            <a:ext cx="395102" cy="396000"/>
            <a:chOff x="5118264" y="2075657"/>
            <a:chExt cx="360000" cy="360000"/>
          </a:xfrm>
          <a:solidFill>
            <a:srgbClr val="D7D2CB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52F8B8AB-7ECC-D64B-6D0F-F28FF0EAF6B3}"/>
                </a:ext>
              </a:extLst>
            </p:cNvPr>
            <p:cNvSpPr/>
            <p:nvPr/>
          </p:nvSpPr>
          <p:spPr>
            <a:xfrm>
              <a:off x="5118264" y="2075657"/>
              <a:ext cx="360000" cy="36000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en-US" sz="1200" err="1">
                <a:solidFill>
                  <a:schemeClr val="bg1"/>
                </a:solidFill>
              </a:endParaRPr>
            </a:p>
          </p:txBody>
        </p:sp>
        <p:pic>
          <p:nvPicPr>
            <p:cNvPr id="157" name="Graphic 156">
              <a:extLst>
                <a:ext uri="{FF2B5EF4-FFF2-40B4-BE49-F238E27FC236}">
                  <a16:creationId xmlns:a16="http://schemas.microsoft.com/office/drawing/2014/main" id="{38CB9F4D-B72E-6133-F4D8-D238C3C748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133677" y="2082342"/>
              <a:ext cx="324000" cy="324000"/>
            </a:xfrm>
            <a:prstGeom prst="rect">
              <a:avLst/>
            </a:prstGeom>
          </p:spPr>
        </p:pic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A6A13396-0414-8895-AF57-086876FB73D0}"/>
              </a:ext>
            </a:extLst>
          </p:cNvPr>
          <p:cNvGrpSpPr/>
          <p:nvPr/>
        </p:nvGrpSpPr>
        <p:grpSpPr>
          <a:xfrm>
            <a:off x="5051471" y="1098036"/>
            <a:ext cx="396000" cy="396000"/>
            <a:chOff x="5114006" y="1215890"/>
            <a:chExt cx="368512" cy="383964"/>
          </a:xfrm>
          <a:solidFill>
            <a:srgbClr val="D7D2CB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1617149D-23DF-17B9-8C02-5457B79A9D59}"/>
                </a:ext>
              </a:extLst>
            </p:cNvPr>
            <p:cNvSpPr/>
            <p:nvPr/>
          </p:nvSpPr>
          <p:spPr>
            <a:xfrm>
              <a:off x="5118264" y="1239854"/>
              <a:ext cx="360000" cy="36000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160" name="Graphic 159">
              <a:extLst>
                <a:ext uri="{FF2B5EF4-FFF2-40B4-BE49-F238E27FC236}">
                  <a16:creationId xmlns:a16="http://schemas.microsoft.com/office/drawing/2014/main" id="{D72DF4A0-7F25-EFFD-E0E7-4C48D4E9E4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114006" y="1215890"/>
              <a:ext cx="368512" cy="368512"/>
            </a:xfrm>
            <a:prstGeom prst="rect">
              <a:avLst/>
            </a:prstGeom>
          </p:spPr>
        </p:pic>
      </p:grpSp>
      <p:sp>
        <p:nvSpPr>
          <p:cNvPr id="168" name="椭圆 24">
            <a:extLst>
              <a:ext uri="{FF2B5EF4-FFF2-40B4-BE49-F238E27FC236}">
                <a16:creationId xmlns:a16="http://schemas.microsoft.com/office/drawing/2014/main" id="{14C03210-70D2-C9E1-57CE-1BC53F392F6C}"/>
              </a:ext>
            </a:extLst>
          </p:cNvPr>
          <p:cNvSpPr/>
          <p:nvPr/>
        </p:nvSpPr>
        <p:spPr>
          <a:xfrm>
            <a:off x="3806538" y="2372414"/>
            <a:ext cx="72000" cy="72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zh-CN" alt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62BFD19E-C75A-A736-13D6-C0B334452A31}"/>
              </a:ext>
            </a:extLst>
          </p:cNvPr>
          <p:cNvSpPr/>
          <p:nvPr/>
        </p:nvSpPr>
        <p:spPr>
          <a:xfrm>
            <a:off x="3627143" y="1925917"/>
            <a:ext cx="557776" cy="557776"/>
          </a:xfrm>
          <a:prstGeom prst="ellips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B6C174B3-A10F-F4DA-EDF9-7E58FFA9F735}"/>
              </a:ext>
            </a:extLst>
          </p:cNvPr>
          <p:cNvSpPr/>
          <p:nvPr/>
        </p:nvSpPr>
        <p:spPr>
          <a:xfrm>
            <a:off x="3715849" y="2533876"/>
            <a:ext cx="557776" cy="557776"/>
          </a:xfrm>
          <a:prstGeom prst="ellips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US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4B3AAB-DC35-56A9-A3C9-C3695DA6631B}"/>
              </a:ext>
            </a:extLst>
          </p:cNvPr>
          <p:cNvSpPr txBox="1"/>
          <p:nvPr/>
        </p:nvSpPr>
        <p:spPr>
          <a:xfrm>
            <a:off x="307773" y="479730"/>
            <a:ext cx="3408076" cy="307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US" altLang="zh-CN" sz="1200"/>
              <a:t>Operations across 7 cities </a:t>
            </a:r>
            <a:r>
              <a:rPr lang="zh-CN" altLang="en-US" sz="1200"/>
              <a:t>运营分布</a:t>
            </a:r>
            <a:r>
              <a:rPr lang="en-US" altLang="zh-CN" sz="1200"/>
              <a:t>7</a:t>
            </a:r>
            <a:r>
              <a:rPr lang="zh-CN" altLang="en-US" sz="1200"/>
              <a:t>个城市</a:t>
            </a:r>
            <a:endParaRPr lang="en-US" sz="1200" err="1"/>
          </a:p>
        </p:txBody>
      </p:sp>
    </p:spTree>
    <p:extLst>
      <p:ext uri="{BB962C8B-B14F-4D97-AF65-F5344CB8AC3E}">
        <p14:creationId xmlns:p14="http://schemas.microsoft.com/office/powerpoint/2010/main" val="842935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E9E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76BA179-5B86-EE7C-F591-DCFC5D9C73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3A01C644-4D63-01B4-D1AA-2C9A82881A5B}"/>
              </a:ext>
            </a:extLst>
          </p:cNvPr>
          <p:cNvSpPr txBox="1"/>
          <p:nvPr/>
        </p:nvSpPr>
        <p:spPr>
          <a:xfrm>
            <a:off x="2928620" y="3156086"/>
            <a:ext cx="1516584" cy="9439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buClr>
                <a:schemeClr val="accent1"/>
              </a:buClr>
              <a:defRPr sz="900"/>
            </a:lvl1pPr>
          </a:lstStyle>
          <a:p>
            <a:r>
              <a:rPr lang="en-GB"/>
              <a:t>Bekaert establishes its engineering  and  center in China</a:t>
            </a:r>
            <a:r>
              <a:rPr lang="en-US"/>
              <a:t>.</a:t>
            </a:r>
          </a:p>
          <a:p>
            <a:endParaRPr lang="en-GB" sz="600"/>
          </a:p>
          <a:p>
            <a:r>
              <a:rPr lang="zh-CN" altLang="en-US"/>
              <a:t>贝卡尔特在中国设立工程技术中心。</a:t>
            </a:r>
            <a:endParaRPr lang="en-BE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843454D-9616-433A-2007-180C50269809}"/>
              </a:ext>
            </a:extLst>
          </p:cNvPr>
          <p:cNvCxnSpPr>
            <a:cxnSpLocks/>
          </p:cNvCxnSpPr>
          <p:nvPr/>
        </p:nvCxnSpPr>
        <p:spPr>
          <a:xfrm>
            <a:off x="2902883" y="2893252"/>
            <a:ext cx="0" cy="1152000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85421B7-07CB-F34F-AF5C-C55D444AFA0D}"/>
              </a:ext>
            </a:extLst>
          </p:cNvPr>
          <p:cNvCxnSpPr>
            <a:cxnSpLocks/>
          </p:cNvCxnSpPr>
          <p:nvPr/>
        </p:nvCxnSpPr>
        <p:spPr>
          <a:xfrm>
            <a:off x="1233767" y="1114664"/>
            <a:ext cx="0" cy="1152000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DA69E55-C61F-245A-3EEF-8D0F690F9DC3}"/>
              </a:ext>
            </a:extLst>
          </p:cNvPr>
          <p:cNvSpPr txBox="1"/>
          <p:nvPr/>
        </p:nvSpPr>
        <p:spPr>
          <a:xfrm>
            <a:off x="4574765" y="1132259"/>
            <a:ext cx="1832492" cy="9439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buClr>
                <a:schemeClr val="accent1"/>
              </a:buClr>
              <a:defRPr sz="900"/>
            </a:lvl1pPr>
          </a:lstStyle>
          <a:p>
            <a:r>
              <a:rPr lang="en-GB"/>
              <a:t>First investment in China to produce Dramix® for concrete reinforcement</a:t>
            </a:r>
            <a:r>
              <a:rPr lang="en-US"/>
              <a:t>.</a:t>
            </a:r>
            <a:endParaRPr lang="en-GB"/>
          </a:p>
          <a:p>
            <a:endParaRPr lang="en-GB" sz="600"/>
          </a:p>
          <a:p>
            <a:r>
              <a:rPr lang="zh-CN" altLang="en-US"/>
              <a:t>贝卡尔特在中国开始生产混凝土增强用佳密克丝</a:t>
            </a:r>
            <a:r>
              <a:rPr lang="en-GB"/>
              <a:t>®</a:t>
            </a:r>
            <a:r>
              <a:rPr lang="zh-CN" altLang="en-US"/>
              <a:t>钢纤维。</a:t>
            </a:r>
            <a:endParaRPr lang="en-BE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22ED405-8B7A-2AA8-E768-389477193207}"/>
              </a:ext>
            </a:extLst>
          </p:cNvPr>
          <p:cNvCxnSpPr/>
          <p:nvPr/>
        </p:nvCxnSpPr>
        <p:spPr>
          <a:xfrm>
            <a:off x="4577921" y="1093683"/>
            <a:ext cx="0" cy="1152000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ED7A28D8-D942-2281-93E0-CE2565DC4E69}"/>
              </a:ext>
            </a:extLst>
          </p:cNvPr>
          <p:cNvGrpSpPr/>
          <p:nvPr/>
        </p:nvGrpSpPr>
        <p:grpSpPr>
          <a:xfrm>
            <a:off x="931209" y="2269191"/>
            <a:ext cx="6974764" cy="605118"/>
            <a:chOff x="826994" y="1966632"/>
            <a:chExt cx="6974764" cy="605118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1FDE3CB2-ED7B-05C0-0F15-9E191DF7A017}"/>
                </a:ext>
              </a:extLst>
            </p:cNvPr>
            <p:cNvSpPr/>
            <p:nvPr/>
          </p:nvSpPr>
          <p:spPr>
            <a:xfrm>
              <a:off x="826994" y="1966633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BFE910C4-D213-9F7A-9ACF-29750C5D402A}"/>
                </a:ext>
              </a:extLst>
            </p:cNvPr>
            <p:cNvSpPr/>
            <p:nvPr/>
          </p:nvSpPr>
          <p:spPr>
            <a:xfrm>
              <a:off x="2496110" y="1966633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3537BBA-0955-F95F-E9D6-12E72D6178A5}"/>
                </a:ext>
              </a:extLst>
            </p:cNvPr>
            <p:cNvSpPr/>
            <p:nvPr/>
          </p:nvSpPr>
          <p:spPr>
            <a:xfrm>
              <a:off x="4153341" y="1966633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5771A28A-19C5-F149-6B93-F0A9CF505A57}"/>
                </a:ext>
              </a:extLst>
            </p:cNvPr>
            <p:cNvSpPr/>
            <p:nvPr/>
          </p:nvSpPr>
          <p:spPr>
            <a:xfrm>
              <a:off x="5662147" y="1966633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F8C1A5F-B1D6-EF65-5649-6949F7998415}"/>
                </a:ext>
              </a:extLst>
            </p:cNvPr>
            <p:cNvSpPr/>
            <p:nvPr/>
          </p:nvSpPr>
          <p:spPr>
            <a:xfrm>
              <a:off x="7196641" y="1966632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CA5EE1F-AE29-59C4-8BDF-21422FC46564}"/>
              </a:ext>
            </a:extLst>
          </p:cNvPr>
          <p:cNvCxnSpPr/>
          <p:nvPr/>
        </p:nvCxnSpPr>
        <p:spPr>
          <a:xfrm>
            <a:off x="1243853" y="2571750"/>
            <a:ext cx="7900147" cy="0"/>
          </a:xfrm>
          <a:prstGeom prst="line">
            <a:avLst/>
          </a:prstGeom>
          <a:ln w="28575">
            <a:solidFill>
              <a:schemeClr val="accent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A71E20C6-2B78-920F-DF10-7B64D4A5FC59}"/>
              </a:ext>
            </a:extLst>
          </p:cNvPr>
          <p:cNvSpPr txBox="1">
            <a:spLocks/>
          </p:cNvSpPr>
          <p:nvPr/>
        </p:nvSpPr>
        <p:spPr>
          <a:xfrm>
            <a:off x="258954" y="194977"/>
            <a:ext cx="8570350" cy="294736"/>
          </a:xfrm>
          <a:prstGeom prst="rect">
            <a:avLst/>
          </a:prstGeom>
        </p:spPr>
        <p:txBody>
          <a:bodyPr vert="horz" lIns="91440" tIns="45720" rIns="91440" bIns="45720" anchor="t"/>
          <a:lstStyle>
            <a:defPPr>
              <a:defRPr lang="nl-BE"/>
            </a:defPPr>
            <a:lvl1pPr>
              <a:lnSpc>
                <a:spcPct val="90000"/>
              </a:lnSpc>
              <a:spcBef>
                <a:spcPct val="0"/>
              </a:spcBef>
              <a:buNone/>
              <a:defRPr b="0" i="0" spc="-30" baseline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cs typeface="Arial"/>
              </a:rPr>
              <a:t>Three decades of shared growth with China </a:t>
            </a:r>
            <a:r>
              <a:rPr lang="zh-CN" altLang="en-US">
                <a:cs typeface="Arial"/>
              </a:rPr>
              <a:t>三十三载，与中国共成长</a:t>
            </a:r>
            <a:endParaRPr lang="en-GB">
              <a:cs typeface="Arial"/>
            </a:endParaRP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67A0AAC-9E20-B58E-0AF1-3BDFCD2EEE77}"/>
              </a:ext>
            </a:extLst>
          </p:cNvPr>
          <p:cNvSpPr txBox="1">
            <a:spLocks/>
          </p:cNvSpPr>
          <p:nvPr/>
        </p:nvSpPr>
        <p:spPr>
          <a:xfrm>
            <a:off x="258954" y="518400"/>
            <a:ext cx="6698615" cy="239712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BE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3D88FB5-CB96-5DD6-893A-901A55D3C3D6}"/>
              </a:ext>
            </a:extLst>
          </p:cNvPr>
          <p:cNvSpPr txBox="1"/>
          <p:nvPr/>
        </p:nvSpPr>
        <p:spPr>
          <a:xfrm>
            <a:off x="958105" y="2440835"/>
            <a:ext cx="89086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>
                <a:solidFill>
                  <a:schemeClr val="bg1"/>
                </a:solidFill>
                <a:latin typeface="+mj-lt"/>
              </a:rPr>
              <a:t>1992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C5A5FB3-0741-7DF5-485C-24C0CFF6FE15}"/>
              </a:ext>
            </a:extLst>
          </p:cNvPr>
          <p:cNvSpPr txBox="1"/>
          <p:nvPr/>
        </p:nvSpPr>
        <p:spPr>
          <a:xfrm>
            <a:off x="2625119" y="2440835"/>
            <a:ext cx="59881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19</a:t>
            </a:r>
            <a:r>
              <a:rPr lang="en-US" sz="1000" b="1">
                <a:solidFill>
                  <a:schemeClr val="bg1"/>
                </a:solidFill>
                <a:latin typeface="+mj-lt"/>
              </a:rPr>
              <a:t>96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E63D58-8824-6127-574C-50821E9CD28D}"/>
              </a:ext>
            </a:extLst>
          </p:cNvPr>
          <p:cNvSpPr txBox="1"/>
          <p:nvPr/>
        </p:nvSpPr>
        <p:spPr>
          <a:xfrm>
            <a:off x="4262438" y="2440835"/>
            <a:ext cx="60091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19</a:t>
            </a:r>
            <a:r>
              <a:rPr lang="en-US" sz="1000" b="1">
                <a:solidFill>
                  <a:schemeClr val="bg1"/>
                </a:solidFill>
                <a:latin typeface="+mj-lt"/>
              </a:rPr>
              <a:t>97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D79B89F-22CD-1E5F-5E3E-06CB51C02C63}"/>
              </a:ext>
            </a:extLst>
          </p:cNvPr>
          <p:cNvSpPr txBox="1"/>
          <p:nvPr/>
        </p:nvSpPr>
        <p:spPr>
          <a:xfrm>
            <a:off x="5766344" y="2440835"/>
            <a:ext cx="60301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1</a:t>
            </a:r>
            <a:r>
              <a:rPr lang="en-US" sz="1000" b="1">
                <a:solidFill>
                  <a:schemeClr val="bg1"/>
                </a:solidFill>
                <a:latin typeface="+mj-lt"/>
              </a:rPr>
              <a:t>998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DD8B174-AAD6-E2EA-3262-B32416076C5E}"/>
              </a:ext>
            </a:extLst>
          </p:cNvPr>
          <p:cNvSpPr txBox="1"/>
          <p:nvPr/>
        </p:nvSpPr>
        <p:spPr>
          <a:xfrm>
            <a:off x="7327307" y="2437861"/>
            <a:ext cx="67784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000" b="1">
                <a:solidFill>
                  <a:schemeClr val="bg1"/>
                </a:solidFill>
                <a:latin typeface="+mj-lt"/>
              </a:rPr>
              <a:t>2004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13" name="TextBox 15">
            <a:extLst>
              <a:ext uri="{FF2B5EF4-FFF2-40B4-BE49-F238E27FC236}">
                <a16:creationId xmlns:a16="http://schemas.microsoft.com/office/drawing/2014/main" id="{E0361EE8-50FB-2420-DAA9-F1ACB3204C7C}"/>
              </a:ext>
            </a:extLst>
          </p:cNvPr>
          <p:cNvSpPr txBox="1"/>
          <p:nvPr/>
        </p:nvSpPr>
        <p:spPr>
          <a:xfrm>
            <a:off x="6077199" y="3117933"/>
            <a:ext cx="2761478" cy="1396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buClr>
                <a:schemeClr val="accent1"/>
              </a:buClr>
              <a:defRPr sz="900"/>
            </a:lvl1pPr>
          </a:lstStyle>
          <a:p>
            <a:r>
              <a:rPr lang="en-US" sz="900"/>
              <a:t>Ope</a:t>
            </a:r>
            <a:r>
              <a:rPr lang="en-US"/>
              <a:t>ning plants in Shenyang, Weihai, Shanghai, Suzhou, Jiangyin and </a:t>
            </a:r>
            <a:r>
              <a:rPr lang="en-US" err="1"/>
              <a:t>Qindao</a:t>
            </a:r>
            <a:r>
              <a:rPr lang="en-US"/>
              <a:t> since 1998, bringing the leading steel wire products and technology to China market.</a:t>
            </a:r>
          </a:p>
          <a:p>
            <a:endParaRPr lang="en-US" sz="600"/>
          </a:p>
          <a:p>
            <a:r>
              <a:rPr lang="zh-CN" altLang="en-US"/>
              <a:t>从</a:t>
            </a:r>
            <a:r>
              <a:rPr lang="en-US"/>
              <a:t>1998</a:t>
            </a:r>
            <a:r>
              <a:rPr lang="zh-CN" altLang="en-US"/>
              <a:t>年开始，陆续在沈阳、威海、上海、苏州、江阴、青岛等地建立工厂，将世界领先的钢丝产品和技术引入中国市场。</a:t>
            </a:r>
            <a:endParaRPr lang="en-US"/>
          </a:p>
          <a:p>
            <a:r>
              <a:rPr lang="en-US"/>
              <a:t>  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FBBADD-09AB-F680-03A6-10FEAB60420F}"/>
              </a:ext>
            </a:extLst>
          </p:cNvPr>
          <p:cNvSpPr txBox="1"/>
          <p:nvPr/>
        </p:nvSpPr>
        <p:spPr>
          <a:xfrm>
            <a:off x="1248524" y="1099621"/>
            <a:ext cx="2272545" cy="94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en-US" altLang="zh-CN" sz="900"/>
              <a:t>Bekaert invests</a:t>
            </a:r>
            <a:r>
              <a:rPr lang="zh-CN" altLang="en-US" sz="900"/>
              <a:t> </a:t>
            </a:r>
            <a:r>
              <a:rPr lang="en-US" altLang="zh-CN" sz="900"/>
              <a:t>the</a:t>
            </a:r>
            <a:r>
              <a:rPr lang="zh-CN" altLang="en-US" sz="900"/>
              <a:t> </a:t>
            </a:r>
            <a:r>
              <a:rPr lang="en-US" altLang="zh-CN" sz="900"/>
              <a:t>first stee cord plant in Jiangyin and opens the representative office in Shanghai.</a:t>
            </a:r>
            <a:endParaRPr lang="en-US" sz="900"/>
          </a:p>
          <a:p>
            <a:pPr algn="l">
              <a:lnSpc>
                <a:spcPct val="110000"/>
              </a:lnSpc>
              <a:buClr>
                <a:schemeClr val="accent1"/>
              </a:buClr>
            </a:pPr>
            <a:endParaRPr lang="en-US" sz="6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900">
                <a:solidFill>
                  <a:srgbClr val="404040"/>
                </a:solidFill>
                <a:latin typeface="Inter"/>
              </a:rPr>
              <a:t>贝卡尔特在中国江阴投资第一家钢帘线工厂，并在上海设立了代表处</a:t>
            </a:r>
            <a:r>
              <a:rPr lang="zh-CN" altLang="en-US" sz="900" b="0" i="0">
                <a:solidFill>
                  <a:srgbClr val="404040"/>
                </a:solidFill>
                <a:effectLst/>
                <a:latin typeface="Inter"/>
              </a:rPr>
              <a:t>。</a:t>
            </a:r>
            <a:endParaRPr lang="en-BE" sz="9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4A4F06-896E-9571-43EE-D0927D0752A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8398" r="22708"/>
          <a:stretch/>
        </p:blipFill>
        <p:spPr>
          <a:xfrm>
            <a:off x="284499" y="1151452"/>
            <a:ext cx="888998" cy="89604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0BAA2A4-8072-1139-B1ED-63EAFF3981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0246" y="3151052"/>
            <a:ext cx="1521464" cy="911955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F031427-0744-4FF1-2EBB-647330EAC772}"/>
              </a:ext>
            </a:extLst>
          </p:cNvPr>
          <p:cNvCxnSpPr>
            <a:cxnSpLocks/>
          </p:cNvCxnSpPr>
          <p:nvPr/>
        </p:nvCxnSpPr>
        <p:spPr>
          <a:xfrm>
            <a:off x="7550602" y="1099621"/>
            <a:ext cx="0" cy="1152000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A red and black machine in a factory&#10;&#10;AI-generated content may be incorrect.">
            <a:extLst>
              <a:ext uri="{FF2B5EF4-FFF2-40B4-BE49-F238E27FC236}">
                <a16:creationId xmlns:a16="http://schemas.microsoft.com/office/drawing/2014/main" id="{2FDF34A3-0E6D-614B-FB37-765DDB46176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3" b="60365"/>
          <a:stretch/>
        </p:blipFill>
        <p:spPr>
          <a:xfrm>
            <a:off x="4619025" y="3168812"/>
            <a:ext cx="1399512" cy="876437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9586DA4F-33EE-E71C-15B7-8DFCA5550329}"/>
              </a:ext>
            </a:extLst>
          </p:cNvPr>
          <p:cNvSpPr txBox="1"/>
          <p:nvPr/>
        </p:nvSpPr>
        <p:spPr>
          <a:xfrm>
            <a:off x="7603414" y="1099621"/>
            <a:ext cx="1491491" cy="1248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buClr>
                <a:schemeClr val="accent1"/>
              </a:buClr>
              <a:defRPr sz="900"/>
            </a:lvl1pPr>
          </a:lstStyle>
          <a:p>
            <a:r>
              <a:rPr lang="en-US" altLang="zh-CN"/>
              <a:t>Produce</a:t>
            </a:r>
            <a:r>
              <a:rPr lang="en-US"/>
              <a:t> and develop </a:t>
            </a:r>
            <a:r>
              <a:rPr lang="en-US" altLang="zh-CN"/>
              <a:t>steel</a:t>
            </a:r>
            <a:r>
              <a:rPr lang="en-US"/>
              <a:t> f</a:t>
            </a:r>
            <a:r>
              <a:rPr lang="en-US" altLang="zh-CN"/>
              <a:t>ibers  for</a:t>
            </a:r>
            <a:r>
              <a:rPr lang="en-US"/>
              <a:t> automotive, filtration, hydrogen, and </a:t>
            </a:r>
            <a:r>
              <a:rPr lang="en-US" altLang="zh-CN"/>
              <a:t>more</a:t>
            </a:r>
            <a:r>
              <a:rPr lang="en-US"/>
              <a:t>.</a:t>
            </a:r>
          </a:p>
          <a:p>
            <a:endParaRPr lang="en-US" sz="600"/>
          </a:p>
          <a:p>
            <a:r>
              <a:rPr lang="zh-CN" altLang="en-US"/>
              <a:t>生产和开发金属纤维制品，广泛应用于汽车、过滤、制氢等行业。</a:t>
            </a: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7F43B9-F5F3-A9BE-37CF-B9E29CAF219A}"/>
              </a:ext>
            </a:extLst>
          </p:cNvPr>
          <p:cNvCxnSpPr>
            <a:cxnSpLocks/>
          </p:cNvCxnSpPr>
          <p:nvPr/>
        </p:nvCxnSpPr>
        <p:spPr>
          <a:xfrm>
            <a:off x="6078807" y="2893252"/>
            <a:ext cx="0" cy="1152000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Placeholder 17" descr="Close-up of a grey fabric&#10;&#10;Description automatically generated">
            <a:extLst>
              <a:ext uri="{FF2B5EF4-FFF2-40B4-BE49-F238E27FC236}">
                <a16:creationId xmlns:a16="http://schemas.microsoft.com/office/drawing/2014/main" id="{ED5BDE07-92B8-C93A-D5FF-AC02330AD92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7" t="4373" r="42111" b="25522"/>
          <a:stretch/>
        </p:blipFill>
        <p:spPr>
          <a:xfrm>
            <a:off x="6546213" y="1160743"/>
            <a:ext cx="944118" cy="92614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EC914E8-935A-9A81-CD2C-05D12C98C67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0707"/>
          <a:stretch/>
        </p:blipFill>
        <p:spPr>
          <a:xfrm>
            <a:off x="3555817" y="1157792"/>
            <a:ext cx="949398" cy="929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155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E9E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C607F12-4648-0B44-E863-B13132D360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A258657A-F7CE-248E-BB7E-597AE5592090}"/>
              </a:ext>
            </a:extLst>
          </p:cNvPr>
          <p:cNvSpPr txBox="1"/>
          <p:nvPr/>
        </p:nvSpPr>
        <p:spPr>
          <a:xfrm>
            <a:off x="2286209" y="939819"/>
            <a:ext cx="1589362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900"/>
              <a:t>Bridon and Bekaert merged the rope and </a:t>
            </a:r>
            <a:r>
              <a:rPr lang="en-US" altLang="zh-CN" sz="900"/>
              <a:t>advanced </a:t>
            </a:r>
            <a:r>
              <a:rPr lang="en-US" sz="900"/>
              <a:t>cord businesses.</a:t>
            </a:r>
          </a:p>
          <a:p>
            <a:pPr>
              <a:buClr>
                <a:schemeClr val="accent1"/>
              </a:buClr>
            </a:pPr>
            <a:endParaRPr lang="en-US" sz="600"/>
          </a:p>
          <a:p>
            <a:pPr>
              <a:buClr>
                <a:schemeClr val="accent1"/>
              </a:buClr>
            </a:pPr>
            <a:r>
              <a:rPr lang="zh-CN" altLang="en-US" sz="900"/>
              <a:t>布顿和贝卡尔特合并钢丝绳和先进帘线业务，增强起重和系泊领域的竞争实力。</a:t>
            </a:r>
            <a:endParaRPr lang="en-BE" sz="90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263263-981C-1505-91C1-2F8F5403BE36}"/>
              </a:ext>
            </a:extLst>
          </p:cNvPr>
          <p:cNvCxnSpPr>
            <a:cxnSpLocks/>
          </p:cNvCxnSpPr>
          <p:nvPr/>
        </p:nvCxnSpPr>
        <p:spPr>
          <a:xfrm>
            <a:off x="811638" y="2895636"/>
            <a:ext cx="0" cy="1008000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val 1">
            <a:extLst>
              <a:ext uri="{FF2B5EF4-FFF2-40B4-BE49-F238E27FC236}">
                <a16:creationId xmlns:a16="http://schemas.microsoft.com/office/drawing/2014/main" id="{24798C47-6208-B3A6-2168-D405F8AE0F9D}"/>
              </a:ext>
            </a:extLst>
          </p:cNvPr>
          <p:cNvSpPr/>
          <p:nvPr/>
        </p:nvSpPr>
        <p:spPr>
          <a:xfrm>
            <a:off x="502418" y="2269192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FAE8B804-24D8-25BE-421C-713F34132D81}"/>
              </a:ext>
            </a:extLst>
          </p:cNvPr>
          <p:cNvSpPr/>
          <p:nvPr/>
        </p:nvSpPr>
        <p:spPr>
          <a:xfrm>
            <a:off x="1988854" y="2269192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EE4E46A-2714-946F-466B-36C2C3CA3E02}"/>
              </a:ext>
            </a:extLst>
          </p:cNvPr>
          <p:cNvSpPr/>
          <p:nvPr/>
        </p:nvSpPr>
        <p:spPr>
          <a:xfrm>
            <a:off x="3605920" y="2269192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ED3B31-BAAA-9B7F-8327-7AB785A87608}"/>
              </a:ext>
            </a:extLst>
          </p:cNvPr>
          <p:cNvSpPr/>
          <p:nvPr/>
        </p:nvSpPr>
        <p:spPr>
          <a:xfrm>
            <a:off x="5270482" y="2275130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638D40E-1EA7-5C49-5D07-CF3FE3EBFBAA}"/>
              </a:ext>
            </a:extLst>
          </p:cNvPr>
          <p:cNvSpPr/>
          <p:nvPr/>
        </p:nvSpPr>
        <p:spPr>
          <a:xfrm>
            <a:off x="6822232" y="2276161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EAFC78A-C1B0-8B90-8B5E-07C04E64E454}"/>
              </a:ext>
            </a:extLst>
          </p:cNvPr>
          <p:cNvCxnSpPr>
            <a:cxnSpLocks/>
          </p:cNvCxnSpPr>
          <p:nvPr/>
        </p:nvCxnSpPr>
        <p:spPr>
          <a:xfrm>
            <a:off x="-67235" y="2571750"/>
            <a:ext cx="8927217" cy="0"/>
          </a:xfrm>
          <a:prstGeom prst="line">
            <a:avLst/>
          </a:prstGeom>
          <a:ln w="28575">
            <a:solidFill>
              <a:schemeClr val="accent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A1C4143-296F-1F38-0429-15EA4C398923}"/>
              </a:ext>
            </a:extLst>
          </p:cNvPr>
          <p:cNvCxnSpPr>
            <a:cxnSpLocks/>
          </p:cNvCxnSpPr>
          <p:nvPr/>
        </p:nvCxnSpPr>
        <p:spPr>
          <a:xfrm>
            <a:off x="7152784" y="2895636"/>
            <a:ext cx="8411" cy="114418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E309442-9F44-54CE-9D38-CD3B467CA912}"/>
              </a:ext>
            </a:extLst>
          </p:cNvPr>
          <p:cNvSpPr txBox="1"/>
          <p:nvPr/>
        </p:nvSpPr>
        <p:spPr>
          <a:xfrm>
            <a:off x="5596243" y="966933"/>
            <a:ext cx="1663521" cy="94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en-US" altLang="zh-CN" sz="900"/>
              <a:t>Bekaert Jiangyin plant awarded National Green Factory .</a:t>
            </a:r>
            <a:endParaRPr lang="en-US" sz="900"/>
          </a:p>
          <a:p>
            <a:pPr algn="l">
              <a:lnSpc>
                <a:spcPct val="110000"/>
              </a:lnSpc>
              <a:buClr>
                <a:schemeClr val="accent1"/>
              </a:buClr>
            </a:pPr>
            <a:endParaRPr lang="en-US" sz="6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900"/>
              <a:t>贝卡尔特江阴工厂荣获国家级绿色工厂称号。</a:t>
            </a:r>
            <a:endParaRPr lang="en-BE" sz="9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EEAA550-097A-D01B-69B7-F6B80735A470}"/>
              </a:ext>
            </a:extLst>
          </p:cNvPr>
          <p:cNvSpPr txBox="1"/>
          <p:nvPr/>
        </p:nvSpPr>
        <p:spPr>
          <a:xfrm>
            <a:off x="509081" y="2440835"/>
            <a:ext cx="6051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>
                <a:solidFill>
                  <a:schemeClr val="bg1"/>
                </a:solidFill>
                <a:latin typeface="+mj-lt"/>
              </a:rPr>
              <a:t>2010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39A19D7-1075-91F1-17B7-06D80D055E98}"/>
              </a:ext>
            </a:extLst>
          </p:cNvPr>
          <p:cNvSpPr txBox="1"/>
          <p:nvPr/>
        </p:nvSpPr>
        <p:spPr>
          <a:xfrm>
            <a:off x="2005664" y="2440835"/>
            <a:ext cx="59881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>
                <a:solidFill>
                  <a:schemeClr val="bg1"/>
                </a:solidFill>
                <a:latin typeface="+mj-lt"/>
              </a:rPr>
              <a:t>2016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321932B-A8AE-D69D-F2C8-73AF6482B480}"/>
              </a:ext>
            </a:extLst>
          </p:cNvPr>
          <p:cNvSpPr txBox="1"/>
          <p:nvPr/>
        </p:nvSpPr>
        <p:spPr>
          <a:xfrm>
            <a:off x="3621075" y="2440835"/>
            <a:ext cx="60091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2</a:t>
            </a:r>
            <a:r>
              <a:rPr lang="en-US" sz="1000" b="1">
                <a:solidFill>
                  <a:schemeClr val="bg1"/>
                </a:solidFill>
                <a:latin typeface="+mj-lt"/>
              </a:rPr>
              <a:t>018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C774FD-173E-EB68-1A35-FD4E5D2FB3BE}"/>
              </a:ext>
            </a:extLst>
          </p:cNvPr>
          <p:cNvSpPr txBox="1"/>
          <p:nvPr/>
        </p:nvSpPr>
        <p:spPr>
          <a:xfrm>
            <a:off x="5287487" y="2443701"/>
            <a:ext cx="6820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20</a:t>
            </a:r>
            <a:r>
              <a:rPr lang="en-US" sz="1000" b="1">
                <a:solidFill>
                  <a:schemeClr val="bg1"/>
                </a:solidFill>
                <a:latin typeface="+mj-lt"/>
              </a:rPr>
              <a:t>22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43B95EF-82DD-44F2-E800-701C7782861F}"/>
              </a:ext>
            </a:extLst>
          </p:cNvPr>
          <p:cNvSpPr txBox="1"/>
          <p:nvPr/>
        </p:nvSpPr>
        <p:spPr>
          <a:xfrm>
            <a:off x="6816300" y="2440835"/>
            <a:ext cx="65386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202</a:t>
            </a:r>
            <a:r>
              <a:rPr lang="en-US" sz="1000" b="1">
                <a:solidFill>
                  <a:schemeClr val="bg1"/>
                </a:solidFill>
                <a:latin typeface="+mj-lt"/>
              </a:rPr>
              <a:t>3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F0CA6DE-B890-E9FF-B0F6-B8B731F5F26C}"/>
              </a:ext>
            </a:extLst>
          </p:cNvPr>
          <p:cNvSpPr/>
          <p:nvPr/>
        </p:nvSpPr>
        <p:spPr>
          <a:xfrm>
            <a:off x="8350225" y="2261386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365962-969B-35F1-0C38-F5006E71AF4E}"/>
              </a:ext>
            </a:extLst>
          </p:cNvPr>
          <p:cNvSpPr txBox="1"/>
          <p:nvPr/>
        </p:nvSpPr>
        <p:spPr>
          <a:xfrm>
            <a:off x="8297395" y="2420317"/>
            <a:ext cx="68837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r>
              <a:rPr lang="en-US"/>
              <a:t>Today</a:t>
            </a:r>
            <a:endParaRPr lang="en-BE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ED44E95-EA7D-3E33-0E13-992840018DAC}"/>
              </a:ext>
            </a:extLst>
          </p:cNvPr>
          <p:cNvCxnSpPr>
            <a:cxnSpLocks/>
          </p:cNvCxnSpPr>
          <p:nvPr/>
        </p:nvCxnSpPr>
        <p:spPr>
          <a:xfrm flipH="1">
            <a:off x="2286209" y="963631"/>
            <a:ext cx="10405" cy="130075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A1E8951-9999-0210-75C0-316A75EB6EE8}"/>
              </a:ext>
            </a:extLst>
          </p:cNvPr>
          <p:cNvCxnSpPr>
            <a:cxnSpLocks/>
          </p:cNvCxnSpPr>
          <p:nvPr/>
        </p:nvCxnSpPr>
        <p:spPr>
          <a:xfrm>
            <a:off x="5573040" y="955590"/>
            <a:ext cx="0" cy="130075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5795443-796B-A067-5A01-E79646533D59}"/>
              </a:ext>
            </a:extLst>
          </p:cNvPr>
          <p:cNvCxnSpPr>
            <a:cxnSpLocks/>
          </p:cNvCxnSpPr>
          <p:nvPr/>
        </p:nvCxnSpPr>
        <p:spPr>
          <a:xfrm>
            <a:off x="3929757" y="2881278"/>
            <a:ext cx="8411" cy="114418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图片占位符 32" descr="街道边的建筑&#10;&#10;描述已自动生成">
            <a:extLst>
              <a:ext uri="{FF2B5EF4-FFF2-40B4-BE49-F238E27FC236}">
                <a16:creationId xmlns:a16="http://schemas.microsoft.com/office/drawing/2014/main" id="{8A067CA5-094C-8FF8-BCE9-5600DC0E235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9088" y="942201"/>
            <a:ext cx="1239757" cy="97656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417E5BBD-7734-3CA6-F032-C3651068F3E6}"/>
              </a:ext>
            </a:extLst>
          </p:cNvPr>
          <p:cNvSpPr txBox="1"/>
          <p:nvPr/>
        </p:nvSpPr>
        <p:spPr>
          <a:xfrm>
            <a:off x="3932293" y="3128119"/>
            <a:ext cx="1509835" cy="8914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buClr>
                <a:schemeClr val="accent1"/>
              </a:buClr>
              <a:defRPr sz="900"/>
            </a:lvl1pPr>
          </a:lstStyle>
          <a:p>
            <a:r>
              <a:rPr lang="en-US" dirty="0"/>
              <a:t>Bekaert w</a:t>
            </a:r>
            <a:r>
              <a:rPr lang="en-US" altLang="zh-CN" dirty="0"/>
              <a:t>i</a:t>
            </a:r>
            <a:r>
              <a:rPr lang="en-US" dirty="0"/>
              <a:t>ns the Michelin Supplier Award 2018.</a:t>
            </a:r>
          </a:p>
          <a:p>
            <a:endParaRPr lang="en-US" sz="600" dirty="0"/>
          </a:p>
          <a:p>
            <a:r>
              <a:rPr lang="zh-CN" altLang="en-US" dirty="0"/>
              <a:t>贝卡尔特荣获米其林</a:t>
            </a:r>
            <a:r>
              <a:rPr lang="en-US" dirty="0"/>
              <a:t>2018</a:t>
            </a:r>
            <a:r>
              <a:rPr lang="zh-CN" altLang="en-US" dirty="0"/>
              <a:t>年度最佳供应商奖。</a:t>
            </a:r>
            <a:endParaRPr lang="en-US" dirty="0"/>
          </a:p>
        </p:txBody>
      </p:sp>
      <p:pic>
        <p:nvPicPr>
          <p:cNvPr id="36" name="Picture 35" descr="A group of people standing together&#10;&#10;AI-generated content may be incorrect.">
            <a:extLst>
              <a:ext uri="{FF2B5EF4-FFF2-40B4-BE49-F238E27FC236}">
                <a16:creationId xmlns:a16="http://schemas.microsoft.com/office/drawing/2014/main" id="{C667E13A-FC26-F907-A882-E20A6708A89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5" r="5493" b="60463"/>
          <a:stretch/>
        </p:blipFill>
        <p:spPr>
          <a:xfrm>
            <a:off x="2562896" y="3154029"/>
            <a:ext cx="1334708" cy="885796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0025EA0D-ACAA-16C0-06F1-6000CAA76092}"/>
              </a:ext>
            </a:extLst>
          </p:cNvPr>
          <p:cNvSpPr txBox="1"/>
          <p:nvPr/>
        </p:nvSpPr>
        <p:spPr>
          <a:xfrm>
            <a:off x="188499" y="4058655"/>
            <a:ext cx="2210317" cy="94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buClr>
                <a:schemeClr val="accent1"/>
              </a:buClr>
              <a:defRPr sz="900"/>
            </a:lvl1pPr>
          </a:lstStyle>
          <a:p>
            <a:r>
              <a:rPr lang="en-US"/>
              <a:t>Opening of Asia R&amp;D Center, with focus on Asian customers to meet their innovation needs. </a:t>
            </a:r>
          </a:p>
          <a:p>
            <a:endParaRPr lang="en-US" altLang="zh-CN" sz="600"/>
          </a:p>
          <a:p>
            <a:r>
              <a:rPr lang="zh-CN" altLang="en-US"/>
              <a:t>成立亚洲研发中心，更注重对亚洲客户的承诺，以满足其创新需求。</a:t>
            </a:r>
            <a:endParaRPr lang="en-US"/>
          </a:p>
        </p:txBody>
      </p:sp>
      <p:pic>
        <p:nvPicPr>
          <p:cNvPr id="49" name="Picture 48" descr="A person in a lab coat using a microscope&#10;&#10;AI-generated content may be incorrect.">
            <a:extLst>
              <a:ext uri="{FF2B5EF4-FFF2-40B4-BE49-F238E27FC236}">
                <a16:creationId xmlns:a16="http://schemas.microsoft.com/office/drawing/2014/main" id="{0965B1A9-DE4E-B82F-8EE8-DEFB9D41E7F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796" y="3154029"/>
            <a:ext cx="1359145" cy="90462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4316527-AD5F-52F8-D020-BEB58467153E}"/>
              </a:ext>
            </a:extLst>
          </p:cNvPr>
          <p:cNvSpPr txBox="1"/>
          <p:nvPr/>
        </p:nvSpPr>
        <p:spPr>
          <a:xfrm>
            <a:off x="7131511" y="3125607"/>
            <a:ext cx="1799722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buClr>
                <a:schemeClr val="accent1"/>
              </a:buClr>
              <a:defRPr sz="900"/>
            </a:lvl1pPr>
          </a:lstStyle>
          <a:p>
            <a:r>
              <a:rPr lang="en-US" altLang="zh-CN"/>
              <a:t>B</a:t>
            </a:r>
            <a:r>
              <a:rPr lang="en-US"/>
              <a:t>ekaert launches a new strategy and brand to lead future solutions.</a:t>
            </a:r>
          </a:p>
          <a:p>
            <a:endParaRPr lang="en-US" sz="600"/>
          </a:p>
          <a:p>
            <a:r>
              <a:rPr lang="zh-CN" altLang="en-US" b="0" i="0">
                <a:solidFill>
                  <a:srgbClr val="404040"/>
                </a:solidFill>
                <a:effectLst/>
                <a:latin typeface="DeepSeek-CJK-patch"/>
              </a:rPr>
              <a:t>贝卡尔特启动全新</a:t>
            </a:r>
            <a:r>
              <a:rPr lang="zh-CN" altLang="en-US">
                <a:solidFill>
                  <a:srgbClr val="404040"/>
                </a:solidFill>
                <a:latin typeface="DeepSeek-CJK-patch"/>
              </a:rPr>
              <a:t>发展</a:t>
            </a:r>
            <a:r>
              <a:rPr lang="zh-CN" altLang="en-US" b="0" i="0">
                <a:solidFill>
                  <a:srgbClr val="404040"/>
                </a:solidFill>
                <a:effectLst/>
                <a:latin typeface="DeepSeek-CJK-patch"/>
              </a:rPr>
              <a:t>战略与品牌，引领未来解决方案。</a:t>
            </a:r>
            <a:endParaRPr lang="en-US"/>
          </a:p>
        </p:txBody>
      </p:sp>
      <p:pic>
        <p:nvPicPr>
          <p:cNvPr id="23" name="Picture 22" descr="A parking garage with solar panels&#10;&#10;AI-generated content may be incorrect.">
            <a:extLst>
              <a:ext uri="{FF2B5EF4-FFF2-40B4-BE49-F238E27FC236}">
                <a16:creationId xmlns:a16="http://schemas.microsoft.com/office/drawing/2014/main" id="{EBAE3AFE-B7FE-0BC1-773B-144A1091295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6" r="6111"/>
          <a:stretch/>
        </p:blipFill>
        <p:spPr>
          <a:xfrm>
            <a:off x="3994083" y="963631"/>
            <a:ext cx="1524000" cy="1008136"/>
          </a:xfrm>
          <a:prstGeom prst="rect">
            <a:avLst/>
          </a:prstGeom>
        </p:spPr>
      </p:pic>
      <p:pic>
        <p:nvPicPr>
          <p:cNvPr id="32" name="Picture 31" descr="A bridge over water with trees and grass&#10;&#10;AI-generated content may be incorrect.">
            <a:extLst>
              <a:ext uri="{FF2B5EF4-FFF2-40B4-BE49-F238E27FC236}">
                <a16:creationId xmlns:a16="http://schemas.microsoft.com/office/drawing/2014/main" id="{0A348C89-AD81-FBF0-9F1A-670BD6A5414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08" b="3198"/>
          <a:stretch/>
        </p:blipFill>
        <p:spPr>
          <a:xfrm>
            <a:off x="5561881" y="3135262"/>
            <a:ext cx="1520179" cy="911377"/>
          </a:xfrm>
          <a:prstGeom prst="rect">
            <a:avLst/>
          </a:prstGeom>
        </p:spPr>
      </p:pic>
      <p:pic>
        <p:nvPicPr>
          <p:cNvPr id="43" name="Picture 42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7335D324-F92E-630C-87DC-44A6BFD83DB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7798" y="3428392"/>
            <a:ext cx="1022913" cy="239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7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:push/>
      </p:transition>
    </mc:Choice>
    <mc:Fallback xmlns="">
      <p:transition spd="slow">
        <p:push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2EB4BA-E770-2B09-72EC-3583A9712A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796E1EE-0873-68EA-AC1F-DC57D0624169}"/>
              </a:ext>
            </a:extLst>
          </p:cNvPr>
          <p:cNvCxnSpPr>
            <a:cxnSpLocks/>
          </p:cNvCxnSpPr>
          <p:nvPr/>
        </p:nvCxnSpPr>
        <p:spPr>
          <a:xfrm flipH="1">
            <a:off x="519612" y="2600494"/>
            <a:ext cx="8136000" cy="3871"/>
          </a:xfrm>
          <a:prstGeom prst="line">
            <a:avLst/>
          </a:prstGeom>
          <a:ln w="9525">
            <a:solidFill>
              <a:schemeClr val="bg1">
                <a:lumMod val="9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A028FCB-465A-443E-3B69-60BE1D6BDA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028FCB-465A-443E-3B69-60BE1D6BD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36F2847-FB62-1A49-3365-A438D8D368BA}"/>
              </a:ext>
            </a:extLst>
          </p:cNvPr>
          <p:cNvSpPr txBox="1"/>
          <p:nvPr/>
        </p:nvSpPr>
        <p:spPr>
          <a:xfrm>
            <a:off x="145446" y="2786188"/>
            <a:ext cx="156823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zh-CN" sz="800" b="1">
                <a:latin typeface="Bekaert Text"/>
              </a:rPr>
              <a:t>Energy efficiency</a:t>
            </a:r>
            <a:endParaRPr kumimoji="0" lang="en-US" altLang="zh-CN" sz="8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Bekaert Text"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zh-CN" altLang="en-US" sz="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Bekaert Text"/>
                <a:ea typeface="+mn-ea"/>
                <a:cs typeface="+mn-cs"/>
              </a:rPr>
              <a:t>能效管理</a:t>
            </a:r>
            <a:endParaRPr kumimoji="0" lang="en-US" altLang="zh-CN" sz="8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Bekaert Text"/>
              <a:ea typeface="+mn-ea"/>
              <a:cs typeface="+mn-cs"/>
            </a:endParaRPr>
          </a:p>
          <a:p>
            <a:pPr lvl="0" algn="ctr">
              <a:defRPr/>
            </a:pPr>
            <a:endParaRPr lang="en-US" sz="400" b="1">
              <a:latin typeface="Bekaert Text"/>
            </a:endParaRPr>
          </a:p>
          <a:p>
            <a:pPr algn="ctr">
              <a:defRPr/>
            </a:pPr>
            <a:r>
              <a:rPr lang="en-US" altLang="zh-CN" sz="800" b="1" i="1">
                <a:solidFill>
                  <a:srgbClr val="5E7D53"/>
                </a:solidFill>
              </a:rPr>
              <a:t>“You Know Watt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499882-E4BC-69AB-3BAA-7B44015BA198}"/>
              </a:ext>
            </a:extLst>
          </p:cNvPr>
          <p:cNvSpPr txBox="1"/>
          <p:nvPr/>
        </p:nvSpPr>
        <p:spPr>
          <a:xfrm>
            <a:off x="7228094" y="2786188"/>
            <a:ext cx="165098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lvl="0" algn="ctr">
              <a:defRPr sz="900" b="1">
                <a:solidFill>
                  <a:prstClr val="black"/>
                </a:solidFill>
                <a:latin typeface="Bekaert Text"/>
              </a:defRPr>
            </a:lvl1pPr>
          </a:lstStyle>
          <a:p>
            <a:r>
              <a:rPr lang="en-US" altLang="zh-CN" sz="800">
                <a:solidFill>
                  <a:schemeClr val="tx1"/>
                </a:solidFill>
              </a:rPr>
              <a:t>Collaboration &amp; synergy</a:t>
            </a:r>
          </a:p>
          <a:p>
            <a:r>
              <a:rPr lang="zh-CN" altLang="en-US" sz="800">
                <a:solidFill>
                  <a:schemeClr val="tx1"/>
                </a:solidFill>
              </a:rPr>
              <a:t>合作与影响力  </a:t>
            </a: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2D720E-C854-5391-2334-BBEE5C71B2E6}"/>
              </a:ext>
            </a:extLst>
          </p:cNvPr>
          <p:cNvSpPr txBox="1"/>
          <p:nvPr/>
        </p:nvSpPr>
        <p:spPr>
          <a:xfrm>
            <a:off x="5521461" y="2786188"/>
            <a:ext cx="18082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lvl="0" algn="ctr">
              <a:defRPr sz="900" b="1">
                <a:solidFill>
                  <a:prstClr val="black"/>
                </a:solidFill>
                <a:latin typeface="Bekaert Text"/>
              </a:defRPr>
            </a:lvl1pPr>
          </a:lstStyle>
          <a:p>
            <a:r>
              <a:rPr lang="en-US" altLang="zh-CN" sz="800">
                <a:solidFill>
                  <a:schemeClr val="tx1"/>
                </a:solidFill>
              </a:rPr>
              <a:t>Sustainable solutions</a:t>
            </a:r>
          </a:p>
          <a:p>
            <a:r>
              <a:rPr lang="zh-CN" altLang="en-US" sz="800">
                <a:solidFill>
                  <a:schemeClr val="tx1"/>
                </a:solidFill>
              </a:rPr>
              <a:t>可持续解决方案</a:t>
            </a: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6D5C37-6D4A-CA6C-D4AB-BBDCE51774C6}"/>
              </a:ext>
            </a:extLst>
          </p:cNvPr>
          <p:cNvSpPr txBox="1"/>
          <p:nvPr/>
        </p:nvSpPr>
        <p:spPr>
          <a:xfrm>
            <a:off x="1742519" y="2786188"/>
            <a:ext cx="18718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lvl="0" algn="ctr">
              <a:defRPr sz="900" b="1">
                <a:solidFill>
                  <a:prstClr val="black"/>
                </a:solidFill>
                <a:latin typeface="Bekaert Text"/>
              </a:defRPr>
            </a:lvl1pPr>
          </a:lstStyle>
          <a:p>
            <a:r>
              <a:rPr lang="en-US" altLang="zh-CN" sz="800">
                <a:solidFill>
                  <a:schemeClr val="tx1"/>
                </a:solidFill>
              </a:rPr>
              <a:t>Renewable energy</a:t>
            </a:r>
          </a:p>
          <a:p>
            <a:r>
              <a:rPr lang="zh-CN" altLang="en-US" sz="800">
                <a:solidFill>
                  <a:schemeClr val="tx1"/>
                </a:solidFill>
              </a:rPr>
              <a:t>可再生能源使用</a:t>
            </a: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7B7400-B796-8121-AF28-878C4406032D}"/>
              </a:ext>
            </a:extLst>
          </p:cNvPr>
          <p:cNvSpPr txBox="1"/>
          <p:nvPr/>
        </p:nvSpPr>
        <p:spPr>
          <a:xfrm>
            <a:off x="3668327" y="2786188"/>
            <a:ext cx="17190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lvl="0" algn="ctr">
              <a:defRPr sz="900" b="1">
                <a:solidFill>
                  <a:prstClr val="black"/>
                </a:solidFill>
                <a:latin typeface="Bekaert Text"/>
              </a:defRPr>
            </a:lvl1pPr>
          </a:lstStyle>
          <a:p>
            <a:r>
              <a:rPr lang="en-US" sz="800">
                <a:solidFill>
                  <a:schemeClr val="tx1"/>
                </a:solidFill>
              </a:rPr>
              <a:t>Circular </a:t>
            </a:r>
            <a:r>
              <a:rPr lang="en-US" altLang="zh-CN" sz="800">
                <a:solidFill>
                  <a:schemeClr val="tx1"/>
                </a:solidFill>
              </a:rPr>
              <a:t>e</a:t>
            </a:r>
            <a:r>
              <a:rPr lang="en-US" sz="800">
                <a:solidFill>
                  <a:schemeClr val="tx1"/>
                </a:solidFill>
              </a:rPr>
              <a:t>conomy &amp; </a:t>
            </a:r>
            <a:r>
              <a:rPr lang="en-US" altLang="zh-CN" sz="800">
                <a:solidFill>
                  <a:schemeClr val="tx1"/>
                </a:solidFill>
              </a:rPr>
              <a:t>r</a:t>
            </a:r>
            <a:r>
              <a:rPr lang="en-US" sz="800">
                <a:solidFill>
                  <a:schemeClr val="tx1"/>
                </a:solidFill>
              </a:rPr>
              <a:t>esource </a:t>
            </a:r>
            <a:r>
              <a:rPr lang="en-US" altLang="zh-CN" sz="800">
                <a:solidFill>
                  <a:schemeClr val="tx1"/>
                </a:solidFill>
              </a:rPr>
              <a:t>m</a:t>
            </a:r>
            <a:r>
              <a:rPr lang="en-US" sz="800">
                <a:solidFill>
                  <a:schemeClr val="tx1"/>
                </a:solidFill>
              </a:rPr>
              <a:t>anagement</a:t>
            </a:r>
          </a:p>
          <a:p>
            <a:r>
              <a:rPr lang="zh-CN" altLang="en-US" sz="800">
                <a:solidFill>
                  <a:schemeClr val="tx1"/>
                </a:solidFill>
              </a:rPr>
              <a:t>循环经济与资源管理 </a:t>
            </a: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A76B75-E008-960F-5498-0CBD4EDF90F6}"/>
              </a:ext>
            </a:extLst>
          </p:cNvPr>
          <p:cNvSpPr txBox="1"/>
          <p:nvPr/>
        </p:nvSpPr>
        <p:spPr>
          <a:xfrm>
            <a:off x="98856" y="3312545"/>
            <a:ext cx="17204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altLang="zh-CN" sz="800"/>
              <a:t>80% factory coverage/</a:t>
            </a:r>
          </a:p>
          <a:p>
            <a:pPr>
              <a:buClr>
                <a:srgbClr val="5E7D53"/>
              </a:buClr>
            </a:pPr>
            <a:r>
              <a:rPr lang="en-US" altLang="zh-CN" sz="800"/>
              <a:t>      100% employee training</a:t>
            </a:r>
          </a:p>
          <a:p>
            <a:pPr>
              <a:buClr>
                <a:schemeClr val="accent1"/>
              </a:buClr>
            </a:pPr>
            <a:r>
              <a:rPr lang="en-US" altLang="zh-CN" sz="800"/>
              <a:t>      80%</a:t>
            </a:r>
            <a:r>
              <a:rPr lang="zh-CN" altLang="en-US" sz="800"/>
              <a:t>工厂覆盖</a:t>
            </a:r>
            <a:r>
              <a:rPr lang="en-US" altLang="zh-CN" sz="800"/>
              <a:t>/</a:t>
            </a:r>
            <a:r>
              <a:rPr lang="en-US" sz="800"/>
              <a:t>100%</a:t>
            </a:r>
            <a:r>
              <a:rPr lang="zh-CN" altLang="en-US" sz="800"/>
              <a:t>员工培训</a:t>
            </a:r>
            <a:endParaRPr lang="en-US" altLang="zh-CN" sz="800"/>
          </a:p>
          <a:p>
            <a:pPr>
              <a:buClr>
                <a:schemeClr val="accent1"/>
              </a:buClr>
            </a:pPr>
            <a:endParaRPr lang="en-US" altLang="zh-CN" sz="400"/>
          </a:p>
          <a:p>
            <a:pPr marL="171450" indent="-171450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sz="800"/>
              <a:t>600+ identified energy improvement projects</a:t>
            </a:r>
          </a:p>
          <a:p>
            <a:pPr>
              <a:buClr>
                <a:schemeClr val="accent1"/>
              </a:buClr>
            </a:pPr>
            <a:r>
              <a:rPr lang="en-US" sz="800"/>
              <a:t>      600+</a:t>
            </a:r>
            <a:r>
              <a:rPr lang="zh-CN" altLang="en-US" sz="800"/>
              <a:t>能源提升项目</a:t>
            </a:r>
            <a:endParaRPr lang="en-US" altLang="zh-CN" sz="800"/>
          </a:p>
          <a:p>
            <a:pPr>
              <a:buClr>
                <a:schemeClr val="accent1"/>
              </a:buClr>
            </a:pPr>
            <a:endParaRPr lang="en-US" altLang="zh-CN" sz="400"/>
          </a:p>
          <a:p>
            <a:pPr marL="171450" indent="-171450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sz="800"/>
              <a:t>-8% </a:t>
            </a:r>
            <a:r>
              <a:rPr lang="en-US" altLang="zh-CN" sz="800"/>
              <a:t>of</a:t>
            </a:r>
            <a:r>
              <a:rPr lang="en-US" sz="800"/>
              <a:t> energy intensity</a:t>
            </a:r>
          </a:p>
          <a:p>
            <a:pPr>
              <a:buClr>
                <a:schemeClr val="accent1"/>
              </a:buClr>
            </a:pPr>
            <a:r>
              <a:rPr lang="en-US" sz="800"/>
              <a:t>      vs. -15% </a:t>
            </a:r>
            <a:r>
              <a:rPr lang="en-US" altLang="zh-CN" sz="800"/>
              <a:t>by </a:t>
            </a:r>
            <a:r>
              <a:rPr lang="en-US" sz="800"/>
              <a:t>2030</a:t>
            </a:r>
          </a:p>
          <a:p>
            <a:pPr>
              <a:buClr>
                <a:schemeClr val="accent1"/>
              </a:buClr>
            </a:pPr>
            <a:r>
              <a:rPr lang="en-US" sz="800"/>
              <a:t>      -8%</a:t>
            </a:r>
            <a:r>
              <a:rPr lang="zh-CN" altLang="en-US" sz="800"/>
              <a:t>能源强度</a:t>
            </a:r>
            <a:r>
              <a:rPr lang="en-US" sz="800"/>
              <a:t>vs.-15%(2030)</a:t>
            </a:r>
            <a:r>
              <a:rPr lang="zh-CN" altLang="en-US" sz="800"/>
              <a:t>     </a:t>
            </a:r>
            <a:endParaRPr lang="en-US" altLang="zh-CN" sz="8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08702DF-EB3A-DF39-D9F8-CF7F64563467}"/>
              </a:ext>
            </a:extLst>
          </p:cNvPr>
          <p:cNvSpPr txBox="1"/>
          <p:nvPr/>
        </p:nvSpPr>
        <p:spPr>
          <a:xfrm>
            <a:off x="7323789" y="3312545"/>
            <a:ext cx="1761673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800" b="0"/>
            </a:lvl1pPr>
          </a:lstStyle>
          <a:p>
            <a:pPr marL="171450" indent="-171450" algn="l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altLang="zh-CN"/>
              <a:t>Drive sustainable transformation across and beyond the value chain</a:t>
            </a:r>
          </a:p>
          <a:p>
            <a:pPr algn="l"/>
            <a:r>
              <a:rPr lang="zh-CN" altLang="en-US"/>
              <a:t>      推动上下游价值链可持续转型</a:t>
            </a:r>
            <a:endParaRPr lang="en-US" altLang="zh-CN"/>
          </a:p>
          <a:p>
            <a:pPr algn="l"/>
            <a:endParaRPr lang="en-US" altLang="zh-CN" sz="400"/>
          </a:p>
          <a:p>
            <a:pPr marL="171450" indent="-171450" algn="l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altLang="zh-CN"/>
              <a:t>“Green Supply Chain   </a:t>
            </a:r>
          </a:p>
          <a:p>
            <a:pPr algn="l">
              <a:buClr>
                <a:srgbClr val="5E7D53"/>
              </a:buClr>
            </a:pPr>
            <a:r>
              <a:rPr lang="en-US" altLang="zh-CN"/>
              <a:t>       Management Award”</a:t>
            </a:r>
          </a:p>
          <a:p>
            <a:pPr algn="l"/>
            <a:r>
              <a:rPr lang="zh-CN" altLang="en-US"/>
              <a:t>       第二届中国企业碳中和表现榜</a:t>
            </a:r>
            <a:endParaRPr lang="en-US" altLang="zh-CN"/>
          </a:p>
          <a:p>
            <a:pPr algn="l"/>
            <a:r>
              <a:rPr lang="en-US" altLang="zh-CN"/>
              <a:t>       ——</a:t>
            </a:r>
            <a:r>
              <a:rPr lang="zh-CN" altLang="en-US"/>
              <a:t>绿色供应链管理奖</a:t>
            </a:r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868F8E-011B-CEC9-5912-94D541E4D429}"/>
              </a:ext>
            </a:extLst>
          </p:cNvPr>
          <p:cNvSpPr txBox="1"/>
          <p:nvPr/>
        </p:nvSpPr>
        <p:spPr>
          <a:xfrm>
            <a:off x="5491907" y="3312545"/>
            <a:ext cx="1844315" cy="15081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800" b="0"/>
            </a:lvl1pPr>
          </a:lstStyle>
          <a:p>
            <a:pPr marL="171450" indent="-171450" algn="l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altLang="zh-CN"/>
              <a:t>Focuses: energy transition, new mobility, and sustainable construction</a:t>
            </a:r>
          </a:p>
          <a:p>
            <a:pPr algn="l">
              <a:buClr>
                <a:srgbClr val="5E7D53"/>
              </a:buClr>
            </a:pPr>
            <a:r>
              <a:rPr lang="en-US" altLang="zh-CN"/>
              <a:t>      </a:t>
            </a:r>
            <a:r>
              <a:rPr lang="zh-CN" altLang="en-US"/>
              <a:t>聚焦能源转型、新移动和可持续</a:t>
            </a:r>
            <a:endParaRPr lang="en-US" altLang="zh-CN"/>
          </a:p>
          <a:p>
            <a:pPr algn="l">
              <a:buClr>
                <a:srgbClr val="5E7D53"/>
              </a:buClr>
            </a:pPr>
            <a:r>
              <a:rPr lang="en-US" altLang="zh-CN"/>
              <a:t>      </a:t>
            </a:r>
            <a:r>
              <a:rPr lang="zh-CN" altLang="en-US"/>
              <a:t>建筑等关键领域</a:t>
            </a:r>
            <a:endParaRPr lang="en-US" altLang="zh-CN"/>
          </a:p>
          <a:p>
            <a:pPr algn="l">
              <a:buClr>
                <a:srgbClr val="5E7D53"/>
              </a:buClr>
            </a:pPr>
            <a:endParaRPr lang="en-US" altLang="zh-CN" sz="400"/>
          </a:p>
          <a:p>
            <a:pPr marL="171450" indent="-171450" algn="l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altLang="zh-CN"/>
              <a:t>Elyta</a:t>
            </a:r>
            <a:r>
              <a:rPr lang="en-US" altLang="zh-CN" baseline="30000"/>
              <a:t>TM</a:t>
            </a:r>
            <a:r>
              <a:rPr lang="en-US" altLang="zh-CN"/>
              <a:t> for PCR/LTR tire reinforcement, Dramix® for concrete reinforcement…</a:t>
            </a:r>
          </a:p>
          <a:p>
            <a:pPr algn="l">
              <a:buClr>
                <a:srgbClr val="5E7D53"/>
              </a:buClr>
            </a:pPr>
            <a:r>
              <a:rPr lang="zh-CN" altLang="en-US"/>
              <a:t>      创新低碳解决方案：新一</a:t>
            </a:r>
            <a:endParaRPr lang="en-US" altLang="zh-CN"/>
          </a:p>
          <a:p>
            <a:pPr algn="l">
              <a:buClr>
                <a:srgbClr val="5E7D53"/>
              </a:buClr>
            </a:pPr>
            <a:r>
              <a:rPr lang="en-US" altLang="zh-CN"/>
              <a:t>      </a:t>
            </a:r>
            <a:r>
              <a:rPr lang="zh-CN" altLang="en-US"/>
              <a:t>代轮胎骨架材料优迈特</a:t>
            </a:r>
            <a:r>
              <a:rPr lang="en-US" altLang="zh-CN" baseline="30000"/>
              <a:t>TM</a:t>
            </a:r>
            <a:r>
              <a:rPr lang="en-US" altLang="zh-CN"/>
              <a:t>, </a:t>
            </a:r>
            <a:r>
              <a:rPr lang="zh-CN" altLang="en-US"/>
              <a:t>佳密 </a:t>
            </a:r>
            <a:endParaRPr lang="en-US" altLang="zh-CN"/>
          </a:p>
          <a:p>
            <a:pPr algn="l">
              <a:buClr>
                <a:srgbClr val="5E7D53"/>
              </a:buClr>
            </a:pPr>
            <a:r>
              <a:rPr lang="en-US" altLang="zh-CN"/>
              <a:t>      </a:t>
            </a:r>
            <a:r>
              <a:rPr lang="zh-CN" altLang="en-US"/>
              <a:t>克丝</a:t>
            </a:r>
            <a:r>
              <a:rPr lang="en-US" altLang="zh-CN"/>
              <a:t>®</a:t>
            </a:r>
            <a:r>
              <a:rPr lang="zh-CN" altLang="en-US"/>
              <a:t>混凝土增强解决方案等</a:t>
            </a:r>
            <a:endParaRPr lang="en-US" altLang="zh-CN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410C637-37B9-9C90-48EF-58AD24663E08}"/>
              </a:ext>
            </a:extLst>
          </p:cNvPr>
          <p:cNvSpPr txBox="1"/>
          <p:nvPr/>
        </p:nvSpPr>
        <p:spPr>
          <a:xfrm>
            <a:off x="1807778" y="3312545"/>
            <a:ext cx="1871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800" b="1"/>
            </a:lvl1pPr>
          </a:lstStyle>
          <a:p>
            <a:pPr marL="171450" indent="-171450" algn="l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altLang="zh-CN" b="0"/>
              <a:t>Green power:22GWh(2024)</a:t>
            </a:r>
          </a:p>
          <a:p>
            <a:pPr algn="l"/>
            <a:r>
              <a:rPr lang="zh-CN" altLang="en-US" b="0"/>
              <a:t>      绿电购买：</a:t>
            </a:r>
            <a:r>
              <a:rPr lang="en-US" altLang="zh-CN" b="0"/>
              <a:t>22GWh(2024)</a:t>
            </a:r>
          </a:p>
          <a:p>
            <a:pPr algn="l"/>
            <a:endParaRPr lang="en-US" altLang="zh-CN" sz="400" b="0"/>
          </a:p>
          <a:p>
            <a:pPr marL="171450" indent="-171450" algn="l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altLang="zh-CN" b="0"/>
              <a:t>30MW rooftop solar station in Jiangyin </a:t>
            </a:r>
          </a:p>
          <a:p>
            <a:pPr algn="l"/>
            <a:r>
              <a:rPr lang="en-US" altLang="zh-CN" b="0"/>
              <a:t>      30MW</a:t>
            </a:r>
            <a:r>
              <a:rPr lang="zh-CN" altLang="en-US" b="0"/>
              <a:t>江阴屋顶光伏电站建成</a:t>
            </a:r>
            <a:endParaRPr lang="en-US" altLang="zh-CN" b="0"/>
          </a:p>
          <a:p>
            <a:pPr algn="l"/>
            <a:endParaRPr lang="en-US" altLang="zh-CN" sz="400" b="0"/>
          </a:p>
          <a:p>
            <a:pPr marL="171450" indent="-171450" algn="l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altLang="zh-CN" b="0"/>
              <a:t>Reducing carbon emissions by about 30,000 tons/year</a:t>
            </a:r>
          </a:p>
          <a:p>
            <a:pPr algn="l">
              <a:buClr>
                <a:srgbClr val="5E7D53"/>
              </a:buClr>
            </a:pPr>
            <a:r>
              <a:rPr lang="en-US" altLang="zh-CN" b="0"/>
              <a:t>      </a:t>
            </a:r>
            <a:r>
              <a:rPr lang="zh-CN" altLang="en-US" b="0"/>
              <a:t>每年减少约</a:t>
            </a:r>
            <a:r>
              <a:rPr lang="en-US" altLang="zh-CN" b="0"/>
              <a:t>30000</a:t>
            </a:r>
            <a:r>
              <a:rPr lang="zh-CN" altLang="en-US" b="0"/>
              <a:t>吨碳排放</a:t>
            </a:r>
            <a:endParaRPr lang="en-US" altLang="zh-CN" b="0"/>
          </a:p>
        </p:txBody>
      </p:sp>
      <p:pic>
        <p:nvPicPr>
          <p:cNvPr id="40" name="Picture 39" descr="A group of green leaves&#10;&#10;Description automatically generated with medium confidence">
            <a:extLst>
              <a:ext uri="{FF2B5EF4-FFF2-40B4-BE49-F238E27FC236}">
                <a16:creationId xmlns:a16="http://schemas.microsoft.com/office/drawing/2014/main" id="{63FBF845-1EF9-2B9C-103A-9D4A877E814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19" b="55036"/>
          <a:stretch/>
        </p:blipFill>
        <p:spPr>
          <a:xfrm>
            <a:off x="0" y="740479"/>
            <a:ext cx="9144000" cy="1552653"/>
          </a:xfrm>
          <a:prstGeom prst="rect">
            <a:avLst/>
          </a:prstGeom>
        </p:spPr>
      </p:pic>
      <p:sp>
        <p:nvSpPr>
          <p:cNvPr id="4" name="Title 21">
            <a:extLst>
              <a:ext uri="{FF2B5EF4-FFF2-40B4-BE49-F238E27FC236}">
                <a16:creationId xmlns:a16="http://schemas.microsoft.com/office/drawing/2014/main" id="{6AA1E2DC-BF9D-A18D-E0FE-0526BF752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282072"/>
            <a:ext cx="8779538" cy="232885"/>
          </a:xfrm>
        </p:spPr>
        <p:txBody>
          <a:bodyPr vert="horz"/>
          <a:lstStyle/>
          <a:p>
            <a:r>
              <a:rPr lang="en-US" sz="1800"/>
              <a:t>Sustainability</a:t>
            </a:r>
            <a:r>
              <a:rPr lang="zh-CN" altLang="en-US" sz="1800"/>
              <a:t> </a:t>
            </a:r>
            <a:r>
              <a:rPr lang="en-US" altLang="zh-CN" sz="1800"/>
              <a:t>in</a:t>
            </a:r>
            <a:r>
              <a:rPr lang="zh-CN" altLang="en-US" sz="1800"/>
              <a:t> </a:t>
            </a:r>
            <a:r>
              <a:rPr lang="en-US" altLang="zh-CN" sz="1800"/>
              <a:t>action,</a:t>
            </a:r>
            <a:r>
              <a:rPr lang="zh-CN" altLang="en-US" sz="1800"/>
              <a:t> </a:t>
            </a:r>
            <a:r>
              <a:rPr lang="en-US" altLang="zh-CN" sz="1800"/>
              <a:t>for</a:t>
            </a:r>
            <a:r>
              <a:rPr lang="zh-CN" altLang="en-US" sz="1800"/>
              <a:t> </a:t>
            </a:r>
            <a:r>
              <a:rPr lang="en-US" altLang="zh-CN" sz="1800"/>
              <a:t>a better tomorrow </a:t>
            </a:r>
            <a:r>
              <a:rPr lang="zh-CN" altLang="en-US" sz="1800"/>
              <a:t>可持续行动，共创美好明天</a:t>
            </a:r>
            <a:endParaRPr lang="en-US" sz="180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BACCE96-DCEB-8797-18F7-ABDC1BA96ECE}"/>
              </a:ext>
            </a:extLst>
          </p:cNvPr>
          <p:cNvGrpSpPr/>
          <p:nvPr/>
        </p:nvGrpSpPr>
        <p:grpSpPr>
          <a:xfrm>
            <a:off x="933480" y="2546494"/>
            <a:ext cx="108000" cy="108000"/>
            <a:chOff x="2959805" y="4505380"/>
            <a:chExt cx="123112" cy="123112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A0CE115-6828-93F1-1EAC-42C2AB1D1A99}"/>
                </a:ext>
              </a:extLst>
            </p:cNvPr>
            <p:cNvSpPr/>
            <p:nvPr/>
          </p:nvSpPr>
          <p:spPr>
            <a:xfrm>
              <a:off x="2959805" y="4505380"/>
              <a:ext cx="123112" cy="123112"/>
            </a:xfrm>
            <a:prstGeom prst="rect">
              <a:avLst/>
            </a:prstGeom>
            <a:solidFill>
              <a:srgbClr val="A8BA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F51FEAA-B2C7-DB6D-2131-2B0A75785A97}"/>
                </a:ext>
              </a:extLst>
            </p:cNvPr>
            <p:cNvSpPr/>
            <p:nvPr/>
          </p:nvSpPr>
          <p:spPr>
            <a:xfrm>
              <a:off x="2994361" y="4539936"/>
              <a:ext cx="54000" cy="5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C1BDEA4-B721-C27C-985D-C7581AA36DC0}"/>
              </a:ext>
            </a:extLst>
          </p:cNvPr>
          <p:cNvGrpSpPr/>
          <p:nvPr/>
        </p:nvGrpSpPr>
        <p:grpSpPr>
          <a:xfrm>
            <a:off x="4470758" y="2546494"/>
            <a:ext cx="108000" cy="108000"/>
            <a:chOff x="2959805" y="4505380"/>
            <a:chExt cx="123112" cy="12311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172C2E0-88A2-61E7-00AB-D469D2E79BB6}"/>
                </a:ext>
              </a:extLst>
            </p:cNvPr>
            <p:cNvSpPr/>
            <p:nvPr/>
          </p:nvSpPr>
          <p:spPr>
            <a:xfrm>
              <a:off x="2959805" y="4505380"/>
              <a:ext cx="123112" cy="123112"/>
            </a:xfrm>
            <a:prstGeom prst="rect">
              <a:avLst/>
            </a:prstGeom>
            <a:solidFill>
              <a:srgbClr val="A8BA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7399B8F-DCB0-D1AA-2572-09AB4126BA45}"/>
                </a:ext>
              </a:extLst>
            </p:cNvPr>
            <p:cNvSpPr/>
            <p:nvPr/>
          </p:nvSpPr>
          <p:spPr>
            <a:xfrm>
              <a:off x="2994361" y="4539936"/>
              <a:ext cx="54000" cy="5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14AFCAE-AC89-01CA-3882-6DC9452177E6}"/>
              </a:ext>
            </a:extLst>
          </p:cNvPr>
          <p:cNvGrpSpPr/>
          <p:nvPr/>
        </p:nvGrpSpPr>
        <p:grpSpPr>
          <a:xfrm>
            <a:off x="2708091" y="2546494"/>
            <a:ext cx="108000" cy="108000"/>
            <a:chOff x="2959805" y="4505380"/>
            <a:chExt cx="123112" cy="12311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643BBCE-DD5C-1829-06FE-4FEEB0BBE9F3}"/>
                </a:ext>
              </a:extLst>
            </p:cNvPr>
            <p:cNvSpPr/>
            <p:nvPr/>
          </p:nvSpPr>
          <p:spPr>
            <a:xfrm>
              <a:off x="2959805" y="4505380"/>
              <a:ext cx="123112" cy="123112"/>
            </a:xfrm>
            <a:prstGeom prst="rect">
              <a:avLst/>
            </a:prstGeom>
            <a:solidFill>
              <a:srgbClr val="A8BA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9823311-D59C-48EC-51A6-1D81CD4CE4FB}"/>
                </a:ext>
              </a:extLst>
            </p:cNvPr>
            <p:cNvSpPr/>
            <p:nvPr/>
          </p:nvSpPr>
          <p:spPr>
            <a:xfrm>
              <a:off x="2994361" y="4539936"/>
              <a:ext cx="54000" cy="5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C9BD16D-E044-2C5C-40F0-5755CB5F45AF}"/>
              </a:ext>
            </a:extLst>
          </p:cNvPr>
          <p:cNvGrpSpPr/>
          <p:nvPr/>
        </p:nvGrpSpPr>
        <p:grpSpPr>
          <a:xfrm>
            <a:off x="6420187" y="2546494"/>
            <a:ext cx="108000" cy="108000"/>
            <a:chOff x="2959805" y="4505380"/>
            <a:chExt cx="123112" cy="123112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09AAC4-675D-CA9D-F87E-9E1622F3ED5D}"/>
                </a:ext>
              </a:extLst>
            </p:cNvPr>
            <p:cNvSpPr/>
            <p:nvPr/>
          </p:nvSpPr>
          <p:spPr>
            <a:xfrm>
              <a:off x="2959805" y="4505380"/>
              <a:ext cx="123112" cy="123112"/>
            </a:xfrm>
            <a:prstGeom prst="rect">
              <a:avLst/>
            </a:prstGeom>
            <a:solidFill>
              <a:srgbClr val="A8BA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2924D86-FEE4-CEC1-C78A-3E0FBFF09E31}"/>
                </a:ext>
              </a:extLst>
            </p:cNvPr>
            <p:cNvSpPr/>
            <p:nvPr/>
          </p:nvSpPr>
          <p:spPr>
            <a:xfrm>
              <a:off x="2994361" y="4539936"/>
              <a:ext cx="54000" cy="5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0770951-09E9-D04F-64C1-337B4972EA53}"/>
              </a:ext>
            </a:extLst>
          </p:cNvPr>
          <p:cNvGrpSpPr/>
          <p:nvPr/>
        </p:nvGrpSpPr>
        <p:grpSpPr>
          <a:xfrm>
            <a:off x="8057144" y="2546494"/>
            <a:ext cx="108000" cy="108000"/>
            <a:chOff x="2959805" y="4505380"/>
            <a:chExt cx="123112" cy="123112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EFED379-177E-6684-06E5-1AC417E14C66}"/>
                </a:ext>
              </a:extLst>
            </p:cNvPr>
            <p:cNvSpPr/>
            <p:nvPr/>
          </p:nvSpPr>
          <p:spPr>
            <a:xfrm>
              <a:off x="2959805" y="4505380"/>
              <a:ext cx="123112" cy="123112"/>
            </a:xfrm>
            <a:prstGeom prst="rect">
              <a:avLst/>
            </a:prstGeom>
            <a:solidFill>
              <a:srgbClr val="A8BA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E52041D-E68E-E55B-1E7C-E5FE4B93F6BC}"/>
                </a:ext>
              </a:extLst>
            </p:cNvPr>
            <p:cNvSpPr/>
            <p:nvPr/>
          </p:nvSpPr>
          <p:spPr>
            <a:xfrm>
              <a:off x="2994361" y="4539936"/>
              <a:ext cx="54000" cy="5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82CE88F7-B0ED-4396-DCCF-E4E1A1C19CF4}"/>
              </a:ext>
            </a:extLst>
          </p:cNvPr>
          <p:cNvSpPr txBox="1"/>
          <p:nvPr/>
        </p:nvSpPr>
        <p:spPr>
          <a:xfrm>
            <a:off x="3611332" y="3316830"/>
            <a:ext cx="19632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800" b="0"/>
            </a:lvl1pPr>
          </a:lstStyle>
          <a:p>
            <a:pPr marL="171450" indent="-171450" algn="l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altLang="zh-CN"/>
              <a:t>13% water reduction</a:t>
            </a:r>
          </a:p>
          <a:p>
            <a:pPr algn="l">
              <a:buClr>
                <a:srgbClr val="5E7D53"/>
              </a:buClr>
            </a:pPr>
            <a:r>
              <a:rPr lang="en-US" altLang="zh-CN"/>
              <a:t>      vs.15% by 2030</a:t>
            </a:r>
          </a:p>
          <a:p>
            <a:pPr algn="l"/>
            <a:r>
              <a:rPr lang="zh-CN" altLang="en-US"/>
              <a:t>      淡水使用量减</a:t>
            </a:r>
            <a:r>
              <a:rPr lang="en-US" altLang="zh-CN"/>
              <a:t>13% vs.15%(2030)</a:t>
            </a:r>
          </a:p>
          <a:p>
            <a:pPr algn="l"/>
            <a:endParaRPr lang="en-US" altLang="zh-CN" sz="400"/>
          </a:p>
          <a:p>
            <a:pPr marL="171450" indent="-171450" algn="l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altLang="zh-CN"/>
              <a:t>100% recycled steel scrap </a:t>
            </a:r>
          </a:p>
          <a:p>
            <a:pPr algn="l">
              <a:buClr>
                <a:srgbClr val="5E7D53"/>
              </a:buClr>
            </a:pPr>
            <a:r>
              <a:rPr lang="en-US" altLang="zh-CN"/>
              <a:t>      100%</a:t>
            </a:r>
            <a:r>
              <a:rPr lang="zh-CN" altLang="en-US"/>
              <a:t>钢铁废料回收利用</a:t>
            </a:r>
            <a:endParaRPr lang="en-US" altLang="zh-CN"/>
          </a:p>
          <a:p>
            <a:pPr algn="l"/>
            <a:endParaRPr lang="en-US" altLang="zh-CN" sz="400"/>
          </a:p>
          <a:p>
            <a:pPr marL="171450" indent="-171450" algn="l">
              <a:buClr>
                <a:srgbClr val="5E7D53"/>
              </a:buClr>
              <a:buFont typeface="Wingdings" panose="05000000000000000000" pitchFamily="2" charset="2"/>
              <a:buChar char="§"/>
            </a:pPr>
            <a:r>
              <a:rPr lang="en-US" altLang="zh-CN"/>
              <a:t>Scaling High Recycled Content(HRC) in raw materials </a:t>
            </a:r>
          </a:p>
          <a:p>
            <a:pPr algn="l">
              <a:buClr>
                <a:srgbClr val="5E7D53"/>
              </a:buClr>
            </a:pPr>
            <a:r>
              <a:rPr lang="en-US" altLang="zh-CN"/>
              <a:t>      </a:t>
            </a:r>
            <a:r>
              <a:rPr lang="zh-CN" altLang="en-US"/>
              <a:t>推动回收钢在原材料的应用</a:t>
            </a:r>
            <a:endParaRPr lang="en-BE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77D9F17-B399-2782-CD1C-CA596F4986C3}"/>
              </a:ext>
            </a:extLst>
          </p:cNvPr>
          <p:cNvSpPr txBox="1">
            <a:spLocks/>
          </p:cNvSpPr>
          <p:nvPr/>
        </p:nvSpPr>
        <p:spPr>
          <a:xfrm>
            <a:off x="7263000" y="1728963"/>
            <a:ext cx="1881000" cy="380172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GB" sz="1000" b="1"/>
              <a:t>Protect  the planet</a:t>
            </a:r>
          </a:p>
          <a:p>
            <a:pPr algn="ctr">
              <a:lnSpc>
                <a:spcPct val="100000"/>
              </a:lnSpc>
            </a:pPr>
            <a:r>
              <a:rPr lang="zh-CN" altLang="en-US" sz="1000" b="1"/>
              <a:t>保护地球</a:t>
            </a:r>
            <a:endParaRPr lang="en-GB" sz="1000" b="1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521307-C4A9-4EC1-1240-A210262D401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32456" y="1007769"/>
            <a:ext cx="827862" cy="827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685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FB58DB1-2C5E-FCAF-ECDD-03B6B92FF844}"/>
              </a:ext>
            </a:extLst>
          </p:cNvPr>
          <p:cNvSpPr txBox="1">
            <a:spLocks/>
          </p:cNvSpPr>
          <p:nvPr/>
        </p:nvSpPr>
        <p:spPr>
          <a:xfrm>
            <a:off x="394117" y="2027193"/>
            <a:ext cx="3012345" cy="19523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As a global leader in steel wire transformation and coating technologies, we also apply our expertise beyond steel to create new solutions with innovative materials and services for various markets and industries</a:t>
            </a:r>
          </a:p>
          <a:p>
            <a:endParaRPr lang="en-GB">
              <a:solidFill>
                <a:schemeClr val="bg1"/>
              </a:solidFill>
            </a:endParaRPr>
          </a:p>
        </p:txBody>
      </p:sp>
      <p:pic>
        <p:nvPicPr>
          <p:cNvPr id="12" name="Picture 11" descr="A close-up of a sculpture&#10;&#10;Description automatically generated">
            <a:extLst>
              <a:ext uri="{FF2B5EF4-FFF2-40B4-BE49-F238E27FC236}">
                <a16:creationId xmlns:a16="http://schemas.microsoft.com/office/drawing/2014/main" id="{2512C0FF-1A64-157B-17A0-2EF36DE5A3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50212" cy="51435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E12E25A-5E8C-EC96-5ACB-8DEDB7344AE5}"/>
              </a:ext>
            </a:extLst>
          </p:cNvPr>
          <p:cNvSpPr txBox="1"/>
          <p:nvPr/>
        </p:nvSpPr>
        <p:spPr>
          <a:xfrm>
            <a:off x="600773" y="1000018"/>
            <a:ext cx="3549653" cy="3570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600">
                <a:solidFill>
                  <a:schemeClr val="bg1"/>
                </a:solidFill>
              </a:rPr>
              <a:t>As a g</a:t>
            </a:r>
            <a:r>
              <a:rPr lang="en-US" sz="1600">
                <a:solidFill>
                  <a:schemeClr val="bg1"/>
                </a:solidFill>
                <a:latin typeface="+mn-lt"/>
              </a:rPr>
              <a:t>lobal leader </a:t>
            </a:r>
            <a:r>
              <a:rPr lang="en-BE" sz="1600">
                <a:solidFill>
                  <a:schemeClr val="bg1"/>
                </a:solidFill>
                <a:latin typeface="+mn-lt"/>
              </a:rPr>
              <a:t>in </a:t>
            </a:r>
            <a:r>
              <a:rPr lang="en-US" sz="1600">
                <a:solidFill>
                  <a:schemeClr val="bg1"/>
                </a:solidFill>
                <a:latin typeface="+mn-lt"/>
              </a:rPr>
              <a:t>steel wire transformation and coating technologies</a:t>
            </a:r>
            <a:r>
              <a:rPr lang="en-BE" sz="1600">
                <a:solidFill>
                  <a:schemeClr val="bg1"/>
                </a:solidFill>
              </a:rPr>
              <a:t>, we also apply our</a:t>
            </a:r>
            <a:r>
              <a:rPr lang="en-US" sz="1600">
                <a:solidFill>
                  <a:schemeClr val="bg1"/>
                </a:solidFill>
                <a:latin typeface="+mn-lt"/>
              </a:rPr>
              <a:t> expertise beyond steel </a:t>
            </a:r>
            <a:br>
              <a:rPr lang="en-US" sz="1600">
                <a:solidFill>
                  <a:schemeClr val="bg1"/>
                </a:solidFill>
                <a:latin typeface="+mn-lt"/>
              </a:rPr>
            </a:br>
            <a:r>
              <a:rPr lang="en-US" sz="1600">
                <a:solidFill>
                  <a:schemeClr val="bg1"/>
                </a:solidFill>
                <a:latin typeface="+mn-lt"/>
              </a:rPr>
              <a:t>to create new solutions with innovative materials and services for </a:t>
            </a:r>
            <a:r>
              <a:rPr lang="en-BE" sz="1600">
                <a:solidFill>
                  <a:schemeClr val="bg1"/>
                </a:solidFill>
                <a:latin typeface="+mn-lt"/>
              </a:rPr>
              <a:t>various </a:t>
            </a:r>
            <a:r>
              <a:rPr lang="en-US" sz="1600">
                <a:solidFill>
                  <a:schemeClr val="bg1"/>
                </a:solidFill>
                <a:latin typeface="+mn-lt"/>
              </a:rPr>
              <a:t>markets</a:t>
            </a:r>
            <a:r>
              <a:rPr lang="en-BE" sz="1600">
                <a:solidFill>
                  <a:schemeClr val="bg1"/>
                </a:solidFill>
                <a:latin typeface="+mn-lt"/>
              </a:rPr>
              <a:t> and industries</a:t>
            </a:r>
            <a:endParaRPr lang="en-US" sz="1600">
              <a:solidFill>
                <a:schemeClr val="bg1"/>
              </a:solidFill>
              <a:latin typeface="+mn-lt"/>
            </a:endParaRPr>
          </a:p>
          <a:p>
            <a:endParaRPr lang="en-US" sz="1400">
              <a:solidFill>
                <a:schemeClr val="bg1"/>
              </a:solidFill>
              <a:latin typeface="+mn-lt"/>
            </a:endParaRPr>
          </a:p>
          <a:p>
            <a:r>
              <a:rPr lang="zh-CN" altLang="en-US" sz="1400">
                <a:solidFill>
                  <a:schemeClr val="bg1"/>
                </a:solidFill>
              </a:rPr>
              <a:t>作为钢丝变形和镀膜技术领域的全球领军企业，贝卡尔特以金属材料科学为核心，持续突破技术的边界。我们不仅深耕钢丝产品创新，更以跨材料解决方案赋能多元市场和行业，为全球客户提供开创性的材料与服务解决方案。</a:t>
            </a:r>
            <a:endParaRPr lang="en-B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19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396A2C-B680-F8F1-33CD-BCBCF1C967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0AF32714-FC8A-5AB0-6BF2-323E245E4624}"/>
              </a:ext>
            </a:extLst>
          </p:cNvPr>
          <p:cNvGrpSpPr/>
          <p:nvPr/>
        </p:nvGrpSpPr>
        <p:grpSpPr>
          <a:xfrm>
            <a:off x="6960" y="755284"/>
            <a:ext cx="9144000" cy="1653006"/>
            <a:chOff x="6960" y="755284"/>
            <a:chExt cx="9144000" cy="1653006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9851CDD-EBBA-E108-7C5C-808BF57CDF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968" b="48895"/>
            <a:stretch/>
          </p:blipFill>
          <p:spPr>
            <a:xfrm>
              <a:off x="6960" y="755284"/>
              <a:ext cx="8149901" cy="1637400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37C89D6-F621-A550-8D0C-6622E4A4F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274" t="22761" r="188" b="48895"/>
            <a:stretch/>
          </p:blipFill>
          <p:spPr>
            <a:xfrm>
              <a:off x="7721482" y="755284"/>
              <a:ext cx="1429478" cy="1653006"/>
            </a:xfrm>
            <a:prstGeom prst="rect">
              <a:avLst/>
            </a:prstGeom>
          </p:spPr>
        </p:pic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9A609EA-EEC8-4C5E-9907-EE15C33F39F8}"/>
              </a:ext>
            </a:extLst>
          </p:cNvPr>
          <p:cNvCxnSpPr>
            <a:cxnSpLocks/>
          </p:cNvCxnSpPr>
          <p:nvPr/>
        </p:nvCxnSpPr>
        <p:spPr>
          <a:xfrm flipH="1">
            <a:off x="519612" y="2600494"/>
            <a:ext cx="8136000" cy="3871"/>
          </a:xfrm>
          <a:prstGeom prst="line">
            <a:avLst/>
          </a:prstGeom>
          <a:ln w="9525">
            <a:solidFill>
              <a:schemeClr val="bg1">
                <a:lumMod val="9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97E707-6AFE-4345-E826-8BF1B6807E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7E707-6AFE-4345-E826-8BF1B6807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21">
            <a:extLst>
              <a:ext uri="{FF2B5EF4-FFF2-40B4-BE49-F238E27FC236}">
                <a16:creationId xmlns:a16="http://schemas.microsoft.com/office/drawing/2014/main" id="{E5F03CE6-6F54-D3BC-CFCE-00A53274B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3" y="282073"/>
            <a:ext cx="8802573" cy="195600"/>
          </a:xfrm>
        </p:spPr>
        <p:txBody>
          <a:bodyPr vert="horz"/>
          <a:lstStyle/>
          <a:p>
            <a:r>
              <a:rPr lang="en-US" sz="1800"/>
              <a:t>Sustainability</a:t>
            </a:r>
            <a:r>
              <a:rPr lang="zh-CN" altLang="en-US" sz="1800"/>
              <a:t> </a:t>
            </a:r>
            <a:r>
              <a:rPr lang="en-US" altLang="zh-CN" sz="1800"/>
              <a:t>in</a:t>
            </a:r>
            <a:r>
              <a:rPr lang="zh-CN" altLang="en-US" sz="1800"/>
              <a:t> </a:t>
            </a:r>
            <a:r>
              <a:rPr lang="en-US" altLang="zh-CN" sz="1800"/>
              <a:t>action,</a:t>
            </a:r>
            <a:r>
              <a:rPr lang="zh-CN" altLang="en-US" sz="1800"/>
              <a:t> </a:t>
            </a:r>
            <a:r>
              <a:rPr lang="en-US" altLang="zh-CN" sz="1800"/>
              <a:t>for</a:t>
            </a:r>
            <a:r>
              <a:rPr lang="zh-CN" altLang="en-US" sz="1800"/>
              <a:t> </a:t>
            </a:r>
            <a:r>
              <a:rPr lang="en-US" altLang="zh-CN" sz="1800"/>
              <a:t>a better tomorrow </a:t>
            </a:r>
            <a:r>
              <a:rPr lang="zh-CN" altLang="en-US" sz="1800"/>
              <a:t>可持续行动，共创美好明天</a:t>
            </a:r>
            <a:endParaRPr lang="en-US" sz="18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8DBEF4-1FD5-2E8F-0458-21EC6B248E74}"/>
              </a:ext>
            </a:extLst>
          </p:cNvPr>
          <p:cNvSpPr txBox="1"/>
          <p:nvPr/>
        </p:nvSpPr>
        <p:spPr>
          <a:xfrm>
            <a:off x="309984" y="2765410"/>
            <a:ext cx="1568239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0" algn="ctr">
              <a:defRPr/>
            </a:pPr>
            <a:r>
              <a:rPr lang="en-US" altLang="zh-CN" sz="800" b="1">
                <a:latin typeface="Bekaert Text"/>
              </a:rPr>
              <a:t>No-harm-to-anyone </a:t>
            </a:r>
          </a:p>
          <a:p>
            <a:pPr lvl="0" algn="ctr">
              <a:defRPr/>
            </a:pPr>
            <a:r>
              <a:rPr lang="zh-CN" altLang="en-US" sz="800" b="1">
                <a:latin typeface="Bekaert Text"/>
              </a:rPr>
              <a:t>全员无伤害</a:t>
            </a:r>
            <a:endParaRPr lang="en-US" altLang="zh-CN" sz="800" b="1">
              <a:latin typeface="Bekaert Text"/>
            </a:endParaRPr>
          </a:p>
          <a:p>
            <a:pPr lvl="0" algn="ctr">
              <a:defRPr/>
            </a:pPr>
            <a:endParaRPr lang="en-US" altLang="zh-CN" sz="400" b="1">
              <a:latin typeface="Bekaert Text"/>
            </a:endParaRPr>
          </a:p>
          <a:p>
            <a:pPr algn="ctr">
              <a:defRPr/>
            </a:pPr>
            <a:r>
              <a:rPr lang="en-US" altLang="zh-CN" sz="800" b="1" i="1">
                <a:solidFill>
                  <a:srgbClr val="FF602C"/>
                </a:solidFill>
              </a:rPr>
              <a:t>“BeCare”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1ED3AE-51E2-81A8-91DB-10CB9484D0D1}"/>
              </a:ext>
            </a:extLst>
          </p:cNvPr>
          <p:cNvSpPr txBox="1"/>
          <p:nvPr/>
        </p:nvSpPr>
        <p:spPr>
          <a:xfrm>
            <a:off x="4604261" y="2765410"/>
            <a:ext cx="18082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lvl="0" algn="ctr">
              <a:defRPr sz="900" b="1">
                <a:solidFill>
                  <a:prstClr val="black"/>
                </a:solidFill>
                <a:latin typeface="Bekaert Text"/>
              </a:defRPr>
            </a:lvl1pPr>
          </a:lstStyle>
          <a:p>
            <a:r>
              <a:rPr lang="en-US" altLang="zh-CN" sz="800">
                <a:solidFill>
                  <a:schemeClr val="tx1"/>
                </a:solidFill>
              </a:rPr>
              <a:t>Learning &amp; development</a:t>
            </a:r>
          </a:p>
          <a:p>
            <a:r>
              <a:rPr lang="zh-CN" altLang="en-US" sz="800">
                <a:solidFill>
                  <a:schemeClr val="tx1"/>
                </a:solidFill>
              </a:rPr>
              <a:t>学习和发展</a:t>
            </a:r>
            <a:endParaRPr lang="en-US" altLang="zh-CN" sz="80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642E24-DAD9-239A-9DF4-B00C990BED79}"/>
              </a:ext>
            </a:extLst>
          </p:cNvPr>
          <p:cNvSpPr txBox="1"/>
          <p:nvPr/>
        </p:nvSpPr>
        <p:spPr>
          <a:xfrm>
            <a:off x="2305328" y="2765410"/>
            <a:ext cx="18718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lvl="0" algn="ctr">
              <a:defRPr sz="900" b="1">
                <a:solidFill>
                  <a:prstClr val="black"/>
                </a:solidFill>
                <a:latin typeface="Bekaert Text"/>
              </a:defRPr>
            </a:lvl1pPr>
          </a:lstStyle>
          <a:p>
            <a:r>
              <a:rPr lang="en-US" altLang="zh-CN" sz="800">
                <a:solidFill>
                  <a:schemeClr val="tx1"/>
                </a:solidFill>
              </a:rPr>
              <a:t>DE&amp;I</a:t>
            </a:r>
          </a:p>
          <a:p>
            <a:r>
              <a:rPr lang="zh-CN" altLang="en-US" sz="800">
                <a:solidFill>
                  <a:schemeClr val="tx1"/>
                </a:solidFill>
              </a:rPr>
              <a:t>多元和包容文化</a:t>
            </a:r>
            <a:endParaRPr lang="en-US" altLang="zh-CN" sz="80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EEA115B-7A41-BC3D-920B-D80D891360E6}"/>
              </a:ext>
            </a:extLst>
          </p:cNvPr>
          <p:cNvSpPr txBox="1"/>
          <p:nvPr/>
        </p:nvSpPr>
        <p:spPr>
          <a:xfrm>
            <a:off x="6839611" y="2765410"/>
            <a:ext cx="191302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lvl="0" algn="ctr">
              <a:defRPr sz="800" b="1">
                <a:latin typeface="Bekaert Text"/>
              </a:defRPr>
            </a:lvl1pPr>
          </a:lstStyle>
          <a:p>
            <a:r>
              <a:rPr lang="en-US" altLang="zh-CN"/>
              <a:t>Creating a positive workplace</a:t>
            </a:r>
          </a:p>
          <a:p>
            <a:r>
              <a:rPr lang="zh-CN" altLang="en-US"/>
              <a:t>打造积极向上的工作氛围</a:t>
            </a:r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F0FAAAC-BB1C-9B92-7336-09F7C49FFA96}"/>
              </a:ext>
            </a:extLst>
          </p:cNvPr>
          <p:cNvSpPr txBox="1"/>
          <p:nvPr/>
        </p:nvSpPr>
        <p:spPr>
          <a:xfrm>
            <a:off x="6628519" y="3310409"/>
            <a:ext cx="22054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171450" indent="-171450">
              <a:buClr>
                <a:srgbClr val="FF602C"/>
              </a:buClr>
              <a:buFont typeface="Wingdings" panose="05000000000000000000" pitchFamily="2" charset="2"/>
              <a:buChar char="§"/>
              <a:defRPr sz="800" b="0"/>
            </a:lvl1pPr>
          </a:lstStyle>
          <a:p>
            <a:pPr>
              <a:buClr>
                <a:srgbClr val="DDB38D"/>
              </a:buClr>
            </a:pPr>
            <a:r>
              <a:rPr lang="en-US" altLang="zh-CN"/>
              <a:t>Employee Assistant Program(EAP</a:t>
            </a:r>
            <a:r>
              <a:rPr lang="zh-CN" altLang="en-US"/>
              <a:t>）</a:t>
            </a:r>
            <a:r>
              <a:rPr lang="en-US" altLang="zh-CN"/>
              <a:t>      </a:t>
            </a:r>
          </a:p>
          <a:p>
            <a:pPr marL="0" indent="0">
              <a:buNone/>
            </a:pPr>
            <a:r>
              <a:rPr lang="en-US" altLang="zh-CN"/>
              <a:t>      </a:t>
            </a:r>
            <a:r>
              <a:rPr lang="zh-CN" altLang="en-US"/>
              <a:t>员工关爱计划</a:t>
            </a:r>
            <a:endParaRPr lang="en-US" altLang="zh-CN"/>
          </a:p>
          <a:p>
            <a:pPr marL="0" indent="0">
              <a:buNone/>
            </a:pPr>
            <a:endParaRPr lang="en-US" altLang="zh-CN" sz="400"/>
          </a:p>
          <a:p>
            <a:pPr>
              <a:buClr>
                <a:srgbClr val="DDB38D"/>
              </a:buClr>
            </a:pPr>
            <a:r>
              <a:rPr lang="en-US" altLang="zh-CN"/>
              <a:t>Bekaert Wellbeing Week</a:t>
            </a:r>
          </a:p>
          <a:p>
            <a:pPr marL="0" indent="0">
              <a:buNone/>
            </a:pPr>
            <a:r>
              <a:rPr lang="zh-CN" altLang="en-US"/>
              <a:t>      贝卡尔特身心健康周</a:t>
            </a:r>
          </a:p>
          <a:p>
            <a:pPr marL="0" indent="0">
              <a:buNone/>
            </a:pPr>
            <a:endParaRPr lang="en-US" altLang="zh-CN" sz="400"/>
          </a:p>
          <a:p>
            <a:pPr>
              <a:buClr>
                <a:srgbClr val="DDB38D"/>
              </a:buClr>
            </a:pPr>
            <a:r>
              <a:rPr lang="en-US" altLang="zh-CN"/>
              <a:t>A variety of employee engagement initiatives </a:t>
            </a:r>
            <a:r>
              <a:rPr lang="zh-CN" altLang="en-US"/>
              <a:t>丰富的员工活动</a:t>
            </a:r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79226F-4C0A-A81E-3E53-DF34F07FDC44}"/>
              </a:ext>
            </a:extLst>
          </p:cNvPr>
          <p:cNvSpPr txBox="1"/>
          <p:nvPr/>
        </p:nvSpPr>
        <p:spPr>
          <a:xfrm>
            <a:off x="2099139" y="3310409"/>
            <a:ext cx="2296705" cy="11387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nl-BE"/>
            </a:defPPr>
            <a:lvl1pPr algn="ctr">
              <a:buClr>
                <a:schemeClr val="accent1"/>
              </a:buClr>
              <a:defRPr sz="800" b="1"/>
            </a:lvl1pPr>
          </a:lstStyle>
          <a:p>
            <a:pPr marL="171450" indent="-171450" algn="l">
              <a:buClr>
                <a:srgbClr val="DDB38D"/>
              </a:buClr>
              <a:buFont typeface="Wingdings" panose="05000000000000000000" pitchFamily="2" charset="2"/>
              <a:buChar char="§"/>
            </a:pPr>
            <a:r>
              <a:rPr lang="en-US" b="0"/>
              <a:t>Developed a clear diversity, equity, and inclusion strategy an</a:t>
            </a:r>
            <a:r>
              <a:rPr lang="en-US" altLang="zh-CN" b="0"/>
              <a:t>d</a:t>
            </a:r>
            <a:r>
              <a:rPr lang="en-US" b="0"/>
              <a:t> approach</a:t>
            </a:r>
            <a:endParaRPr lang="en-US" altLang="zh-CN" b="0"/>
          </a:p>
          <a:p>
            <a:pPr algn="l">
              <a:buClr>
                <a:srgbClr val="5E7D53"/>
              </a:buClr>
            </a:pPr>
            <a:r>
              <a:rPr lang="zh-CN" altLang="en-US" b="0"/>
              <a:t>      制定清晰的多元、公平、包容的发展战略</a:t>
            </a:r>
            <a:endParaRPr lang="en-US" altLang="zh-CN" b="0"/>
          </a:p>
          <a:p>
            <a:pPr algn="l"/>
            <a:r>
              <a:rPr lang="zh-CN" altLang="en-US" b="0"/>
              <a:t>      和执行方案</a:t>
            </a:r>
            <a:endParaRPr lang="en-US" altLang="zh-CN" b="0"/>
          </a:p>
          <a:p>
            <a:pPr algn="l">
              <a:buClr>
                <a:srgbClr val="5E7D53"/>
              </a:buClr>
            </a:pPr>
            <a:endParaRPr lang="en-US" altLang="zh-CN" sz="400" b="0"/>
          </a:p>
          <a:p>
            <a:pPr marL="171450" indent="-171450" algn="l">
              <a:buClr>
                <a:srgbClr val="DDB38D"/>
              </a:buClr>
              <a:buFont typeface="Wingdings" panose="05000000000000000000" pitchFamily="2" charset="2"/>
              <a:buChar char="§"/>
            </a:pPr>
            <a:r>
              <a:rPr lang="en-US" altLang="zh-CN" b="0"/>
              <a:t>Launching global campaign focusing on cultural diversity: #Say My Name</a:t>
            </a:r>
          </a:p>
          <a:p>
            <a:pPr algn="l">
              <a:buClr>
                <a:srgbClr val="5E7D53"/>
              </a:buClr>
            </a:pPr>
            <a:r>
              <a:rPr lang="zh-CN" altLang="en-US" b="0"/>
              <a:t>      发起聚焦文化多样性的全球项目</a:t>
            </a:r>
            <a:r>
              <a:rPr lang="en-US" altLang="zh-CN" b="0"/>
              <a:t>, </a:t>
            </a:r>
            <a:r>
              <a:rPr lang="zh-CN" altLang="en-US" b="0"/>
              <a:t>例如：</a:t>
            </a:r>
            <a:endParaRPr lang="en-US" altLang="zh-CN" b="0"/>
          </a:p>
          <a:p>
            <a:pPr algn="l">
              <a:buClr>
                <a:srgbClr val="5E7D53"/>
              </a:buClr>
            </a:pPr>
            <a:r>
              <a:rPr lang="en-US" altLang="zh-CN" b="0"/>
              <a:t>      #Say My Nam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F0F0AA4-F364-39BF-7DF7-C7B02C9B1330}"/>
              </a:ext>
            </a:extLst>
          </p:cNvPr>
          <p:cNvSpPr txBox="1"/>
          <p:nvPr/>
        </p:nvSpPr>
        <p:spPr>
          <a:xfrm>
            <a:off x="258953" y="3310409"/>
            <a:ext cx="1871821" cy="892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nl-BE"/>
            </a:defPPr>
            <a:lvl1pPr marL="171450" indent="-171450">
              <a:buClr>
                <a:srgbClr val="5E7D53"/>
              </a:buClr>
              <a:buFont typeface="Wingdings" panose="05000000000000000000" pitchFamily="2" charset="2"/>
              <a:buChar char="§"/>
              <a:defRPr sz="800" b="0"/>
            </a:lvl1pPr>
          </a:lstStyle>
          <a:p>
            <a:pPr>
              <a:buClr>
                <a:srgbClr val="DDB38D"/>
              </a:buClr>
            </a:pPr>
            <a:r>
              <a:rPr lang="en-US"/>
              <a:t>BeCare, our global safety excellence program</a:t>
            </a:r>
            <a:r>
              <a:rPr lang="en-GB"/>
              <a:t> </a:t>
            </a:r>
          </a:p>
          <a:p>
            <a:pPr marL="0" indent="0">
              <a:buNone/>
            </a:pPr>
            <a:r>
              <a:rPr lang="en-GB" altLang="zh-CN"/>
              <a:t>     </a:t>
            </a:r>
            <a:r>
              <a:rPr lang="en-US" altLang="zh-CN"/>
              <a:t>BeCare</a:t>
            </a:r>
            <a:r>
              <a:rPr lang="zh-CN" altLang="en-US"/>
              <a:t>全球安全卓越计划</a:t>
            </a:r>
            <a:endParaRPr lang="en-US" altLang="zh-CN"/>
          </a:p>
          <a:p>
            <a:pPr marL="0" indent="0">
              <a:buNone/>
            </a:pPr>
            <a:endParaRPr lang="en-US" altLang="zh-CN" sz="400"/>
          </a:p>
          <a:p>
            <a:pPr>
              <a:buClr>
                <a:srgbClr val="DDB38D"/>
              </a:buClr>
            </a:pPr>
            <a:r>
              <a:rPr lang="en-US" altLang="zh-CN"/>
              <a:t>Embedding SHE in our organization </a:t>
            </a:r>
          </a:p>
          <a:p>
            <a:pPr marL="0" indent="0">
              <a:buNone/>
            </a:pPr>
            <a:r>
              <a:rPr lang="zh-CN" altLang="en-US"/>
              <a:t>     将</a:t>
            </a:r>
            <a:r>
              <a:rPr lang="en-US" altLang="zh-CN"/>
              <a:t>SHE</a:t>
            </a:r>
            <a:r>
              <a:rPr lang="zh-CN" altLang="en-US"/>
              <a:t>理念深植于组织运营中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080BEFA-BDB8-203E-1C48-1860CB184CB9}"/>
              </a:ext>
            </a:extLst>
          </p:cNvPr>
          <p:cNvSpPr txBox="1"/>
          <p:nvPr/>
        </p:nvSpPr>
        <p:spPr>
          <a:xfrm>
            <a:off x="4572000" y="3310409"/>
            <a:ext cx="187182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marL="171450" indent="-171450">
              <a:buClr>
                <a:srgbClr val="5E7D53"/>
              </a:buClr>
              <a:buFont typeface="Wingdings" panose="05000000000000000000" pitchFamily="2" charset="2"/>
              <a:buChar char="§"/>
              <a:defRPr sz="800" b="0"/>
            </a:lvl1pPr>
          </a:lstStyle>
          <a:p>
            <a:pPr>
              <a:buClr>
                <a:srgbClr val="DDB38D"/>
              </a:buClr>
            </a:pPr>
            <a:r>
              <a:rPr lang="en-US"/>
              <a:t>Learning Friday</a:t>
            </a:r>
          </a:p>
          <a:p>
            <a:pPr marL="0" indent="0">
              <a:buNone/>
            </a:pPr>
            <a:r>
              <a:rPr lang="zh-CN" altLang="en-US"/>
              <a:t>      周五学习日</a:t>
            </a:r>
            <a:endParaRPr lang="en-US" altLang="zh-CN"/>
          </a:p>
          <a:p>
            <a:pPr marL="0" indent="0">
              <a:buNone/>
            </a:pPr>
            <a:endParaRPr lang="en-US" sz="400"/>
          </a:p>
          <a:p>
            <a:pPr>
              <a:buClr>
                <a:srgbClr val="DDB38D"/>
              </a:buClr>
            </a:pPr>
            <a:r>
              <a:rPr lang="en-US"/>
              <a:t>LinkedIn Learning </a:t>
            </a:r>
            <a:r>
              <a:rPr lang="en-US" altLang="zh-CN"/>
              <a:t>Platform</a:t>
            </a:r>
            <a:endParaRPr lang="en-US"/>
          </a:p>
          <a:p>
            <a:pPr marL="0" indent="0">
              <a:buNone/>
            </a:pPr>
            <a:r>
              <a:rPr lang="en-US" altLang="zh-CN"/>
              <a:t>      </a:t>
            </a:r>
            <a:r>
              <a:rPr lang="zh-CN" altLang="en-US"/>
              <a:t>领英学习平台</a:t>
            </a:r>
            <a:endParaRPr lang="en-US" altLang="zh-CN"/>
          </a:p>
          <a:p>
            <a:pPr marL="0" indent="0">
              <a:buNone/>
            </a:pPr>
            <a:endParaRPr lang="en-US" sz="400"/>
          </a:p>
          <a:p>
            <a:pPr>
              <a:buClr>
                <a:srgbClr val="DDB38D"/>
              </a:buClr>
            </a:pPr>
            <a:r>
              <a:rPr lang="en-US"/>
              <a:t>Leadership Program</a:t>
            </a:r>
            <a:r>
              <a:rPr lang="en-US" altLang="zh-CN"/>
              <a:t>s</a:t>
            </a:r>
            <a:endParaRPr lang="en-US"/>
          </a:p>
          <a:p>
            <a:pPr marL="0" indent="0">
              <a:buNone/>
            </a:pPr>
            <a:r>
              <a:rPr lang="en-US"/>
              <a:t>      </a:t>
            </a:r>
            <a:r>
              <a:rPr lang="zh-CN" altLang="en-US"/>
              <a:t>领导力项目</a:t>
            </a:r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383F35E-25A4-1707-9A0E-648EEF1CECD0}"/>
              </a:ext>
            </a:extLst>
          </p:cNvPr>
          <p:cNvGrpSpPr/>
          <p:nvPr/>
        </p:nvGrpSpPr>
        <p:grpSpPr>
          <a:xfrm>
            <a:off x="1035783" y="2558436"/>
            <a:ext cx="108000" cy="108000"/>
            <a:chOff x="2959805" y="4505380"/>
            <a:chExt cx="123112" cy="123112"/>
          </a:xfrm>
          <a:solidFill>
            <a:srgbClr val="DDB38D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25211C9-521C-9EE6-601F-1E07E938EB50}"/>
                </a:ext>
              </a:extLst>
            </p:cNvPr>
            <p:cNvSpPr/>
            <p:nvPr/>
          </p:nvSpPr>
          <p:spPr>
            <a:xfrm>
              <a:off x="2959805" y="4505380"/>
              <a:ext cx="123112" cy="1231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C18713-5C32-BA0C-0F88-70AD79F6C6D2}"/>
                </a:ext>
              </a:extLst>
            </p:cNvPr>
            <p:cNvSpPr/>
            <p:nvPr/>
          </p:nvSpPr>
          <p:spPr>
            <a:xfrm>
              <a:off x="2994361" y="4539936"/>
              <a:ext cx="54000" cy="5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29826FB-0C7F-20E9-7238-285251DBFC17}"/>
              </a:ext>
            </a:extLst>
          </p:cNvPr>
          <p:cNvGrpSpPr/>
          <p:nvPr/>
        </p:nvGrpSpPr>
        <p:grpSpPr>
          <a:xfrm>
            <a:off x="5408399" y="2547184"/>
            <a:ext cx="108000" cy="108000"/>
            <a:chOff x="2959805" y="4505380"/>
            <a:chExt cx="123112" cy="123112"/>
          </a:xfrm>
          <a:solidFill>
            <a:srgbClr val="DDB38D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4FC327C-AD40-DA77-2E0A-88130C5F1856}"/>
                </a:ext>
              </a:extLst>
            </p:cNvPr>
            <p:cNvSpPr/>
            <p:nvPr/>
          </p:nvSpPr>
          <p:spPr>
            <a:xfrm>
              <a:off x="2959805" y="4505380"/>
              <a:ext cx="123112" cy="1231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6EEC1AB-9EAF-7AB7-8425-E6FE69A04616}"/>
                </a:ext>
              </a:extLst>
            </p:cNvPr>
            <p:cNvSpPr/>
            <p:nvPr/>
          </p:nvSpPr>
          <p:spPr>
            <a:xfrm>
              <a:off x="2994361" y="4539936"/>
              <a:ext cx="54000" cy="5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D9BEEFF-0A2A-D021-5385-F3D54BCA25FF}"/>
              </a:ext>
            </a:extLst>
          </p:cNvPr>
          <p:cNvGrpSpPr/>
          <p:nvPr/>
        </p:nvGrpSpPr>
        <p:grpSpPr>
          <a:xfrm>
            <a:off x="3168847" y="2552498"/>
            <a:ext cx="108000" cy="108000"/>
            <a:chOff x="2959805" y="4505380"/>
            <a:chExt cx="123112" cy="123112"/>
          </a:xfrm>
          <a:solidFill>
            <a:srgbClr val="DDB38D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586235D-E154-E1B7-7528-8E5F650B6624}"/>
                </a:ext>
              </a:extLst>
            </p:cNvPr>
            <p:cNvSpPr/>
            <p:nvPr/>
          </p:nvSpPr>
          <p:spPr>
            <a:xfrm>
              <a:off x="2959805" y="4505380"/>
              <a:ext cx="123112" cy="1231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078350F-7E13-C0CE-606F-953E5AAC9683}"/>
                </a:ext>
              </a:extLst>
            </p:cNvPr>
            <p:cNvSpPr/>
            <p:nvPr/>
          </p:nvSpPr>
          <p:spPr>
            <a:xfrm>
              <a:off x="2994361" y="4539936"/>
              <a:ext cx="54000" cy="5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B599FD7-79BB-CAF9-BEF0-54F4557B227A}"/>
              </a:ext>
            </a:extLst>
          </p:cNvPr>
          <p:cNvGrpSpPr/>
          <p:nvPr/>
        </p:nvGrpSpPr>
        <p:grpSpPr>
          <a:xfrm>
            <a:off x="7688123" y="2546560"/>
            <a:ext cx="108000" cy="108000"/>
            <a:chOff x="2959805" y="4505380"/>
            <a:chExt cx="123112" cy="123112"/>
          </a:xfrm>
          <a:solidFill>
            <a:srgbClr val="DDB38D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49E9FAA-4111-EBBE-C3E9-81F3ACC3F75A}"/>
                </a:ext>
              </a:extLst>
            </p:cNvPr>
            <p:cNvSpPr/>
            <p:nvPr/>
          </p:nvSpPr>
          <p:spPr>
            <a:xfrm>
              <a:off x="2959805" y="4505380"/>
              <a:ext cx="123112" cy="1231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DBE99B6-CA3A-FA44-9B22-C6CAE1A37E93}"/>
                </a:ext>
              </a:extLst>
            </p:cNvPr>
            <p:cNvSpPr/>
            <p:nvPr/>
          </p:nvSpPr>
          <p:spPr>
            <a:xfrm>
              <a:off x="2994361" y="4539936"/>
              <a:ext cx="54000" cy="5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US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CFA8BB94-E09B-A419-D3C9-9689F839ADFC}"/>
              </a:ext>
            </a:extLst>
          </p:cNvPr>
          <p:cNvSpPr/>
          <p:nvPr/>
        </p:nvSpPr>
        <p:spPr>
          <a:xfrm>
            <a:off x="-6960" y="762911"/>
            <a:ext cx="9157920" cy="1635337"/>
          </a:xfrm>
          <a:prstGeom prst="rect">
            <a:avLst/>
          </a:prstGeom>
          <a:solidFill>
            <a:srgbClr val="000000">
              <a:alpha val="1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US" sz="1200" b="0" i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FCCEDF8-0BC7-5EE9-84C5-F1EC4C7F65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54207" y="1127957"/>
            <a:ext cx="716801" cy="720000"/>
          </a:xfrm>
          <a:prstGeom prst="rect">
            <a:avLst/>
          </a:prstGeom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77DEF339-63EA-4462-7FB7-9E00F0AC4430}"/>
              </a:ext>
            </a:extLst>
          </p:cNvPr>
          <p:cNvSpPr txBox="1">
            <a:spLocks/>
          </p:cNvSpPr>
          <p:nvPr/>
        </p:nvSpPr>
        <p:spPr>
          <a:xfrm>
            <a:off x="7540468" y="1808584"/>
            <a:ext cx="1383476" cy="346304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GB" sz="1000" b="1"/>
              <a:t>Put people first</a:t>
            </a:r>
          </a:p>
          <a:p>
            <a:pPr algn="ctr">
              <a:lnSpc>
                <a:spcPct val="100000"/>
              </a:lnSpc>
            </a:pPr>
            <a:r>
              <a:rPr lang="zh-CN" altLang="en-US" sz="1000" b="1"/>
              <a:t>以人为本</a:t>
            </a:r>
            <a:endParaRPr lang="en-GB" sz="1000" b="1"/>
          </a:p>
          <a:p>
            <a:pPr algn="ctr"/>
            <a:endParaRPr lang="en-GB" sz="1200" b="1">
              <a:solidFill>
                <a:srgbClr val="FF602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252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E9E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AE669D-5BC9-7380-9A37-C3A0ED49D6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47A4C8F-87B5-B401-5A12-011708F286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47A4C8F-87B5-B401-5A12-011708F286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BF888619-27D1-FD29-67EF-C36F990AB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4" y="282073"/>
            <a:ext cx="8753010" cy="222019"/>
          </a:xfr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altLang="zh-CN" sz="1600">
                <a:solidFill>
                  <a:srgbClr val="FF602C"/>
                </a:solidFill>
                <a:ea typeface="+mn-ea"/>
                <a:cs typeface="+mn-cs"/>
              </a:rPr>
              <a:t>Active community engagement </a:t>
            </a:r>
            <a:r>
              <a:rPr lang="zh-CN" altLang="en-US" sz="1600">
                <a:solidFill>
                  <a:srgbClr val="FF602C"/>
                </a:solidFill>
                <a:ea typeface="+mn-ea"/>
                <a:cs typeface="+mn-cs"/>
              </a:rPr>
              <a:t>社区活动</a:t>
            </a:r>
            <a:endParaRPr lang="en-US" sz="1600">
              <a:solidFill>
                <a:srgbClr val="FF602C"/>
              </a:solidFill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A0E5FE-8223-BD69-A881-6EA224380BF4}"/>
              </a:ext>
            </a:extLst>
          </p:cNvPr>
          <p:cNvSpPr txBox="1"/>
          <p:nvPr/>
        </p:nvSpPr>
        <p:spPr>
          <a:xfrm>
            <a:off x="135642" y="3116882"/>
            <a:ext cx="1926936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altLang="zh-CN" sz="1000" b="1">
                <a:solidFill>
                  <a:srgbClr val="FF602C"/>
                </a:solidFill>
              </a:rPr>
              <a:t>Going Faraway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 b="1">
                <a:solidFill>
                  <a:srgbClr val="FF602C"/>
                </a:solidFill>
              </a:rPr>
              <a:t>去远方</a:t>
            </a:r>
            <a:endParaRPr lang="en-US" altLang="zh-CN" sz="1000" b="1">
              <a:solidFill>
                <a:srgbClr val="FF602C"/>
              </a:solidFill>
            </a:endParaRPr>
          </a:p>
          <a:p>
            <a:pPr algn="ctr">
              <a:buClr>
                <a:schemeClr val="accent1"/>
              </a:buClr>
            </a:pPr>
            <a:endParaRPr lang="en-US" sz="800"/>
          </a:p>
          <a:p>
            <a:pPr algn="ctr">
              <a:buClr>
                <a:schemeClr val="accent1"/>
              </a:buClr>
            </a:pPr>
            <a:r>
              <a:rPr lang="en-US" altLang="zh-CN" sz="800">
                <a:latin typeface="Arial" panose="020B0604020202020204" pitchFamily="34" charset="0"/>
              </a:rPr>
              <a:t>Supporting</a:t>
            </a:r>
            <a:r>
              <a:rPr lang="en-US" sz="800">
                <a:latin typeface="Arial" panose="020B0604020202020204" pitchFamily="34" charset="0"/>
              </a:rPr>
              <a:t> children </a:t>
            </a:r>
            <a:r>
              <a:rPr lang="en-US" altLang="zh-CN" sz="800">
                <a:latin typeface="Arial" panose="020B0604020202020204" pitchFamily="34" charset="0"/>
              </a:rPr>
              <a:t>from</a:t>
            </a:r>
            <a:r>
              <a:rPr lang="en-US" sz="800">
                <a:latin typeface="Arial" panose="020B0604020202020204" pitchFamily="34" charset="0"/>
              </a:rPr>
              <a:t> r</a:t>
            </a:r>
            <a:r>
              <a:rPr lang="en-US" altLang="zh-CN" sz="800">
                <a:latin typeface="Arial" panose="020B0604020202020204" pitchFamily="34" charset="0"/>
              </a:rPr>
              <a:t>ural</a:t>
            </a:r>
            <a:r>
              <a:rPr lang="en-US" sz="800">
                <a:latin typeface="Arial" panose="020B0604020202020204" pitchFamily="34" charset="0"/>
              </a:rPr>
              <a:t> areas to explore the world</a:t>
            </a:r>
            <a:endParaRPr lang="en-US" altLang="zh-CN" sz="800"/>
          </a:p>
          <a:p>
            <a:pPr algn="ctr">
              <a:buClr>
                <a:schemeClr val="accent1"/>
              </a:buClr>
            </a:pPr>
            <a:r>
              <a:rPr lang="zh-CN" altLang="en-US" sz="800">
                <a:latin typeface="Arial" panose="020B0604020202020204" pitchFamily="34" charset="0"/>
              </a:rPr>
              <a:t>携手真爱梦想基金会，支持偏远地区的孩子实现去远方的梦想</a:t>
            </a:r>
            <a:endParaRPr lang="en-US" sz="800" err="1"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044037-C465-39B7-023E-8D1E7E260646}"/>
              </a:ext>
            </a:extLst>
          </p:cNvPr>
          <p:cNvSpPr txBox="1"/>
          <p:nvPr/>
        </p:nvSpPr>
        <p:spPr>
          <a:xfrm>
            <a:off x="2173424" y="3116882"/>
            <a:ext cx="253984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000" b="1">
                <a:solidFill>
                  <a:srgbClr val="FF602C"/>
                </a:solidFill>
              </a:rPr>
              <a:t>Green Computer Classroom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 b="1">
                <a:solidFill>
                  <a:srgbClr val="FF602C"/>
                </a:solidFill>
              </a:rPr>
              <a:t>绿色电脑教室</a:t>
            </a:r>
            <a:endParaRPr lang="en-US" altLang="zh-CN" sz="1000" b="1">
              <a:solidFill>
                <a:srgbClr val="FF602C"/>
              </a:solidFill>
            </a:endParaRPr>
          </a:p>
          <a:p>
            <a:pPr algn="ctr">
              <a:buClr>
                <a:schemeClr val="accent1"/>
              </a:buClr>
            </a:pPr>
            <a:endParaRPr lang="en-US" sz="800" b="1"/>
          </a:p>
          <a:p>
            <a:pPr algn="ctr">
              <a:buClr>
                <a:schemeClr val="accent1"/>
              </a:buClr>
            </a:pPr>
            <a:r>
              <a:rPr lang="en-US" altLang="zh-CN" sz="800">
                <a:latin typeface="Arial" panose="020B0604020202020204" pitchFamily="34" charset="0"/>
              </a:rPr>
              <a:t>P</a:t>
            </a:r>
            <a:r>
              <a:rPr lang="en-US" sz="800">
                <a:latin typeface="Arial" panose="020B0604020202020204" pitchFamily="34" charset="0"/>
              </a:rPr>
              <a:t>artnering with Bridgestone to help children in r</a:t>
            </a:r>
            <a:r>
              <a:rPr lang="en-US" altLang="zh-CN" sz="800">
                <a:latin typeface="Arial" panose="020B0604020202020204" pitchFamily="34" charset="0"/>
              </a:rPr>
              <a:t>ural</a:t>
            </a:r>
            <a:r>
              <a:rPr lang="en-US" sz="800">
                <a:latin typeface="Arial" panose="020B0604020202020204" pitchFamily="34" charset="0"/>
              </a:rPr>
              <a:t> areas access quality educational resources.</a:t>
            </a:r>
            <a:endParaRPr lang="en-US" altLang="zh-CN" sz="800">
              <a:latin typeface="Arial" panose="020B0604020202020204" pitchFamily="34" charset="0"/>
            </a:endParaRPr>
          </a:p>
          <a:p>
            <a:pPr algn="ctr">
              <a:buClr>
                <a:schemeClr val="accent1"/>
              </a:buClr>
            </a:pPr>
            <a:r>
              <a:rPr lang="zh-CN" altLang="en-US" sz="800" b="0" i="0">
                <a:solidFill>
                  <a:srgbClr val="404040"/>
                </a:solidFill>
                <a:effectLst/>
                <a:latin typeface="DeepSeek-CJK-patch"/>
              </a:rPr>
              <a:t>携手普利司通，助力偏远地区儿童共享</a:t>
            </a:r>
            <a:r>
              <a:rPr lang="zh-CN" altLang="en-US" sz="800">
                <a:solidFill>
                  <a:srgbClr val="404040"/>
                </a:solidFill>
                <a:latin typeface="DeepSeek-CJK-patch"/>
              </a:rPr>
              <a:t>优质教育资源</a:t>
            </a:r>
            <a:endParaRPr lang="en-US" sz="800" b="1"/>
          </a:p>
        </p:txBody>
      </p:sp>
      <p:pic>
        <p:nvPicPr>
          <p:cNvPr id="24" name="Picture 23" descr="A group of children posing for a picture&#10;&#10;AI-generated content may be incorrect.">
            <a:extLst>
              <a:ext uri="{FF2B5EF4-FFF2-40B4-BE49-F238E27FC236}">
                <a16:creationId xmlns:a16="http://schemas.microsoft.com/office/drawing/2014/main" id="{5FB455EC-2680-2113-742C-D9914EC86F8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2" t="11936"/>
          <a:stretch/>
        </p:blipFill>
        <p:spPr>
          <a:xfrm>
            <a:off x="132036" y="1258106"/>
            <a:ext cx="2077741" cy="1440000"/>
          </a:xfrm>
          <a:prstGeom prst="round2DiagRect">
            <a:avLst>
              <a:gd name="adj1" fmla="val 17811"/>
              <a:gd name="adj2" fmla="val 0"/>
            </a:avLst>
          </a:prstGeom>
        </p:spPr>
      </p:pic>
      <p:pic>
        <p:nvPicPr>
          <p:cNvPr id="34" name="Picture 33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C8953136-5268-FF39-279C-D226AC23892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0"/>
          <a:stretch/>
        </p:blipFill>
        <p:spPr>
          <a:xfrm>
            <a:off x="4697632" y="1258106"/>
            <a:ext cx="2084183" cy="1440000"/>
          </a:xfrm>
          <a:prstGeom prst="round2DiagRect">
            <a:avLst>
              <a:gd name="adj1" fmla="val 19304"/>
              <a:gd name="adj2" fmla="val 0"/>
            </a:avLst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1128C634-7FDC-D1F6-9597-E0830A3143A0}"/>
              </a:ext>
            </a:extLst>
          </p:cNvPr>
          <p:cNvSpPr txBox="1"/>
          <p:nvPr/>
        </p:nvSpPr>
        <p:spPr>
          <a:xfrm>
            <a:off x="4773634" y="3116882"/>
            <a:ext cx="201809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altLang="zh-CN" sz="1000" b="1">
                <a:solidFill>
                  <a:srgbClr val="FF602C"/>
                </a:solidFill>
              </a:rPr>
              <a:t>Qizhi Kindergarten</a:t>
            </a:r>
            <a:endParaRPr lang="en-US" sz="1000" b="1">
              <a:solidFill>
                <a:srgbClr val="FF602C"/>
              </a:solidFill>
            </a:endParaRPr>
          </a:p>
          <a:p>
            <a:pPr algn="ctr">
              <a:buClr>
                <a:schemeClr val="accent1"/>
              </a:buClr>
            </a:pPr>
            <a:r>
              <a:rPr lang="zh-CN" altLang="en-US" sz="1000" b="1">
                <a:solidFill>
                  <a:srgbClr val="FF602C"/>
                </a:solidFill>
              </a:rPr>
              <a:t>启智幼儿园</a:t>
            </a:r>
            <a:endParaRPr lang="en-US" altLang="zh-CN" sz="1000" b="1">
              <a:solidFill>
                <a:srgbClr val="FF602C"/>
              </a:solidFill>
            </a:endParaRPr>
          </a:p>
          <a:p>
            <a:pPr algn="ctr">
              <a:buClr>
                <a:schemeClr val="accent1"/>
              </a:buClr>
            </a:pPr>
            <a:endParaRPr lang="en-US" sz="800" b="1"/>
          </a:p>
          <a:p>
            <a:pPr algn="ctr">
              <a:buClr>
                <a:schemeClr val="accent1"/>
              </a:buClr>
            </a:pPr>
            <a:r>
              <a:rPr lang="en-US" altLang="zh-CN" sz="800">
                <a:latin typeface="Arial" panose="020B0604020202020204" pitchFamily="34" charset="0"/>
              </a:rPr>
              <a:t>Bekaert Shenyang: 25 years’ continued care &amp; support for special children</a:t>
            </a:r>
            <a:r>
              <a:rPr lang="en-US" sz="800">
                <a:latin typeface="Arial" panose="020B0604020202020204" pitchFamily="34" charset="0"/>
              </a:rPr>
              <a:t>.</a:t>
            </a:r>
            <a:endParaRPr lang="en-US" altLang="zh-CN" sz="800">
              <a:latin typeface="Arial" panose="020B0604020202020204" pitchFamily="34" charset="0"/>
            </a:endParaRPr>
          </a:p>
          <a:p>
            <a:pPr algn="ctr">
              <a:buClr>
                <a:schemeClr val="accent1"/>
              </a:buClr>
            </a:pPr>
            <a:r>
              <a:rPr lang="zh-CN" altLang="en-US" sz="800">
                <a:solidFill>
                  <a:srgbClr val="404040"/>
                </a:solidFill>
                <a:latin typeface="DeepSeek-CJK-patch"/>
              </a:rPr>
              <a:t>贝卡尔特沈阳工厂持续</a:t>
            </a:r>
            <a:r>
              <a:rPr lang="en-US" altLang="zh-CN" sz="800">
                <a:solidFill>
                  <a:srgbClr val="404040"/>
                </a:solidFill>
                <a:latin typeface="DeepSeek-CJK-patch"/>
              </a:rPr>
              <a:t>25</a:t>
            </a:r>
            <a:r>
              <a:rPr lang="zh-CN" altLang="en-US" sz="800">
                <a:solidFill>
                  <a:srgbClr val="404040"/>
                </a:solidFill>
                <a:latin typeface="DeepSeek-CJK-patch"/>
              </a:rPr>
              <a:t>年关爱特殊儿童</a:t>
            </a:r>
            <a:endParaRPr lang="en-US" sz="800" b="1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AA96638-1300-4CAD-ED27-AC05CBF9E799}"/>
              </a:ext>
            </a:extLst>
          </p:cNvPr>
          <p:cNvSpPr txBox="1"/>
          <p:nvPr/>
        </p:nvSpPr>
        <p:spPr>
          <a:xfrm>
            <a:off x="6843185" y="3116882"/>
            <a:ext cx="221138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altLang="zh-CN" sz="1000" b="1">
                <a:solidFill>
                  <a:srgbClr val="FF602C"/>
                </a:solidFill>
              </a:rPr>
              <a:t>Green Initiatives</a:t>
            </a:r>
          </a:p>
          <a:p>
            <a:pPr algn="ctr">
              <a:buClr>
                <a:schemeClr val="accent1"/>
              </a:buClr>
            </a:pPr>
            <a:r>
              <a:rPr lang="zh-CN" altLang="en-US" sz="1000" b="1">
                <a:solidFill>
                  <a:srgbClr val="FF602C"/>
                </a:solidFill>
              </a:rPr>
              <a:t>绿色环保活动</a:t>
            </a:r>
            <a:endParaRPr lang="en-US" altLang="zh-CN" sz="1000" b="1">
              <a:solidFill>
                <a:srgbClr val="FF602C"/>
              </a:solidFill>
            </a:endParaRPr>
          </a:p>
          <a:p>
            <a:pPr algn="ctr">
              <a:buClr>
                <a:schemeClr val="accent1"/>
              </a:buClr>
            </a:pPr>
            <a:endParaRPr lang="en-US" sz="800" b="1"/>
          </a:p>
          <a:p>
            <a:pPr algn="ctr">
              <a:buClr>
                <a:schemeClr val="accent1"/>
              </a:buClr>
            </a:pPr>
            <a:r>
              <a:rPr lang="en-US" altLang="zh-CN" sz="800">
                <a:latin typeface="Arial" panose="020B0604020202020204" pitchFamily="34" charset="0"/>
              </a:rPr>
              <a:t>Launching </a:t>
            </a:r>
            <a:r>
              <a:rPr lang="en-US" sz="800">
                <a:latin typeface="Arial" panose="020B0604020202020204" pitchFamily="34" charset="0"/>
              </a:rPr>
              <a:t>You Know Watt to</a:t>
            </a:r>
            <a:r>
              <a:rPr lang="zh-CN" altLang="en-US" sz="800">
                <a:latin typeface="Arial" panose="020B0604020202020204" pitchFamily="34" charset="0"/>
              </a:rPr>
              <a:t> </a:t>
            </a:r>
            <a:r>
              <a:rPr lang="en-US" altLang="zh-CN" sz="800">
                <a:latin typeface="Arial" panose="020B0604020202020204" pitchFamily="34" charset="0"/>
              </a:rPr>
              <a:t>bring</a:t>
            </a:r>
            <a:r>
              <a:rPr lang="en-US" sz="800">
                <a:latin typeface="Arial" panose="020B0604020202020204" pitchFamily="34" charset="0"/>
              </a:rPr>
              <a:t> </a:t>
            </a:r>
            <a:r>
              <a:rPr lang="en-US" altLang="zh-CN" sz="800">
                <a:latin typeface="Arial" panose="020B0604020202020204" pitchFamily="34" charset="0"/>
              </a:rPr>
              <a:t>g</a:t>
            </a:r>
            <a:r>
              <a:rPr lang="en-US" sz="800">
                <a:latin typeface="Arial" panose="020B0604020202020204" pitchFamily="34" charset="0"/>
              </a:rPr>
              <a:t>reener </a:t>
            </a:r>
            <a:r>
              <a:rPr lang="en-US" altLang="zh-CN" sz="800">
                <a:latin typeface="Arial" panose="020B0604020202020204" pitchFamily="34" charset="0"/>
              </a:rPr>
              <a:t>mindset</a:t>
            </a:r>
            <a:r>
              <a:rPr lang="en-US" sz="800">
                <a:latin typeface="Arial" panose="020B0604020202020204" pitchFamily="34" charset="0"/>
              </a:rPr>
              <a:t> to the </a:t>
            </a:r>
            <a:r>
              <a:rPr lang="en-US" altLang="zh-CN" sz="800">
                <a:latin typeface="Arial" panose="020B0604020202020204" pitchFamily="34" charset="0"/>
              </a:rPr>
              <a:t>c</a:t>
            </a:r>
            <a:r>
              <a:rPr lang="en-US" sz="800">
                <a:latin typeface="Arial" panose="020B0604020202020204" pitchFamily="34" charset="0"/>
              </a:rPr>
              <a:t>ommunity.</a:t>
            </a:r>
            <a:endParaRPr lang="en-US" altLang="zh-CN" sz="800">
              <a:latin typeface="Arial" panose="020B0604020202020204" pitchFamily="34" charset="0"/>
            </a:endParaRPr>
          </a:p>
          <a:p>
            <a:pPr algn="ctr">
              <a:buClr>
                <a:schemeClr val="accent1"/>
              </a:buClr>
            </a:pPr>
            <a:r>
              <a:rPr lang="zh-CN" altLang="en-US" sz="800">
                <a:solidFill>
                  <a:srgbClr val="404040"/>
                </a:solidFill>
                <a:latin typeface="DeepSeek-CJK-patch"/>
              </a:rPr>
              <a:t>开</a:t>
            </a:r>
            <a:r>
              <a:rPr lang="zh-CN" altLang="en-US" sz="800">
                <a:solidFill>
                  <a:srgbClr val="404040"/>
                </a:solidFill>
              </a:rPr>
              <a:t>展</a:t>
            </a:r>
            <a:r>
              <a:rPr lang="en-US" sz="800">
                <a:latin typeface="Arial" panose="020B0604020202020204" pitchFamily="34" charset="0"/>
              </a:rPr>
              <a:t>You Know Watt </a:t>
            </a:r>
            <a:r>
              <a:rPr lang="zh-CN" altLang="en-US" sz="800">
                <a:solidFill>
                  <a:srgbClr val="404040"/>
                </a:solidFill>
              </a:rPr>
              <a:t>，将绿色理念带进社区</a:t>
            </a:r>
            <a:endParaRPr lang="en-US" sz="800">
              <a:solidFill>
                <a:srgbClr val="404040"/>
              </a:solidFill>
            </a:endParaRPr>
          </a:p>
        </p:txBody>
      </p:sp>
      <p:pic>
        <p:nvPicPr>
          <p:cNvPr id="2" name="图片 20" descr="一群穿制服的人&#10;&#10;低可信度描述已自动生成">
            <a:extLst>
              <a:ext uri="{FF2B5EF4-FFF2-40B4-BE49-F238E27FC236}">
                <a16:creationId xmlns:a16="http://schemas.microsoft.com/office/drawing/2014/main" id="{6ECD2CDC-9278-046C-B504-A4386C3CCA4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96" r="4135" b="33151"/>
          <a:stretch/>
        </p:blipFill>
        <p:spPr>
          <a:xfrm>
            <a:off x="6893259" y="1252631"/>
            <a:ext cx="2083995" cy="1440000"/>
          </a:xfrm>
          <a:prstGeom prst="round2DiagRect">
            <a:avLst>
              <a:gd name="adj1" fmla="val 19304"/>
              <a:gd name="adj2" fmla="val 0"/>
            </a:avLst>
          </a:prstGeom>
        </p:spPr>
      </p:pic>
      <p:sp>
        <p:nvSpPr>
          <p:cNvPr id="3" name="Title 17">
            <a:extLst>
              <a:ext uri="{FF2B5EF4-FFF2-40B4-BE49-F238E27FC236}">
                <a16:creationId xmlns:a16="http://schemas.microsoft.com/office/drawing/2014/main" id="{DEDE9A9F-14C6-D961-9216-0CB3DCDB0DA8}"/>
              </a:ext>
            </a:extLst>
          </p:cNvPr>
          <p:cNvSpPr txBox="1">
            <a:spLocks/>
          </p:cNvSpPr>
          <p:nvPr/>
        </p:nvSpPr>
        <p:spPr>
          <a:xfrm>
            <a:off x="6139543" y="278759"/>
            <a:ext cx="328805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br>
              <a:rPr lang="zh-CN" altLang="en-US" sz="1100">
                <a:solidFill>
                  <a:schemeClr val="tx1"/>
                </a:solidFill>
                <a:latin typeface="+mn-lt"/>
              </a:rPr>
            </a:br>
            <a:endParaRPr lang="en-IN" sz="110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Picture 3" descr="A group of people in a classroom&#10;&#10;AI-generated content may be incorrect.">
            <a:extLst>
              <a:ext uri="{FF2B5EF4-FFF2-40B4-BE49-F238E27FC236}">
                <a16:creationId xmlns:a16="http://schemas.microsoft.com/office/drawing/2014/main" id="{A0172AA0-D78A-7A26-C4ED-AF85EA38678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136" y="1252631"/>
            <a:ext cx="2177136" cy="1451061"/>
          </a:xfrm>
          <a:prstGeom prst="round2DiagRect">
            <a:avLst>
              <a:gd name="adj1" fmla="val 17811"/>
              <a:gd name="adj2" fmla="val 0"/>
            </a:avLst>
          </a:prstGeom>
        </p:spPr>
      </p:pic>
    </p:spTree>
    <p:extLst>
      <p:ext uri="{BB962C8B-B14F-4D97-AF65-F5344CB8AC3E}">
        <p14:creationId xmlns:p14="http://schemas.microsoft.com/office/powerpoint/2010/main" val="35390678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2020D-754D-CB9D-383F-0B51C67FD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53" y="282073"/>
            <a:ext cx="7216563" cy="221599"/>
          </a:xfr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altLang="zh-CN" sz="1600">
                <a:solidFill>
                  <a:srgbClr val="FF602C"/>
                </a:solidFill>
                <a:ea typeface="+mn-ea"/>
                <a:cs typeface="+mn-cs"/>
              </a:rPr>
              <a:t>Win-win government engagement  </a:t>
            </a:r>
            <a:r>
              <a:rPr lang="zh-CN" altLang="en-US" sz="1600">
                <a:solidFill>
                  <a:srgbClr val="FF602C"/>
                </a:solidFill>
                <a:ea typeface="+mn-ea"/>
                <a:cs typeface="+mn-cs"/>
              </a:rPr>
              <a:t>政企协同，共谋发展</a:t>
            </a:r>
          </a:p>
        </p:txBody>
      </p:sp>
      <p:pic>
        <p:nvPicPr>
          <p:cNvPr id="26" name="Picture 25" descr="A group of people standing on a red carpet&#10;&#10;Description automatically generated">
            <a:extLst>
              <a:ext uri="{FF2B5EF4-FFF2-40B4-BE49-F238E27FC236}">
                <a16:creationId xmlns:a16="http://schemas.microsoft.com/office/drawing/2014/main" id="{81B8132A-399D-642B-89F6-F5EA9F7FDA6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953" y="782658"/>
            <a:ext cx="4011628" cy="2005814"/>
          </a:xfrm>
          <a:prstGeom prst="round2SameRect">
            <a:avLst>
              <a:gd name="adj1" fmla="val 278"/>
              <a:gd name="adj2" fmla="val 0"/>
            </a:avLst>
          </a:prstGeom>
        </p:spPr>
      </p:pic>
      <p:pic>
        <p:nvPicPr>
          <p:cNvPr id="8" name="Picture 7" descr="A group of people standing on stairs&#10;&#10;AI-generated content may be incorrect.">
            <a:extLst>
              <a:ext uri="{FF2B5EF4-FFF2-40B4-BE49-F238E27FC236}">
                <a16:creationId xmlns:a16="http://schemas.microsoft.com/office/drawing/2014/main" id="{47FE076B-9109-5B71-96C4-A678B53EF2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4" t="27786" r="2179" b="12524"/>
          <a:stretch>
            <a:fillRect/>
          </a:stretch>
        </p:blipFill>
        <p:spPr>
          <a:xfrm>
            <a:off x="4333063" y="782658"/>
            <a:ext cx="4612945" cy="2005814"/>
          </a:xfrm>
          <a:prstGeom prst="rect">
            <a:avLst/>
          </a:prstGeom>
        </p:spPr>
      </p:pic>
      <p:pic>
        <p:nvPicPr>
          <p:cNvPr id="12" name="Picture 11" descr="Men sitting in chairs in front of a painting&#10;&#10;AI-generated content may be incorrect.">
            <a:extLst>
              <a:ext uri="{FF2B5EF4-FFF2-40B4-BE49-F238E27FC236}">
                <a16:creationId xmlns:a16="http://schemas.microsoft.com/office/drawing/2014/main" id="{35FDF4DA-D3AA-8253-CCA0-4E92D22D77D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3" t="13638" r="20785" b="6027"/>
          <a:stretch>
            <a:fillRect/>
          </a:stretch>
        </p:blipFill>
        <p:spPr>
          <a:xfrm>
            <a:off x="2154909" y="2873239"/>
            <a:ext cx="2108407" cy="1815145"/>
          </a:xfrm>
          <a:prstGeom prst="rect">
            <a:avLst/>
          </a:prstGeom>
        </p:spPr>
      </p:pic>
      <p:pic>
        <p:nvPicPr>
          <p:cNvPr id="13" name="Picture 12" descr="A group of men in suits and ties posing for a photo&#10;&#10;AI-generated content may be incorrect.">
            <a:extLst>
              <a:ext uri="{FF2B5EF4-FFF2-40B4-BE49-F238E27FC236}">
                <a16:creationId xmlns:a16="http://schemas.microsoft.com/office/drawing/2014/main" id="{E4E3F066-4F56-F8C6-4E2A-85394E5B744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9" r="7054"/>
          <a:stretch>
            <a:fillRect/>
          </a:stretch>
        </p:blipFill>
        <p:spPr>
          <a:xfrm>
            <a:off x="4325443" y="2873238"/>
            <a:ext cx="2355902" cy="1815145"/>
          </a:xfrm>
          <a:prstGeom prst="rect">
            <a:avLst/>
          </a:prstGeom>
        </p:spPr>
      </p:pic>
      <p:pic>
        <p:nvPicPr>
          <p:cNvPr id="18" name="Picture 17" descr="A group of people standing together&#10;&#10;AI-generated content may be incorrect.">
            <a:extLst>
              <a:ext uri="{FF2B5EF4-FFF2-40B4-BE49-F238E27FC236}">
                <a16:creationId xmlns:a16="http://schemas.microsoft.com/office/drawing/2014/main" id="{F50184D6-B899-CF66-6903-B57A6257EA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5" t="9816" r="8555"/>
          <a:stretch>
            <a:fillRect/>
          </a:stretch>
        </p:blipFill>
        <p:spPr>
          <a:xfrm>
            <a:off x="6743472" y="2873238"/>
            <a:ext cx="2202536" cy="1815145"/>
          </a:xfrm>
          <a:prstGeom prst="rect">
            <a:avLst/>
          </a:prstGeom>
        </p:spPr>
      </p:pic>
      <p:pic>
        <p:nvPicPr>
          <p:cNvPr id="20" name="Picture 19" descr="A couple of men shaking hands&#10;&#10;AI-generated content may be incorrect.">
            <a:extLst>
              <a:ext uri="{FF2B5EF4-FFF2-40B4-BE49-F238E27FC236}">
                <a16:creationId xmlns:a16="http://schemas.microsoft.com/office/drawing/2014/main" id="{1C0E31BF-8B3D-E837-C9C4-705E6B8FC1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48" r="13727"/>
          <a:stretch>
            <a:fillRect/>
          </a:stretch>
        </p:blipFill>
        <p:spPr>
          <a:xfrm>
            <a:off x="257174" y="2873240"/>
            <a:ext cx="1827988" cy="174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2921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FE957E-2C23-C171-E564-AB390F72D2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winding road with lights on it&#10;&#10;AI-generated content may be incorrect.">
            <a:extLst>
              <a:ext uri="{FF2B5EF4-FFF2-40B4-BE49-F238E27FC236}">
                <a16:creationId xmlns:a16="http://schemas.microsoft.com/office/drawing/2014/main" id="{3A31D522-1B21-C046-C032-5437BCAB25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43487"/>
          <a:stretch/>
        </p:blipFill>
        <p:spPr>
          <a:xfrm>
            <a:off x="804" y="0"/>
            <a:ext cx="9143196" cy="29688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B70C351-B78B-2614-1018-14508BA18039}"/>
              </a:ext>
            </a:extLst>
          </p:cNvPr>
          <p:cNvSpPr txBox="1"/>
          <p:nvPr/>
        </p:nvSpPr>
        <p:spPr>
          <a:xfrm>
            <a:off x="415789" y="3362713"/>
            <a:ext cx="207898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rgbClr val="FF602C"/>
              </a:buClr>
              <a:buFont typeface="Wingdings" panose="05000000000000000000" pitchFamily="2" charset="2"/>
              <a:buChar char="§"/>
            </a:pPr>
            <a:r>
              <a:rPr lang="en-US" altLang="zh-CN" sz="800" kern="100" dirty="0">
                <a:ea typeface="SimSun" panose="02010600030101010101" pitchFamily="2" charset="-122"/>
                <a:cs typeface="Times New Roman" panose="02020603050405020304" pitchFamily="18" charset="0"/>
              </a:rPr>
              <a:t>China Outstanding Patent Award </a:t>
            </a:r>
          </a:p>
          <a:p>
            <a:pPr>
              <a:buClr>
                <a:srgbClr val="FF602C"/>
              </a:buClr>
            </a:pPr>
            <a:r>
              <a:rPr lang="zh-CN" altLang="en-US" sz="800" kern="100" dirty="0">
                <a:ea typeface="SimSun" panose="02010600030101010101" pitchFamily="2" charset="-122"/>
                <a:cs typeface="Times New Roman" panose="02020603050405020304" pitchFamily="18" charset="0"/>
              </a:rPr>
              <a:t>      中国优秀专利奖</a:t>
            </a:r>
            <a:endParaRPr lang="en-US" sz="800" kern="100" dirty="0"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>
              <a:buClr>
                <a:srgbClr val="FF602C"/>
              </a:buClr>
            </a:pPr>
            <a:endParaRPr lang="en-US" altLang="zh-CN" sz="400" kern="100" dirty="0"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171450" indent="-171450">
              <a:buClr>
                <a:srgbClr val="FF602C"/>
              </a:buClr>
              <a:buFont typeface="Wingdings" panose="05000000000000000000" pitchFamily="2" charset="2"/>
              <a:buChar char="§"/>
            </a:pPr>
            <a:r>
              <a:rPr lang="en-US" altLang="zh-CN" sz="800" kern="100" dirty="0">
                <a:ea typeface="SimSun" panose="02010600030101010101" pitchFamily="2" charset="-122"/>
                <a:cs typeface="Times New Roman" panose="02020603050405020304" pitchFamily="18" charset="0"/>
              </a:rPr>
              <a:t>Tire Manufacturing Innovation of the Year(TAWI®)</a:t>
            </a:r>
          </a:p>
          <a:p>
            <a:pPr>
              <a:buClr>
                <a:srgbClr val="FF602C"/>
              </a:buClr>
            </a:pPr>
            <a:r>
              <a:rPr lang="zh-CN" altLang="en-US" sz="800" kern="100" dirty="0">
                <a:ea typeface="SimSun" panose="02010600030101010101" pitchFamily="2" charset="-122"/>
                <a:cs typeface="Times New Roman" panose="02020603050405020304" pitchFamily="18" charset="0"/>
              </a:rPr>
              <a:t>      轮胎行业年度轮胎制造创新奖</a:t>
            </a:r>
            <a:r>
              <a:rPr lang="en-US" altLang="zh-CN" sz="800" kern="100" dirty="0">
                <a:ea typeface="SimSun" panose="02010600030101010101" pitchFamily="2" charset="-122"/>
                <a:cs typeface="Times New Roman" panose="02020603050405020304" pitchFamily="18" charset="0"/>
              </a:rPr>
              <a:t>(TAWI®)</a:t>
            </a:r>
          </a:p>
          <a:p>
            <a:pPr>
              <a:buClr>
                <a:srgbClr val="FF602C"/>
              </a:buClr>
            </a:pPr>
            <a:endParaRPr lang="en-US" sz="400" kern="100" dirty="0"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171450" indent="-171450">
              <a:buClr>
                <a:srgbClr val="FF602C"/>
              </a:buClr>
              <a:buFont typeface="Wingdings" panose="05000000000000000000" pitchFamily="2" charset="2"/>
              <a:buChar char="§"/>
            </a:pPr>
            <a:r>
              <a:rPr lang="en-US" sz="800" kern="100" dirty="0">
                <a:ea typeface="SimSun" panose="02010600030101010101" pitchFamily="2" charset="-122"/>
                <a:cs typeface="Times New Roman" panose="02020603050405020304" pitchFamily="18" charset="0"/>
              </a:rPr>
              <a:t>Advanced Performer in Decarbonization </a:t>
            </a:r>
            <a:r>
              <a:rPr lang="en-US" altLang="zh-CN" sz="800" kern="100" dirty="0">
                <a:ea typeface="SimSun" panose="02010600030101010101" pitchFamily="2" charset="-122"/>
                <a:cs typeface="Times New Roman" panose="02020603050405020304" pitchFamily="18" charset="0"/>
              </a:rPr>
              <a:t>by</a:t>
            </a:r>
            <a:r>
              <a:rPr lang="en-US" sz="800" kern="100" dirty="0">
                <a:ea typeface="SimSun" panose="02010600030101010101" pitchFamily="2" charset="-122"/>
                <a:cs typeface="Times New Roman" panose="02020603050405020304" pitchFamily="18" charset="0"/>
              </a:rPr>
              <a:t> EUCCC China</a:t>
            </a:r>
          </a:p>
          <a:p>
            <a:pPr>
              <a:buClr>
                <a:srgbClr val="FF602C"/>
              </a:buClr>
            </a:pPr>
            <a:r>
              <a:rPr lang="zh-CN" altLang="en-US" sz="800" kern="100" dirty="0">
                <a:ea typeface="SimSun" panose="02010600030101010101" pitchFamily="2" charset="-122"/>
                <a:cs typeface="Times New Roman" panose="02020603050405020304" pitchFamily="18" charset="0"/>
              </a:rPr>
              <a:t>     中国欧盟商会可持续商业大奖</a:t>
            </a:r>
            <a:endParaRPr lang="en-US" altLang="zh-CN" sz="800" kern="100" dirty="0"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>
              <a:buClr>
                <a:srgbClr val="FF602C"/>
              </a:buClr>
            </a:pPr>
            <a:r>
              <a:rPr lang="en-US" altLang="zh-CN" sz="800" kern="100" dirty="0">
                <a:ea typeface="SimSun" panose="02010600030101010101" pitchFamily="2" charset="-122"/>
                <a:cs typeface="Times New Roman" panose="02020603050405020304" pitchFamily="18" charset="0"/>
              </a:rPr>
              <a:t>      ——</a:t>
            </a:r>
            <a:r>
              <a:rPr lang="zh-CN" altLang="en-US" sz="800" kern="100" dirty="0">
                <a:ea typeface="SimSun" panose="02010600030101010101" pitchFamily="2" charset="-122"/>
                <a:cs typeface="Times New Roman" panose="02020603050405020304" pitchFamily="18" charset="0"/>
              </a:rPr>
              <a:t>脱碳先锋奖</a:t>
            </a:r>
            <a:endParaRPr lang="en-US" sz="800" kern="100" dirty="0"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EDB06B-55F6-16BA-64CD-294E20A6D403}"/>
              </a:ext>
            </a:extLst>
          </p:cNvPr>
          <p:cNvSpPr txBox="1"/>
          <p:nvPr/>
        </p:nvSpPr>
        <p:spPr>
          <a:xfrm>
            <a:off x="2627193" y="3322978"/>
            <a:ext cx="1944807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nl-BE"/>
            </a:defPPr>
            <a:lvl1pPr>
              <a:buNone/>
              <a:defRPr sz="1000" kern="100">
                <a:effectLst/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defRPr>
            </a:lvl1pPr>
          </a:lstStyle>
          <a:p>
            <a:pPr marL="171450" indent="-171450">
              <a:buClr>
                <a:srgbClr val="FF602C"/>
              </a:buClr>
              <a:buFont typeface="Wingdings" panose="05000000000000000000" pitchFamily="2" charset="2"/>
              <a:buChar char="§"/>
            </a:pPr>
            <a:r>
              <a:rPr lang="en-US" altLang="zh-CN" sz="800">
                <a:latin typeface="+mn-lt"/>
                <a:ea typeface="SimSun"/>
                <a:cs typeface="Times New Roman"/>
              </a:rPr>
              <a:t>China National Green Plant</a:t>
            </a:r>
          </a:p>
          <a:p>
            <a:pPr>
              <a:buClr>
                <a:srgbClr val="FF602C"/>
              </a:buClr>
            </a:pPr>
            <a:r>
              <a:rPr lang="zh-CN" altLang="en-US" sz="800">
                <a:latin typeface="+mn-lt"/>
              </a:rPr>
              <a:t>      国家级绿色工厂</a:t>
            </a:r>
            <a:endParaRPr lang="en-US" altLang="zh-CN" sz="800">
              <a:latin typeface="+mn-lt"/>
            </a:endParaRPr>
          </a:p>
          <a:p>
            <a:pPr>
              <a:buClr>
                <a:srgbClr val="FF602C"/>
              </a:buClr>
            </a:pPr>
            <a:endParaRPr lang="en-US" altLang="zh-CN" sz="400">
              <a:latin typeface="+mn-lt"/>
            </a:endParaRPr>
          </a:p>
          <a:p>
            <a:pPr marL="171450" indent="-171450">
              <a:buClr>
                <a:srgbClr val="FF602C"/>
              </a:buClr>
              <a:buFont typeface="Wingdings" panose="05000000000000000000" pitchFamily="2" charset="2"/>
              <a:buChar char="§"/>
            </a:pPr>
            <a:r>
              <a:rPr lang="en-US" altLang="zh-CN" sz="800">
                <a:latin typeface="+mn-lt"/>
                <a:ea typeface="SimSun"/>
                <a:cs typeface="Times New Roman"/>
              </a:rPr>
              <a:t>Jiangsu Provincial Green Plant</a:t>
            </a:r>
          </a:p>
          <a:p>
            <a:pPr>
              <a:buClr>
                <a:srgbClr val="FF602C"/>
              </a:buClr>
            </a:pPr>
            <a:r>
              <a:rPr lang="zh-CN" altLang="en-US" sz="800">
                <a:latin typeface="+mn-lt"/>
              </a:rPr>
              <a:t>      江苏省绿色工厂</a:t>
            </a:r>
            <a:endParaRPr lang="en-US" altLang="zh-CN" sz="800">
              <a:latin typeface="+mn-lt"/>
            </a:endParaRPr>
          </a:p>
          <a:p>
            <a:pPr>
              <a:buClr>
                <a:srgbClr val="FF602C"/>
              </a:buClr>
            </a:pPr>
            <a:endParaRPr lang="en-US" altLang="zh-CN" sz="400">
              <a:latin typeface="+mn-lt"/>
            </a:endParaRPr>
          </a:p>
          <a:p>
            <a:pPr marL="171450" indent="-171450">
              <a:buClr>
                <a:srgbClr val="FF602C"/>
              </a:buClr>
              <a:buFont typeface="Wingdings" panose="05000000000000000000" pitchFamily="2" charset="2"/>
              <a:buChar char="§"/>
            </a:pPr>
            <a:r>
              <a:rPr lang="en-US" altLang="zh-CN" sz="800">
                <a:latin typeface="+mn-lt"/>
                <a:ea typeface="SimSun"/>
                <a:cs typeface="Times New Roman"/>
              </a:rPr>
              <a:t>Joining China Carbon Neutrality Alliance</a:t>
            </a:r>
          </a:p>
          <a:p>
            <a:pPr>
              <a:buClr>
                <a:srgbClr val="FF602C"/>
              </a:buClr>
            </a:pPr>
            <a:r>
              <a:rPr lang="zh-CN" altLang="en-US" sz="800">
                <a:latin typeface="+mn-lt"/>
                <a:ea typeface="SimSun"/>
                <a:cs typeface="Times New Roman"/>
              </a:rPr>
              <a:t>      加入</a:t>
            </a:r>
            <a:r>
              <a:rPr lang="en-US" sz="800">
                <a:latin typeface="+mn-lt"/>
                <a:ea typeface="SimSun"/>
                <a:cs typeface="Times New Roman"/>
              </a:rPr>
              <a:t>碳中和行动联盟</a:t>
            </a:r>
          </a:p>
          <a:p>
            <a:pPr>
              <a:buClr>
                <a:srgbClr val="FF602C"/>
              </a:buClr>
            </a:pPr>
            <a:endParaRPr lang="en-US" sz="400">
              <a:latin typeface="+mn-lt"/>
            </a:endParaRPr>
          </a:p>
          <a:p>
            <a:pPr marL="171450" indent="-171450">
              <a:buClr>
                <a:srgbClr val="FF602C"/>
              </a:buClr>
              <a:buFont typeface="Wingdings" panose="05000000000000000000" pitchFamily="2" charset="2"/>
              <a:buChar char="§"/>
            </a:pPr>
            <a:r>
              <a:rPr lang="en-US" sz="800">
                <a:latin typeface="+mn-lt"/>
                <a:ea typeface="SimSun"/>
                <a:cs typeface="Times New Roman"/>
              </a:rPr>
              <a:t>LEED Gold Certification </a:t>
            </a:r>
          </a:p>
          <a:p>
            <a:pPr>
              <a:buClr>
                <a:srgbClr val="FF602C"/>
              </a:buClr>
            </a:pPr>
            <a:r>
              <a:rPr lang="zh-CN" altLang="en-US" sz="800">
                <a:latin typeface="+mn-lt"/>
                <a:ea typeface="SimSun"/>
                <a:cs typeface="Times New Roman"/>
              </a:rPr>
              <a:t>      亚洲总部荣获</a:t>
            </a:r>
            <a:r>
              <a:rPr lang="en-US" sz="800">
                <a:latin typeface="+mn-lt"/>
                <a:ea typeface="SimSun"/>
                <a:cs typeface="Times New Roman"/>
              </a:rPr>
              <a:t>LEED</a:t>
            </a:r>
            <a:r>
              <a:rPr lang="zh-CN" altLang="en-US" sz="800">
                <a:latin typeface="+mn-lt"/>
                <a:ea typeface="SimSun"/>
                <a:cs typeface="Times New Roman"/>
              </a:rPr>
              <a:t>金奖认证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FA7F30-31B1-A574-7F76-51D46799DBB7}"/>
              </a:ext>
            </a:extLst>
          </p:cNvPr>
          <p:cNvSpPr txBox="1"/>
          <p:nvPr/>
        </p:nvSpPr>
        <p:spPr>
          <a:xfrm>
            <a:off x="4762221" y="3334749"/>
            <a:ext cx="2446097" cy="144655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nl-BE"/>
            </a:defPPr>
            <a:lvl1pPr algn="ctr">
              <a:buClr>
                <a:srgbClr val="FF602C"/>
              </a:buClr>
              <a:buNone/>
              <a:defRPr sz="800" kern="100">
                <a:effectLst/>
                <a:ea typeface="SimSun" panose="02010600030101010101" pitchFamily="2" charset="-122"/>
                <a:cs typeface="Times New Roman" panose="02020603050405020304" pitchFamily="18" charset="0"/>
              </a:defRPr>
            </a:lvl1pPr>
          </a:lstStyle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en-US" altLang="zh-CN">
                <a:ea typeface="SimSun"/>
                <a:cs typeface="Times New Roman"/>
              </a:rPr>
              <a:t>TIME’s Top 500 of the World’s Most Sustainable Companies</a:t>
            </a:r>
          </a:p>
          <a:p>
            <a:pPr algn="l"/>
            <a:r>
              <a:rPr lang="zh-CN" altLang="en-US">
                <a:ea typeface="SimSun"/>
                <a:cs typeface="Times New Roman"/>
              </a:rPr>
              <a:t>      时代周刊全球最可持续企业</a:t>
            </a:r>
            <a:r>
              <a:rPr lang="en-US" altLang="zh-CN">
                <a:ea typeface="SimSun"/>
                <a:cs typeface="Times New Roman"/>
              </a:rPr>
              <a:t>500</a:t>
            </a:r>
            <a:r>
              <a:rPr lang="zh-CN" altLang="en-US">
                <a:ea typeface="SimSun"/>
                <a:cs typeface="Times New Roman"/>
              </a:rPr>
              <a:t>强</a:t>
            </a:r>
            <a:endParaRPr lang="en-US" altLang="zh-CN">
              <a:ea typeface="SimSun"/>
              <a:cs typeface="Times New Roman"/>
            </a:endParaRPr>
          </a:p>
          <a:p>
            <a:pPr algn="l"/>
            <a:endParaRPr lang="en-US" altLang="zh-CN" sz="400"/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en-US" altLang="zh-CN">
                <a:ea typeface="SimSun"/>
                <a:cs typeface="Times New Roman"/>
              </a:rPr>
              <a:t>HRC receives TÜV NORD Certification</a:t>
            </a:r>
          </a:p>
          <a:p>
            <a:pPr algn="l"/>
            <a:r>
              <a:rPr lang="zh-CN" altLang="en-US">
                <a:ea typeface="SimSun"/>
                <a:cs typeface="Times New Roman"/>
              </a:rPr>
              <a:t>     回收钢获</a:t>
            </a:r>
            <a:r>
              <a:rPr lang="en-US" altLang="zh-CN">
                <a:ea typeface="SimSun"/>
                <a:cs typeface="Times New Roman"/>
              </a:rPr>
              <a:t>TÜV NORD</a:t>
            </a:r>
            <a:r>
              <a:rPr lang="zh-CN" altLang="en-US">
                <a:ea typeface="SimSun"/>
                <a:cs typeface="Times New Roman"/>
              </a:rPr>
              <a:t>权威认证</a:t>
            </a:r>
            <a:endParaRPr lang="en-US" altLang="zh-CN">
              <a:ea typeface="SimSun"/>
              <a:cs typeface="Times New Roman"/>
            </a:endParaRPr>
          </a:p>
          <a:p>
            <a:pPr algn="l"/>
            <a:endParaRPr lang="en-US" altLang="zh-CN" sz="400"/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en-US" altLang="zh-CN">
                <a:ea typeface="SimSun"/>
                <a:cs typeface="Times New Roman"/>
              </a:rPr>
              <a:t>China Green Point Award by YiCai</a:t>
            </a:r>
          </a:p>
          <a:p>
            <a:pPr algn="l"/>
            <a:r>
              <a:rPr lang="zh-CN" altLang="en-US">
                <a:ea typeface="SimSun"/>
                <a:cs typeface="Times New Roman"/>
              </a:rPr>
              <a:t>      第一财经“绿点中国</a:t>
            </a:r>
            <a:r>
              <a:rPr lang="en-US" altLang="zh-CN">
                <a:ea typeface="SimSun"/>
                <a:cs typeface="Times New Roman"/>
              </a:rPr>
              <a:t>•</a:t>
            </a:r>
            <a:r>
              <a:rPr lang="zh-CN" altLang="en-US">
                <a:ea typeface="SimSun"/>
                <a:cs typeface="Times New Roman"/>
              </a:rPr>
              <a:t>绿贝奖”</a:t>
            </a:r>
            <a:endParaRPr lang="en-US" altLang="zh-CN">
              <a:ea typeface="SimSun"/>
              <a:cs typeface="Times New Roman"/>
            </a:endParaRPr>
          </a:p>
          <a:p>
            <a:pPr algn="l"/>
            <a:endParaRPr lang="en-US" altLang="zh-CN" sz="400"/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en-US" altLang="zh-CN">
                <a:ea typeface="SimSun"/>
                <a:cs typeface="Times New Roman"/>
              </a:rPr>
              <a:t>OTIS Global Best Quality Supplier Award</a:t>
            </a:r>
          </a:p>
          <a:p>
            <a:pPr algn="l"/>
            <a:r>
              <a:rPr lang="zh-CN" altLang="en-US"/>
              <a:t>      奥的斯“全球最佳质量奖”</a:t>
            </a:r>
            <a:endParaRPr lang="en-US" altLang="zh-CN"/>
          </a:p>
          <a:p>
            <a:pPr algn="l"/>
            <a:endParaRPr lang="en-US" altLang="zh-CN" sz="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9B578B-07E9-9CF9-87F5-65EB12370008}"/>
              </a:ext>
            </a:extLst>
          </p:cNvPr>
          <p:cNvSpPr txBox="1"/>
          <p:nvPr/>
        </p:nvSpPr>
        <p:spPr>
          <a:xfrm>
            <a:off x="7157650" y="3362713"/>
            <a:ext cx="1859869" cy="7078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nl-BE"/>
            </a:defPPr>
            <a:lvl1pPr algn="ctr">
              <a:buClr>
                <a:srgbClr val="FF602C"/>
              </a:buClr>
              <a:buNone/>
              <a:defRPr sz="800" kern="100">
                <a:effectLst/>
                <a:ea typeface="SimSun" panose="02010600030101010101" pitchFamily="2" charset="-122"/>
                <a:cs typeface="Times New Roman" panose="02020603050405020304" pitchFamily="18" charset="0"/>
              </a:defRPr>
            </a:lvl1pPr>
          </a:lstStyle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en-US">
                <a:ea typeface="SimSun"/>
                <a:cs typeface="Times New Roman"/>
              </a:rPr>
              <a:t>Material Innovation of the Year for Mega Tensile</a:t>
            </a:r>
          </a:p>
          <a:p>
            <a:pPr algn="l"/>
            <a:r>
              <a:rPr lang="zh-CN" altLang="en-US">
                <a:ea typeface="SimSun"/>
                <a:cs typeface="Times New Roman"/>
              </a:rPr>
              <a:t>      年度材料</a:t>
            </a:r>
            <a:r>
              <a:rPr lang="en-US">
                <a:ea typeface="SimSun"/>
                <a:cs typeface="Times New Roman"/>
              </a:rPr>
              <a:t>创新</a:t>
            </a:r>
            <a:r>
              <a:rPr lang="zh-CN" altLang="en-US">
                <a:ea typeface="SimSun"/>
                <a:cs typeface="Times New Roman"/>
              </a:rPr>
              <a:t>大</a:t>
            </a:r>
            <a:r>
              <a:rPr lang="en-US">
                <a:ea typeface="SimSun"/>
                <a:cs typeface="Times New Roman"/>
              </a:rPr>
              <a:t>奖</a:t>
            </a:r>
          </a:p>
          <a:p>
            <a:pPr algn="l"/>
            <a:r>
              <a:rPr lang="en-US">
                <a:ea typeface="SimSun"/>
                <a:cs typeface="Times New Roman"/>
              </a:rPr>
              <a:t>      (Mega Tensile)</a:t>
            </a:r>
          </a:p>
          <a:p>
            <a:pPr algn="l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CBB3042-CBB2-2DFC-18DB-6D56A5867A03}"/>
              </a:ext>
            </a:extLst>
          </p:cNvPr>
          <p:cNvSpPr txBox="1"/>
          <p:nvPr/>
        </p:nvSpPr>
        <p:spPr>
          <a:xfrm>
            <a:off x="7721826" y="3011896"/>
            <a:ext cx="731517" cy="30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fr-BE" sz="1200" b="1">
                <a:solidFill>
                  <a:srgbClr val="FF602C"/>
                </a:solidFill>
              </a:rPr>
              <a:t>2025</a:t>
            </a:r>
            <a:endParaRPr lang="en-BE" sz="1200" b="1">
              <a:solidFill>
                <a:srgbClr val="FF602C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2A6CA89-5A5B-DA2B-67AC-BE0CC560456A}"/>
              </a:ext>
            </a:extLst>
          </p:cNvPr>
          <p:cNvSpPr txBox="1"/>
          <p:nvPr/>
        </p:nvSpPr>
        <p:spPr>
          <a:xfrm>
            <a:off x="1089523" y="3019702"/>
            <a:ext cx="731517" cy="30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fr-BE" sz="1200" b="1">
                <a:solidFill>
                  <a:srgbClr val="FF602C"/>
                </a:solidFill>
              </a:rPr>
              <a:t>2022</a:t>
            </a:r>
            <a:endParaRPr lang="en-BE" sz="1200" b="1">
              <a:solidFill>
                <a:srgbClr val="FF602C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C871963-E80C-E07F-AFFA-833278E0165D}"/>
              </a:ext>
            </a:extLst>
          </p:cNvPr>
          <p:cNvSpPr txBox="1"/>
          <p:nvPr/>
        </p:nvSpPr>
        <p:spPr>
          <a:xfrm>
            <a:off x="5619511" y="2993895"/>
            <a:ext cx="731517" cy="30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fr-BE" sz="1200" b="1">
                <a:solidFill>
                  <a:srgbClr val="FF602C"/>
                </a:solidFill>
              </a:rPr>
              <a:t>2024</a:t>
            </a:r>
            <a:endParaRPr lang="en-BE" sz="1200" b="1">
              <a:solidFill>
                <a:srgbClr val="FF602C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26603DA-B2D8-0706-8839-FB5C663F8B57}"/>
              </a:ext>
            </a:extLst>
          </p:cNvPr>
          <p:cNvSpPr txBox="1"/>
          <p:nvPr/>
        </p:nvSpPr>
        <p:spPr>
          <a:xfrm>
            <a:off x="3233838" y="3004458"/>
            <a:ext cx="731517" cy="30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  <a:defRPr sz="1200" b="1"/>
            </a:lvl1pPr>
          </a:lstStyle>
          <a:p>
            <a:r>
              <a:rPr lang="fr-BE">
                <a:solidFill>
                  <a:srgbClr val="FF602C"/>
                </a:solidFill>
              </a:rPr>
              <a:t>2023</a:t>
            </a:r>
            <a:endParaRPr lang="en-BE">
              <a:solidFill>
                <a:srgbClr val="FF602C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F56921C3-6E94-A06A-2849-1A9BDFE33C2C}"/>
              </a:ext>
            </a:extLst>
          </p:cNvPr>
          <p:cNvSpPr txBox="1">
            <a:spLocks/>
          </p:cNvSpPr>
          <p:nvPr/>
        </p:nvSpPr>
        <p:spPr>
          <a:xfrm>
            <a:off x="146528" y="252092"/>
            <a:ext cx="8735144" cy="42115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800"/>
              <a:t>Awards and recognition </a:t>
            </a:r>
            <a:r>
              <a:rPr lang="zh-CN" altLang="en-US" sz="1800"/>
              <a:t>荣誉与认可</a:t>
            </a:r>
            <a:endParaRPr lang="en-US" sz="1800"/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0637AE23-B0AA-72AC-AF39-13B7101FD6FF}"/>
              </a:ext>
            </a:extLst>
          </p:cNvPr>
          <p:cNvCxnSpPr>
            <a:cxnSpLocks/>
          </p:cNvCxnSpPr>
          <p:nvPr/>
        </p:nvCxnSpPr>
        <p:spPr>
          <a:xfrm>
            <a:off x="96012" y="2968831"/>
            <a:ext cx="8951976" cy="0"/>
          </a:xfrm>
          <a:prstGeom prst="straightConnector1">
            <a:avLst/>
          </a:prstGeom>
          <a:ln w="28575">
            <a:solidFill>
              <a:schemeClr val="accent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15320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wearing glasses and standing in front of a wall&#10;&#10;AI-generated content may be incorrect.">
            <a:extLst>
              <a:ext uri="{FF2B5EF4-FFF2-40B4-BE49-F238E27FC236}">
                <a16:creationId xmlns:a16="http://schemas.microsoft.com/office/drawing/2014/main" id="{E07E4330-631A-BD5C-C3E0-FE61FD05AC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39"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EF754A0-58ED-0F70-E8F0-E2C61C0397A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75688" y="4673600"/>
            <a:ext cx="468312" cy="201613"/>
          </a:xfrm>
        </p:spPr>
        <p:txBody>
          <a:bodyPr/>
          <a:lstStyle/>
          <a:p>
            <a:fld id="{E8B57AA4-CC86-403A-9F2D-99B44CA83CE4}" type="slidenum">
              <a:rPr lang="nl-BE" smtClean="0"/>
              <a:pPr/>
              <a:t>34</a:t>
            </a:fld>
            <a:endParaRPr lang="nl-B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496B01-2564-E844-D5EC-1AEC0A2240B6}"/>
              </a:ext>
            </a:extLst>
          </p:cNvPr>
          <p:cNvSpPr txBox="1">
            <a:spLocks/>
          </p:cNvSpPr>
          <p:nvPr/>
        </p:nvSpPr>
        <p:spPr>
          <a:xfrm>
            <a:off x="329905" y="3138940"/>
            <a:ext cx="5542443" cy="1384995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800">
                <a:latin typeface="Bekaert Headline"/>
                <a:cs typeface="Arial"/>
              </a:rPr>
              <a:t>Learn more about how we</a:t>
            </a:r>
            <a:r>
              <a:rPr lang="en-BE" sz="2800">
                <a:latin typeface="Bekaert Headline"/>
                <a:cs typeface="Arial"/>
              </a:rPr>
              <a:t>’re</a:t>
            </a:r>
            <a:r>
              <a:rPr lang="en-GB" sz="2800">
                <a:latin typeface="Bekaert Headline"/>
                <a:cs typeface="Arial"/>
              </a:rPr>
              <a:t> Shap</a:t>
            </a:r>
            <a:r>
              <a:rPr lang="en-BE" sz="2800">
                <a:latin typeface="Bekaert Headline"/>
                <a:cs typeface="Arial"/>
              </a:rPr>
              <a:t>ing</a:t>
            </a:r>
            <a:r>
              <a:rPr lang="en-GB" sz="2800">
                <a:latin typeface="Bekaert Headline"/>
                <a:cs typeface="Arial"/>
              </a:rPr>
              <a:t> the </a:t>
            </a:r>
            <a:r>
              <a:rPr lang="en-BE" sz="2800">
                <a:latin typeface="Bekaert Headline"/>
                <a:cs typeface="Arial"/>
              </a:rPr>
              <a:t>way</a:t>
            </a:r>
            <a:r>
              <a:rPr lang="en-GB" sz="2800">
                <a:latin typeface="Bekaert Headline"/>
                <a:cs typeface="Arial"/>
              </a:rPr>
              <a:t> we live and move</a:t>
            </a:r>
            <a:br>
              <a:rPr lang="en-GB" sz="2800">
                <a:latin typeface="Bekaert Headline" panose="020B0503030203020203" pitchFamily="34" charset="77"/>
              </a:rPr>
            </a:br>
            <a:r>
              <a:rPr lang="zh-CN" altLang="en-US" sz="2800">
                <a:latin typeface="Bekaert Headline"/>
                <a:cs typeface="Arial"/>
              </a:rPr>
              <a:t>探索更多生活与出行的全新可能</a:t>
            </a:r>
            <a:endParaRPr lang="en-US" sz="2800" b="1">
              <a:latin typeface="Bekaert Headline"/>
              <a:cs typeface="Arial"/>
            </a:endParaRPr>
          </a:p>
        </p:txBody>
      </p:sp>
      <p:pic>
        <p:nvPicPr>
          <p:cNvPr id="10" name="Picture 9" descr="Qr code&#10;&#10;Description automatically generated">
            <a:extLst>
              <a:ext uri="{FF2B5EF4-FFF2-40B4-BE49-F238E27FC236}">
                <a16:creationId xmlns:a16="http://schemas.microsoft.com/office/drawing/2014/main" id="{FD322D98-829B-B734-584D-4C6408D117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7897" y="2582213"/>
            <a:ext cx="766634" cy="766634"/>
          </a:xfrm>
          <a:prstGeom prst="rect">
            <a:avLst/>
          </a:prstGeom>
        </p:spPr>
      </p:pic>
      <p:sp>
        <p:nvSpPr>
          <p:cNvPr id="11" name="文本框 6">
            <a:extLst>
              <a:ext uri="{FF2B5EF4-FFF2-40B4-BE49-F238E27FC236}">
                <a16:creationId xmlns:a16="http://schemas.microsoft.com/office/drawing/2014/main" id="{EC905093-CD50-E722-E69E-7099E63173CC}"/>
              </a:ext>
            </a:extLst>
          </p:cNvPr>
          <p:cNvSpPr txBox="1"/>
          <p:nvPr/>
        </p:nvSpPr>
        <p:spPr>
          <a:xfrm>
            <a:off x="6156366" y="3374328"/>
            <a:ext cx="1269697" cy="235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zh-CN" altLang="en-US" sz="800">
                <a:solidFill>
                  <a:schemeClr val="bg1"/>
                </a:solidFill>
              </a:rPr>
              <a:t>英文网站</a:t>
            </a:r>
            <a:r>
              <a:rPr lang="en-US" altLang="zh-CN" sz="800">
                <a:solidFill>
                  <a:schemeClr val="bg1"/>
                </a:solidFill>
              </a:rPr>
              <a:t>(EN website)</a:t>
            </a:r>
            <a:endParaRPr lang="zh-CN" altLang="en-US" sz="800">
              <a:solidFill>
                <a:schemeClr val="bg1"/>
              </a:solidFill>
            </a:endParaRPr>
          </a:p>
        </p:txBody>
      </p:sp>
      <p:sp>
        <p:nvSpPr>
          <p:cNvPr id="12" name="文本框 9">
            <a:extLst>
              <a:ext uri="{FF2B5EF4-FFF2-40B4-BE49-F238E27FC236}">
                <a16:creationId xmlns:a16="http://schemas.microsoft.com/office/drawing/2014/main" id="{4B5B71D5-2348-B769-7840-35124092FD1C}"/>
              </a:ext>
            </a:extLst>
          </p:cNvPr>
          <p:cNvSpPr txBox="1"/>
          <p:nvPr/>
        </p:nvSpPr>
        <p:spPr>
          <a:xfrm>
            <a:off x="6086807" y="4555317"/>
            <a:ext cx="1408815" cy="243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  <a:defRPr sz="800" b="1">
                <a:solidFill>
                  <a:srgbClr val="FF602C"/>
                </a:solidFill>
              </a:defRPr>
            </a:lvl1pPr>
          </a:lstStyle>
          <a:p>
            <a:r>
              <a:rPr lang="zh-CN" altLang="en-US" b="0">
                <a:solidFill>
                  <a:schemeClr val="bg1"/>
                </a:solidFill>
              </a:rPr>
              <a:t>微信公众号</a:t>
            </a:r>
            <a:r>
              <a:rPr lang="en-US" altLang="zh-CN" b="0">
                <a:solidFill>
                  <a:schemeClr val="bg1"/>
                </a:solidFill>
              </a:rPr>
              <a:t>(WeChat)</a:t>
            </a:r>
            <a:endParaRPr lang="zh-CN" altLang="en-US" b="0">
              <a:solidFill>
                <a:schemeClr val="bg1"/>
              </a:solidFill>
            </a:endParaRPr>
          </a:p>
        </p:txBody>
      </p:sp>
      <p:pic>
        <p:nvPicPr>
          <p:cNvPr id="13" name="图片 10" descr="QR 代码&#10;&#10;描述已自动生成">
            <a:extLst>
              <a:ext uri="{FF2B5EF4-FFF2-40B4-BE49-F238E27FC236}">
                <a16:creationId xmlns:a16="http://schemas.microsoft.com/office/drawing/2014/main" id="{AD54B4FF-EB1B-97C0-B80C-06DCA9E69C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498" y="3754046"/>
            <a:ext cx="785433" cy="785433"/>
          </a:xfrm>
          <a:prstGeom prst="rect">
            <a:avLst/>
          </a:prstGeom>
        </p:spPr>
      </p:pic>
      <p:sp>
        <p:nvSpPr>
          <p:cNvPr id="14" name="文本框 11">
            <a:extLst>
              <a:ext uri="{FF2B5EF4-FFF2-40B4-BE49-F238E27FC236}">
                <a16:creationId xmlns:a16="http://schemas.microsoft.com/office/drawing/2014/main" id="{33399B3B-F378-7CC5-C455-CC6EB64A9F59}"/>
              </a:ext>
            </a:extLst>
          </p:cNvPr>
          <p:cNvSpPr txBox="1"/>
          <p:nvPr/>
        </p:nvSpPr>
        <p:spPr>
          <a:xfrm>
            <a:off x="7251725" y="4555317"/>
            <a:ext cx="1408815" cy="235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  <a:defRPr sz="800" b="1">
                <a:solidFill>
                  <a:srgbClr val="FF602C"/>
                </a:solidFill>
              </a:defRPr>
            </a:lvl1pPr>
          </a:lstStyle>
          <a:p>
            <a:r>
              <a:rPr lang="zh-CN" altLang="en-US" b="0">
                <a:solidFill>
                  <a:schemeClr val="bg1"/>
                </a:solidFill>
              </a:rPr>
              <a:t>视频号</a:t>
            </a:r>
            <a:r>
              <a:rPr lang="en-US" altLang="zh-CN" b="0">
                <a:solidFill>
                  <a:schemeClr val="bg1"/>
                </a:solidFill>
              </a:rPr>
              <a:t>(Video Channel)</a:t>
            </a:r>
            <a:endParaRPr lang="zh-CN" altLang="en-US" b="0">
              <a:solidFill>
                <a:schemeClr val="bg1"/>
              </a:solidFill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DF56F58-EE02-BEC6-98AE-63C933151AE5}"/>
              </a:ext>
            </a:extLst>
          </p:cNvPr>
          <p:cNvSpPr txBox="1"/>
          <p:nvPr/>
        </p:nvSpPr>
        <p:spPr>
          <a:xfrm>
            <a:off x="7205293" y="3374328"/>
            <a:ext cx="1501678" cy="235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 algn="ctr">
              <a:lnSpc>
                <a:spcPct val="130000"/>
              </a:lnSpc>
              <a:spcAft>
                <a:spcPts val="800"/>
              </a:spcAft>
              <a:buClr>
                <a:schemeClr val="accent1"/>
              </a:buClr>
              <a:defRPr sz="800" b="1">
                <a:solidFill>
                  <a:srgbClr val="FF602C"/>
                </a:solidFill>
              </a:defRPr>
            </a:lvl1pPr>
          </a:lstStyle>
          <a:p>
            <a:r>
              <a:rPr lang="zh-CN" altLang="en-US" b="0">
                <a:solidFill>
                  <a:schemeClr val="bg1"/>
                </a:solidFill>
              </a:rPr>
              <a:t>中文网站</a:t>
            </a:r>
            <a:r>
              <a:rPr lang="en-US" altLang="zh-CN" b="0">
                <a:solidFill>
                  <a:schemeClr val="bg1"/>
                </a:solidFill>
              </a:rPr>
              <a:t>(CN website)</a:t>
            </a:r>
            <a:endParaRPr lang="zh-CN" altLang="en-US" b="0">
              <a:solidFill>
                <a:schemeClr val="bg1"/>
              </a:solidFill>
            </a:endParaRPr>
          </a:p>
        </p:txBody>
      </p:sp>
      <p:pic>
        <p:nvPicPr>
          <p:cNvPr id="16" name="图片 8" descr="QR 代码&#10;&#10;描述已自动生成">
            <a:extLst>
              <a:ext uri="{FF2B5EF4-FFF2-40B4-BE49-F238E27FC236}">
                <a16:creationId xmlns:a16="http://schemas.microsoft.com/office/drawing/2014/main" id="{AE638B9E-2177-4504-80AE-9914C620502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2815" y="2582213"/>
            <a:ext cx="766634" cy="766634"/>
          </a:xfrm>
          <a:prstGeom prst="rect">
            <a:avLst/>
          </a:prstGeom>
        </p:spPr>
      </p:pic>
      <p:pic>
        <p:nvPicPr>
          <p:cNvPr id="17" name="图片 18" descr="QR 代码&#10;&#10;描述已自动生成">
            <a:extLst>
              <a:ext uri="{FF2B5EF4-FFF2-40B4-BE49-F238E27FC236}">
                <a16:creationId xmlns:a16="http://schemas.microsoft.com/office/drawing/2014/main" id="{BC0B9700-C1C4-3357-B33D-1EFD64793D7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60" t="22328" r="9424" b="15346"/>
          <a:stretch/>
        </p:blipFill>
        <p:spPr>
          <a:xfrm>
            <a:off x="7559995" y="3747204"/>
            <a:ext cx="792275" cy="792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8007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51884DB-DB7B-1C30-6DF8-F223DDD1410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" y="10"/>
            <a:ext cx="9143980" cy="5143490"/>
          </a:xfrm>
          <a:prstGeom prst="rect">
            <a:avLst/>
          </a:prstGeom>
          <a:noFill/>
        </p:spPr>
      </p:pic>
      <p:pic>
        <p:nvPicPr>
          <p:cNvPr id="3" name="OUTRO.mp4">
            <a:hlinkClick r:id="" action="ppaction://media"/>
            <a:extLst>
              <a:ext uri="{FF2B5EF4-FFF2-40B4-BE49-F238E27FC236}">
                <a16:creationId xmlns:a16="http://schemas.microsoft.com/office/drawing/2014/main" id="{68A7B74A-57CF-30FF-0822-4FA6B8EA48C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475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86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ABDD6F-B6F3-34E5-375A-107EE8DD34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wearing safety glasses and gloves&#10;&#10;Description automatically generated">
            <a:extLst>
              <a:ext uri="{FF2B5EF4-FFF2-40B4-BE49-F238E27FC236}">
                <a16:creationId xmlns:a16="http://schemas.microsoft.com/office/drawing/2014/main" id="{F1A2D57A-0D7B-7D09-D603-6AE267C794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180489" cy="5141822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0F307B3-C843-DCBB-10D9-387BD0E49A00}"/>
              </a:ext>
            </a:extLst>
          </p:cNvPr>
          <p:cNvSpPr txBox="1">
            <a:spLocks/>
          </p:cNvSpPr>
          <p:nvPr/>
        </p:nvSpPr>
        <p:spPr>
          <a:xfrm>
            <a:off x="432754" y="414930"/>
            <a:ext cx="7942513" cy="1384995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kumimoji="0" lang="nl-BE" altLang="zh-CN" sz="3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Bekaert at a glanc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1ADEF"/>
              </a:buClr>
              <a:buSzTx/>
              <a:buFontTx/>
              <a:buNone/>
              <a:tabLst/>
              <a:defRPr/>
            </a:pPr>
            <a:r>
              <a:rPr kumimoji="0" lang="zh-CN" altLang="nl-NL" sz="3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贝卡尔特</a:t>
            </a:r>
            <a:r>
              <a:rPr lang="zh-CN" altLang="en-US" sz="3200" b="1" spc="0">
                <a:solidFill>
                  <a:schemeClr val="bg1"/>
                </a:solidFill>
                <a:latin typeface="Bekaert Text"/>
                <a:ea typeface="+mn-ea"/>
                <a:cs typeface="+mn-cs"/>
              </a:rPr>
              <a:t>，星河一览</a:t>
            </a:r>
            <a:r>
              <a:rPr kumimoji="0" lang="zh-CN" altLang="nl-NL" sz="3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ekaert Text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3743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2816A0-2706-F89E-3957-8E6E879725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9FFE00CE-3F68-17DF-9DD9-D2A9316561CE}"/>
              </a:ext>
            </a:extLst>
          </p:cNvPr>
          <p:cNvGrpSpPr/>
          <p:nvPr/>
        </p:nvGrpSpPr>
        <p:grpSpPr>
          <a:xfrm>
            <a:off x="7315200" y="0"/>
            <a:ext cx="2078378" cy="5143500"/>
            <a:chOff x="4114800" y="0"/>
            <a:chExt cx="2078378" cy="514350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636396C-6837-5C66-8D3B-CC2577073EB4}"/>
                </a:ext>
              </a:extLst>
            </p:cNvPr>
            <p:cNvGrpSpPr/>
            <p:nvPr/>
          </p:nvGrpSpPr>
          <p:grpSpPr>
            <a:xfrm>
              <a:off x="4114800" y="0"/>
              <a:ext cx="1828800" cy="5143500"/>
              <a:chOff x="7315200" y="0"/>
              <a:chExt cx="1828800" cy="514350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B694517C-59F6-96CF-1BE7-BC730802B3CD}"/>
                  </a:ext>
                </a:extLst>
              </p:cNvPr>
              <p:cNvSpPr/>
              <p:nvPr/>
            </p:nvSpPr>
            <p:spPr>
              <a:xfrm>
                <a:off x="7315200" y="0"/>
                <a:ext cx="1828800" cy="5143500"/>
              </a:xfrm>
              <a:prstGeom prst="rect">
                <a:avLst/>
              </a:prstGeom>
              <a:solidFill>
                <a:srgbClr val="F1E1C0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130000"/>
                  </a:lnSpc>
                </a:pPr>
                <a:endParaRPr lang="en-BE" sz="1200" b="0" i="0" err="1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8F20F0D-DA0E-257E-73CE-12D35E709BB0}"/>
                  </a:ext>
                </a:extLst>
              </p:cNvPr>
              <p:cNvSpPr txBox="1"/>
              <p:nvPr/>
            </p:nvSpPr>
            <p:spPr>
              <a:xfrm>
                <a:off x="7484746" y="2111188"/>
                <a:ext cx="1620371" cy="8833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lnSpc>
                    <a:spcPct val="110000"/>
                  </a:lnSpc>
                  <a:spcAft>
                    <a:spcPts val="400"/>
                  </a:spcAft>
                  <a:buClr>
                    <a:schemeClr val="accent1"/>
                  </a:buClr>
                </a:pPr>
                <a:r>
                  <a:rPr lang="en-GB" sz="1200" b="1">
                    <a:solidFill>
                      <a:srgbClr val="764930"/>
                    </a:solidFill>
                  </a:rPr>
                  <a:t>Sustainable company</a:t>
                </a:r>
                <a:br>
                  <a:rPr lang="en-GB" sz="1200" b="1">
                    <a:solidFill>
                      <a:srgbClr val="764930"/>
                    </a:solidFill>
                  </a:rPr>
                </a:br>
                <a:r>
                  <a:rPr lang="en-GB" sz="1200">
                    <a:solidFill>
                      <a:srgbClr val="764930"/>
                    </a:solidFill>
                  </a:rPr>
                  <a:t>with SBTi validated targets</a:t>
                </a:r>
              </a:p>
            </p:txBody>
          </p:sp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36B0FE47-B027-A3AC-D2AB-DF4FE3499C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694439" y="544606"/>
                <a:ext cx="1028700" cy="1028700"/>
              </a:xfrm>
              <a:prstGeom prst="rect">
                <a:avLst/>
              </a:prstGeom>
            </p:spPr>
          </p:pic>
        </p:grpSp>
        <p:sp>
          <p:nvSpPr>
            <p:cNvPr id="17" name="Triangle 36">
              <a:extLst>
                <a:ext uri="{FF2B5EF4-FFF2-40B4-BE49-F238E27FC236}">
                  <a16:creationId xmlns:a16="http://schemas.microsoft.com/office/drawing/2014/main" id="{75B5C729-B43D-84FE-2DA7-D6A0FE08DAA6}"/>
                </a:ext>
              </a:extLst>
            </p:cNvPr>
            <p:cNvSpPr/>
            <p:nvPr/>
          </p:nvSpPr>
          <p:spPr>
            <a:xfrm rot="5400000">
              <a:off x="5785764" y="405577"/>
              <a:ext cx="565250" cy="249578"/>
            </a:xfrm>
            <a:prstGeom prst="triangle">
              <a:avLst/>
            </a:prstGeom>
            <a:solidFill>
              <a:srgbClr val="F1E1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770F6FE-E4DA-6C9D-4E7F-D55EBBB0B5CE}"/>
              </a:ext>
            </a:extLst>
          </p:cNvPr>
          <p:cNvGrpSpPr/>
          <p:nvPr/>
        </p:nvGrpSpPr>
        <p:grpSpPr>
          <a:xfrm>
            <a:off x="5482751" y="0"/>
            <a:ext cx="2078378" cy="5143500"/>
            <a:chOff x="5486400" y="0"/>
            <a:chExt cx="2078378" cy="514350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BDFAEF2-CE16-A52E-B24B-513CD66E586E}"/>
                </a:ext>
              </a:extLst>
            </p:cNvPr>
            <p:cNvSpPr/>
            <p:nvPr/>
          </p:nvSpPr>
          <p:spPr>
            <a:xfrm>
              <a:off x="5486400" y="0"/>
              <a:ext cx="1835999" cy="5143500"/>
            </a:xfrm>
            <a:prstGeom prst="rect">
              <a:avLst/>
            </a:prstGeom>
            <a:solidFill>
              <a:srgbClr val="DDB38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D6281F0-F8B8-C419-D9F9-CDAA1F5521CE}"/>
                </a:ext>
              </a:extLst>
            </p:cNvPr>
            <p:cNvSpPr txBox="1"/>
            <p:nvPr/>
          </p:nvSpPr>
          <p:spPr>
            <a:xfrm>
              <a:off x="5694829" y="2111188"/>
              <a:ext cx="1620371" cy="29921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spcAft>
                  <a:spcPts val="400"/>
                </a:spcAft>
                <a:buClr>
                  <a:schemeClr val="accent1"/>
                </a:buClr>
              </a:pPr>
              <a:r>
                <a:rPr lang="en-GB" sz="1200">
                  <a:solidFill>
                    <a:schemeClr val="bg1"/>
                  </a:solidFill>
                </a:rPr>
                <a:t>Consolidated sales of </a:t>
              </a:r>
              <a:br>
                <a:rPr lang="en-GB" sz="1400">
                  <a:solidFill>
                    <a:schemeClr val="bg1"/>
                  </a:solidFill>
                </a:rPr>
              </a:br>
              <a:r>
                <a:rPr lang="en-GB" sz="1600" b="1">
                  <a:solidFill>
                    <a:schemeClr val="bg1"/>
                  </a:solidFill>
                </a:rPr>
                <a:t>€ 4.</a:t>
              </a:r>
              <a:r>
                <a:rPr lang="en-BE" sz="1600" b="1">
                  <a:solidFill>
                    <a:schemeClr val="bg1"/>
                  </a:solidFill>
                </a:rPr>
                <a:t>0</a:t>
              </a:r>
              <a:r>
                <a:rPr lang="en-GB" sz="1600" b="1">
                  <a:solidFill>
                    <a:schemeClr val="bg1"/>
                  </a:solidFill>
                </a:rPr>
                <a:t> bn</a:t>
              </a:r>
            </a:p>
            <a:p>
              <a:pPr algn="l">
                <a:buClr>
                  <a:schemeClr val="accent1"/>
                </a:buClr>
              </a:pPr>
              <a:r>
                <a:rPr lang="zh-CN" altLang="en-US" sz="1100">
                  <a:solidFill>
                    <a:schemeClr val="bg1"/>
                  </a:solidFill>
                </a:rPr>
                <a:t>合并销售额</a:t>
              </a:r>
              <a:r>
                <a:rPr lang="en-GB" sz="1100" b="1">
                  <a:solidFill>
                    <a:schemeClr val="bg1"/>
                  </a:solidFill>
                </a:rPr>
                <a:t>40</a:t>
              </a:r>
              <a:r>
                <a:rPr lang="zh-CN" altLang="en-US" sz="1100" b="1">
                  <a:solidFill>
                    <a:schemeClr val="bg1"/>
                  </a:solidFill>
                </a:rPr>
                <a:t>亿欧元</a:t>
              </a:r>
              <a:r>
                <a:rPr lang="en-GB" sz="1100" b="1">
                  <a:solidFill>
                    <a:schemeClr val="bg1"/>
                  </a:solidFill>
                </a:rPr>
                <a:t> </a:t>
              </a:r>
              <a:br>
                <a:rPr lang="en-GB" sz="1400">
                  <a:solidFill>
                    <a:schemeClr val="bg1"/>
                  </a:solidFill>
                </a:rPr>
              </a:br>
              <a:br>
                <a:rPr lang="en-GB" sz="1400">
                  <a:solidFill>
                    <a:schemeClr val="bg1"/>
                  </a:solidFill>
                </a:rPr>
              </a:br>
              <a:r>
                <a:rPr lang="en-GB" sz="1400">
                  <a:solidFill>
                    <a:schemeClr val="bg1"/>
                  </a:solidFill>
                </a:rPr>
                <a:t>EBITu </a:t>
              </a:r>
              <a:br>
                <a:rPr lang="en-GB" sz="1400">
                  <a:solidFill>
                    <a:schemeClr val="bg1"/>
                  </a:solidFill>
                </a:rPr>
              </a:br>
              <a:r>
                <a:rPr lang="en-GB" sz="1600" b="1">
                  <a:solidFill>
                    <a:schemeClr val="bg1"/>
                  </a:solidFill>
                </a:rPr>
                <a:t>€ 3</a:t>
              </a:r>
              <a:r>
                <a:rPr lang="en-BE" sz="1600" b="1">
                  <a:solidFill>
                    <a:schemeClr val="bg1"/>
                  </a:solidFill>
                </a:rPr>
                <a:t>4</a:t>
              </a:r>
              <a:r>
                <a:rPr lang="en-GB" sz="1600" b="1">
                  <a:solidFill>
                    <a:schemeClr val="bg1"/>
                  </a:solidFill>
                </a:rPr>
                <a:t>8 m</a:t>
              </a:r>
              <a:br>
                <a:rPr lang="en-GB" sz="1600" b="1">
                  <a:solidFill>
                    <a:schemeClr val="bg1"/>
                  </a:solidFill>
                </a:rPr>
              </a:br>
              <a:r>
                <a:rPr lang="zh-CN" altLang="en-US" sz="1100">
                  <a:solidFill>
                    <a:schemeClr val="bg1"/>
                  </a:solidFill>
                </a:rPr>
                <a:t>基础息税前利润</a:t>
              </a:r>
              <a:br>
                <a:rPr lang="en-GB" sz="1100">
                  <a:solidFill>
                    <a:schemeClr val="bg1"/>
                  </a:solidFill>
                </a:rPr>
              </a:br>
              <a:r>
                <a:rPr lang="en-GB" sz="1100" b="1">
                  <a:solidFill>
                    <a:schemeClr val="bg1"/>
                  </a:solidFill>
                </a:rPr>
                <a:t>3.48</a:t>
              </a:r>
              <a:r>
                <a:rPr lang="zh-CN" altLang="en-US" sz="1100" b="1">
                  <a:solidFill>
                    <a:schemeClr val="bg1"/>
                  </a:solidFill>
                </a:rPr>
                <a:t>亿欧元</a:t>
              </a:r>
              <a:endParaRPr lang="en-US" altLang="zh-CN" sz="1100" b="1">
                <a:solidFill>
                  <a:schemeClr val="bg1"/>
                </a:solidFill>
              </a:endParaRPr>
            </a:p>
            <a:p>
              <a:pPr algn="l">
                <a:buClr>
                  <a:schemeClr val="accent1"/>
                </a:buClr>
              </a:pPr>
              <a:endParaRPr lang="en-GB" sz="1200" b="1">
                <a:solidFill>
                  <a:schemeClr val="bg1"/>
                </a:solidFill>
              </a:endParaRPr>
            </a:p>
            <a:p>
              <a:pPr algn="l">
                <a:buClr>
                  <a:schemeClr val="accent1"/>
                </a:buClr>
              </a:pPr>
              <a:r>
                <a:rPr lang="en-GB" sz="1600" b="1">
                  <a:solidFill>
                    <a:schemeClr val="bg1"/>
                  </a:solidFill>
                </a:rPr>
                <a:t>€ 7</a:t>
              </a:r>
              <a:r>
                <a:rPr lang="en-BE" sz="1600" b="1">
                  <a:solidFill>
                    <a:schemeClr val="bg1"/>
                  </a:solidFill>
                </a:rPr>
                <a:t>4</a:t>
              </a:r>
              <a:r>
                <a:rPr lang="en-GB" sz="1600" b="1">
                  <a:solidFill>
                    <a:schemeClr val="bg1"/>
                  </a:solidFill>
                </a:rPr>
                <a:t> m </a:t>
              </a:r>
              <a:br>
                <a:rPr lang="en-GB" sz="1400">
                  <a:solidFill>
                    <a:schemeClr val="bg1"/>
                  </a:solidFill>
                </a:rPr>
              </a:br>
              <a:r>
                <a:rPr lang="en-GB" sz="1200">
                  <a:solidFill>
                    <a:schemeClr val="bg1"/>
                  </a:solidFill>
                </a:rPr>
                <a:t>in R&amp;D</a:t>
              </a:r>
            </a:p>
            <a:p>
              <a:pPr algn="l">
                <a:spcAft>
                  <a:spcPts val="400"/>
                </a:spcAft>
                <a:buClr>
                  <a:schemeClr val="accent1"/>
                </a:buClr>
              </a:pPr>
              <a:r>
                <a:rPr lang="en-GB" sz="1100">
                  <a:solidFill>
                    <a:schemeClr val="bg1"/>
                  </a:solidFill>
                </a:rPr>
                <a:t>7400</a:t>
              </a:r>
              <a:r>
                <a:rPr lang="zh-CN" altLang="en-US" sz="1100">
                  <a:solidFill>
                    <a:schemeClr val="bg1"/>
                  </a:solidFill>
                </a:rPr>
                <a:t>万元研发投入</a:t>
              </a:r>
              <a:endParaRPr lang="en-GB" sz="1100">
                <a:solidFill>
                  <a:schemeClr val="bg1"/>
                </a:solidFill>
              </a:endParaRPr>
            </a:p>
            <a:p>
              <a:pPr algn="l">
                <a:lnSpc>
                  <a:spcPct val="110000"/>
                </a:lnSpc>
                <a:spcAft>
                  <a:spcPts val="400"/>
                </a:spcAft>
                <a:buClr>
                  <a:schemeClr val="accent1"/>
                </a:buClr>
              </a:pPr>
              <a:endParaRPr lang="en-GB" sz="1400" b="1">
                <a:solidFill>
                  <a:schemeClr val="bg1"/>
                </a:solidFill>
              </a:endParaRPr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1A627ECA-D8C4-CB5D-CFB5-4D928DE9F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831784" y="544606"/>
              <a:ext cx="1028700" cy="1028700"/>
            </a:xfrm>
            <a:prstGeom prst="rect">
              <a:avLst/>
            </a:prstGeom>
          </p:spPr>
        </p:pic>
        <p:sp>
          <p:nvSpPr>
            <p:cNvPr id="37" name="Triangle 26">
              <a:extLst>
                <a:ext uri="{FF2B5EF4-FFF2-40B4-BE49-F238E27FC236}">
                  <a16:creationId xmlns:a16="http://schemas.microsoft.com/office/drawing/2014/main" id="{63A45D1E-D9E6-59B7-5401-8590C5FEDAC8}"/>
                </a:ext>
              </a:extLst>
            </p:cNvPr>
            <p:cNvSpPr/>
            <p:nvPr/>
          </p:nvSpPr>
          <p:spPr>
            <a:xfrm rot="5400000">
              <a:off x="7157364" y="405577"/>
              <a:ext cx="565250" cy="249578"/>
            </a:xfrm>
            <a:prstGeom prst="triangle">
              <a:avLst/>
            </a:prstGeom>
            <a:solidFill>
              <a:srgbClr val="DDB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B6787E2-819E-E4F9-93D7-746BC7DF19CF}"/>
              </a:ext>
            </a:extLst>
          </p:cNvPr>
          <p:cNvGrpSpPr/>
          <p:nvPr/>
        </p:nvGrpSpPr>
        <p:grpSpPr>
          <a:xfrm>
            <a:off x="3645985" y="0"/>
            <a:ext cx="2074731" cy="5143500"/>
            <a:chOff x="3657598" y="0"/>
            <a:chExt cx="2074731" cy="5143500"/>
          </a:xfrm>
          <a:solidFill>
            <a:srgbClr val="9F6340"/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E6385DF-C310-BD1A-40C2-7A6A91065A2D}"/>
                </a:ext>
              </a:extLst>
            </p:cNvPr>
            <p:cNvSpPr/>
            <p:nvPr/>
          </p:nvSpPr>
          <p:spPr>
            <a:xfrm>
              <a:off x="3657598" y="0"/>
              <a:ext cx="1872000" cy="51435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74237C8-94C4-92D5-6CE3-F3C364A8A802}"/>
                </a:ext>
              </a:extLst>
            </p:cNvPr>
            <p:cNvSpPr txBox="1"/>
            <p:nvPr/>
          </p:nvSpPr>
          <p:spPr>
            <a:xfrm>
              <a:off x="3866029" y="2111188"/>
              <a:ext cx="1620371" cy="130343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10000"/>
                </a:lnSpc>
                <a:spcAft>
                  <a:spcPts val="400"/>
                </a:spcAft>
                <a:buClr>
                  <a:schemeClr val="accent1"/>
                </a:buClr>
              </a:pPr>
              <a:r>
                <a:rPr lang="en-GB" sz="2000" b="1">
                  <a:solidFill>
                    <a:schemeClr val="bg1"/>
                  </a:solidFill>
                </a:rPr>
                <a:t>2</a:t>
              </a:r>
              <a:r>
                <a:rPr lang="en-BE" sz="2000" b="1">
                  <a:solidFill>
                    <a:schemeClr val="bg1"/>
                  </a:solidFill>
                </a:rPr>
                <a:t>1</a:t>
              </a:r>
              <a:r>
                <a:rPr lang="en-GB" sz="2000" b="1">
                  <a:solidFill>
                    <a:schemeClr val="bg1"/>
                  </a:solidFill>
                </a:rPr>
                <a:t> 000 </a:t>
              </a:r>
              <a:r>
                <a:rPr lang="en-GB" sz="1200">
                  <a:solidFill>
                    <a:schemeClr val="bg1"/>
                  </a:solidFill>
                </a:rPr>
                <a:t>engaged employees worldwide</a:t>
              </a:r>
            </a:p>
            <a:p>
              <a:pPr algn="l">
                <a:lnSpc>
                  <a:spcPct val="110000"/>
                </a:lnSpc>
                <a:spcAft>
                  <a:spcPts val="400"/>
                </a:spcAft>
                <a:buClr>
                  <a:schemeClr val="accent1"/>
                </a:buClr>
              </a:pPr>
              <a:endParaRPr lang="en-GB" sz="1400" b="1">
                <a:solidFill>
                  <a:schemeClr val="bg1"/>
                </a:solidFill>
              </a:endParaRP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70A53FEA-3443-E608-C73A-D53C543EC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51883" y="544606"/>
              <a:ext cx="1028700" cy="1028700"/>
            </a:xfrm>
            <a:prstGeom prst="rect">
              <a:avLst/>
            </a:prstGeom>
          </p:spPr>
        </p:pic>
        <p:sp>
          <p:nvSpPr>
            <p:cNvPr id="42" name="Triangle 32">
              <a:extLst>
                <a:ext uri="{FF2B5EF4-FFF2-40B4-BE49-F238E27FC236}">
                  <a16:creationId xmlns:a16="http://schemas.microsoft.com/office/drawing/2014/main" id="{2578CCC4-9506-5374-31E5-D5C97E15EBCB}"/>
                </a:ext>
              </a:extLst>
            </p:cNvPr>
            <p:cNvSpPr/>
            <p:nvPr/>
          </p:nvSpPr>
          <p:spPr>
            <a:xfrm rot="5400000">
              <a:off x="5324915" y="419817"/>
              <a:ext cx="565250" cy="24957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7FEEA84-725E-13B1-2DFE-0734441E9D47}"/>
              </a:ext>
            </a:extLst>
          </p:cNvPr>
          <p:cNvGrpSpPr/>
          <p:nvPr/>
        </p:nvGrpSpPr>
        <p:grpSpPr>
          <a:xfrm>
            <a:off x="1823114" y="0"/>
            <a:ext cx="2071771" cy="5143500"/>
            <a:chOff x="1828800" y="0"/>
            <a:chExt cx="2071771" cy="5143500"/>
          </a:xfrm>
          <a:solidFill>
            <a:srgbClr val="764930"/>
          </a:solidFill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FAED47D-89BC-E080-7581-9A2CF611184A}"/>
                </a:ext>
              </a:extLst>
            </p:cNvPr>
            <p:cNvSpPr/>
            <p:nvPr/>
          </p:nvSpPr>
          <p:spPr>
            <a:xfrm>
              <a:off x="1828800" y="0"/>
              <a:ext cx="1828800" cy="51435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ECD4CF1-EB69-3FBD-B5C1-D82B65EAB301}"/>
                </a:ext>
              </a:extLst>
            </p:cNvPr>
            <p:cNvSpPr txBox="1"/>
            <p:nvPr/>
          </p:nvSpPr>
          <p:spPr>
            <a:xfrm>
              <a:off x="1943099" y="2111188"/>
              <a:ext cx="1543691" cy="122187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10000"/>
                </a:lnSpc>
                <a:spcAft>
                  <a:spcPts val="400"/>
                </a:spcAft>
                <a:buClr>
                  <a:schemeClr val="accent1"/>
                </a:buClr>
              </a:pPr>
              <a:r>
                <a:rPr lang="en-GB" sz="1200">
                  <a:solidFill>
                    <a:schemeClr val="bg1"/>
                  </a:solidFill>
                </a:rPr>
                <a:t>Worldwide manufacturing platform with </a:t>
              </a:r>
              <a:r>
                <a:rPr lang="en-GB" sz="2000" b="1">
                  <a:solidFill>
                    <a:schemeClr val="bg1"/>
                  </a:solidFill>
                </a:rPr>
                <a:t>6</a:t>
              </a:r>
              <a:r>
                <a:rPr lang="en-BE" sz="2000" b="1">
                  <a:solidFill>
                    <a:schemeClr val="bg1"/>
                  </a:solidFill>
                </a:rPr>
                <a:t>2</a:t>
              </a:r>
              <a:r>
                <a:rPr lang="en-GB" sz="1400">
                  <a:solidFill>
                    <a:schemeClr val="bg1"/>
                  </a:solidFill>
                </a:rPr>
                <a:t> </a:t>
              </a:r>
              <a:r>
                <a:rPr lang="en-GB" sz="1200">
                  <a:solidFill>
                    <a:schemeClr val="bg1"/>
                  </a:solidFill>
                </a:rPr>
                <a:t>production plants</a:t>
              </a:r>
            </a:p>
          </p:txBody>
        </p:sp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8236599C-61C3-28AC-EB1C-520F08E2EA8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142486" y="416219"/>
              <a:ext cx="1028700" cy="1028700"/>
            </a:xfrm>
            <a:prstGeom prst="rect">
              <a:avLst/>
            </a:prstGeom>
          </p:spPr>
        </p:pic>
        <p:sp>
          <p:nvSpPr>
            <p:cNvPr id="47" name="Triangle 24">
              <a:extLst>
                <a:ext uri="{FF2B5EF4-FFF2-40B4-BE49-F238E27FC236}">
                  <a16:creationId xmlns:a16="http://schemas.microsoft.com/office/drawing/2014/main" id="{7161B40B-042C-B90C-933C-8D36CC3AC80D}"/>
                </a:ext>
              </a:extLst>
            </p:cNvPr>
            <p:cNvSpPr/>
            <p:nvPr/>
          </p:nvSpPr>
          <p:spPr>
            <a:xfrm rot="5400000">
              <a:off x="3493157" y="405577"/>
              <a:ext cx="565250" cy="24957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5156B08C-7931-E4AC-6E6B-48A1D28A91DA}"/>
              </a:ext>
            </a:extLst>
          </p:cNvPr>
          <p:cNvSpPr txBox="1"/>
          <p:nvPr/>
        </p:nvSpPr>
        <p:spPr>
          <a:xfrm>
            <a:off x="107121" y="3535093"/>
            <a:ext cx="1454603" cy="14568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首选合作伙伴，</a:t>
            </a:r>
            <a:endParaRPr lang="en-US" altLang="zh-CN" sz="1200">
              <a:solidFill>
                <a:schemeClr val="bg1"/>
              </a:solidFill>
            </a:endParaRPr>
          </a:p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专注服务于</a:t>
            </a:r>
            <a:endParaRPr lang="en-US" altLang="zh-CN" sz="1200">
              <a:solidFill>
                <a:schemeClr val="bg1"/>
              </a:solidFill>
            </a:endParaRPr>
          </a:p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移动出行、</a:t>
            </a:r>
            <a:endParaRPr lang="en-US" altLang="zh-CN" sz="1200">
              <a:solidFill>
                <a:schemeClr val="bg1"/>
              </a:solidFill>
            </a:endParaRPr>
          </a:p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可持续建筑、</a:t>
            </a:r>
            <a:endParaRPr lang="en-US" altLang="zh-CN" sz="1200">
              <a:solidFill>
                <a:schemeClr val="bg1"/>
              </a:solidFill>
            </a:endParaRPr>
          </a:p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能源转型</a:t>
            </a:r>
            <a:endParaRPr lang="en-US" altLang="zh-CN" sz="1200">
              <a:solidFill>
                <a:schemeClr val="bg1"/>
              </a:solidFill>
            </a:endParaRPr>
          </a:p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及其他领域。</a:t>
            </a:r>
            <a:endParaRPr lang="en-US" sz="120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EEA6A95-F770-925F-FAA4-DE620BFC614C}"/>
              </a:ext>
            </a:extLst>
          </p:cNvPr>
          <p:cNvSpPr/>
          <p:nvPr/>
        </p:nvSpPr>
        <p:spPr>
          <a:xfrm>
            <a:off x="0" y="0"/>
            <a:ext cx="1828800" cy="5143500"/>
          </a:xfrm>
          <a:prstGeom prst="rect">
            <a:avLst/>
          </a:prstGeom>
          <a:solidFill>
            <a:srgbClr val="492D1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554F0BC-7CFA-79F0-08E8-10232245254B}"/>
              </a:ext>
            </a:extLst>
          </p:cNvPr>
          <p:cNvSpPr txBox="1"/>
          <p:nvPr/>
        </p:nvSpPr>
        <p:spPr>
          <a:xfrm>
            <a:off x="126000" y="2111188"/>
            <a:ext cx="1645417" cy="1384995"/>
          </a:xfrm>
          <a:prstGeom prst="rect">
            <a:avLst/>
          </a:prstGeom>
          <a:solidFill>
            <a:srgbClr val="492D1D"/>
          </a:solidFill>
        </p:spPr>
        <p:txBody>
          <a:bodyPr wrap="square" rtlCol="0">
            <a:spAutoFit/>
          </a:bodyPr>
          <a:lstStyle/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en-GB" sz="1200">
                <a:solidFill>
                  <a:schemeClr val="bg1"/>
                </a:solidFill>
              </a:rPr>
              <a:t>Preferred partner serving customers in mobility, sustainable construction, energy transition </a:t>
            </a:r>
            <a:br>
              <a:rPr lang="en-GB" sz="1200">
                <a:solidFill>
                  <a:schemeClr val="bg1"/>
                </a:solidFill>
              </a:rPr>
            </a:br>
            <a:r>
              <a:rPr lang="en-GB" sz="1200">
                <a:solidFill>
                  <a:schemeClr val="bg1"/>
                </a:solidFill>
              </a:rPr>
              <a:t>and others</a:t>
            </a: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11540BBE-9BA2-A742-A77F-E403EDB73DE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75025" y="544606"/>
            <a:ext cx="1028700" cy="1028700"/>
          </a:xfrm>
          <a:prstGeom prst="rect">
            <a:avLst/>
          </a:prstGeom>
        </p:spPr>
      </p:pic>
      <p:sp>
        <p:nvSpPr>
          <p:cNvPr id="53" name="Triangle 23">
            <a:extLst>
              <a:ext uri="{FF2B5EF4-FFF2-40B4-BE49-F238E27FC236}">
                <a16:creationId xmlns:a16="http://schemas.microsoft.com/office/drawing/2014/main" id="{16F4EBB2-4861-CC04-0837-5FA958B22FC2}"/>
              </a:ext>
            </a:extLst>
          </p:cNvPr>
          <p:cNvSpPr/>
          <p:nvPr/>
        </p:nvSpPr>
        <p:spPr>
          <a:xfrm rot="5400000">
            <a:off x="1670964" y="405577"/>
            <a:ext cx="565250" cy="249578"/>
          </a:xfrm>
          <a:prstGeom prst="triangle">
            <a:avLst/>
          </a:prstGeom>
          <a:solidFill>
            <a:srgbClr val="492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9AA97B4-192C-EF65-9EB0-E9A477BB8E81}"/>
              </a:ext>
            </a:extLst>
          </p:cNvPr>
          <p:cNvSpPr txBox="1"/>
          <p:nvPr/>
        </p:nvSpPr>
        <p:spPr>
          <a:xfrm>
            <a:off x="3857511" y="3535093"/>
            <a:ext cx="1480745" cy="63607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>
              <a:spcAft>
                <a:spcPts val="400"/>
              </a:spcAft>
              <a:buClr>
                <a:schemeClr val="accent1"/>
              </a:buCl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sz="2000" b="1"/>
              <a:t>21000</a:t>
            </a:r>
          </a:p>
          <a:p>
            <a:r>
              <a:rPr lang="zh-CN" altLang="en-US"/>
              <a:t>全球员工</a:t>
            </a:r>
            <a:r>
              <a:rPr lang="en-GB"/>
              <a:t> </a:t>
            </a:r>
            <a:endParaRPr lang="en-BE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5A8140D-0D3F-8610-9875-06E5CB41623D}"/>
              </a:ext>
            </a:extLst>
          </p:cNvPr>
          <p:cNvSpPr txBox="1"/>
          <p:nvPr/>
        </p:nvSpPr>
        <p:spPr>
          <a:xfrm>
            <a:off x="1936057" y="3535093"/>
            <a:ext cx="148074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>
              <a:spcAft>
                <a:spcPts val="400"/>
              </a:spcAft>
              <a:buClr>
                <a:schemeClr val="accent1"/>
              </a:buClr>
              <a:defRPr sz="12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全球化制造平台，拥有</a:t>
            </a:r>
            <a:r>
              <a:rPr lang="en-GB"/>
              <a:t> </a:t>
            </a:r>
            <a:r>
              <a:rPr lang="en-GB" sz="2000" b="1"/>
              <a:t>62 </a:t>
            </a:r>
            <a:r>
              <a:rPr lang="zh-CN" altLang="en-US"/>
              <a:t>个生产基地。</a:t>
            </a:r>
            <a:endParaRPr lang="en-BE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8900882-1268-C9CA-3105-9ABF42D39A6B}"/>
              </a:ext>
            </a:extLst>
          </p:cNvPr>
          <p:cNvSpPr txBox="1"/>
          <p:nvPr/>
        </p:nvSpPr>
        <p:spPr>
          <a:xfrm>
            <a:off x="126000" y="3535093"/>
            <a:ext cx="1454603" cy="14568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首选合作伙伴，</a:t>
            </a:r>
            <a:endParaRPr lang="en-US" altLang="zh-CN" sz="1200">
              <a:solidFill>
                <a:schemeClr val="bg1"/>
              </a:solidFill>
            </a:endParaRPr>
          </a:p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专注服务于</a:t>
            </a:r>
            <a:endParaRPr lang="en-US" altLang="zh-CN" sz="1200">
              <a:solidFill>
                <a:schemeClr val="bg1"/>
              </a:solidFill>
            </a:endParaRPr>
          </a:p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移动出行、</a:t>
            </a:r>
            <a:endParaRPr lang="en-US" altLang="zh-CN" sz="1200">
              <a:solidFill>
                <a:schemeClr val="bg1"/>
              </a:solidFill>
            </a:endParaRPr>
          </a:p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可持续建筑、</a:t>
            </a:r>
            <a:endParaRPr lang="en-US" altLang="zh-CN" sz="1200">
              <a:solidFill>
                <a:schemeClr val="bg1"/>
              </a:solidFill>
            </a:endParaRPr>
          </a:p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能源转型</a:t>
            </a:r>
            <a:endParaRPr lang="en-US" altLang="zh-CN" sz="1200">
              <a:solidFill>
                <a:schemeClr val="bg1"/>
              </a:solidFill>
            </a:endParaRPr>
          </a:p>
          <a:p>
            <a:pPr algn="l"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>
                <a:solidFill>
                  <a:schemeClr val="bg1"/>
                </a:solidFill>
              </a:rPr>
              <a:t>及其他领域。</a:t>
            </a:r>
            <a:endParaRPr lang="en-US" sz="120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14488EB-A73F-B60D-AC84-E01B4DAC66FA}"/>
              </a:ext>
            </a:extLst>
          </p:cNvPr>
          <p:cNvSpPr txBox="1"/>
          <p:nvPr/>
        </p:nvSpPr>
        <p:spPr>
          <a:xfrm>
            <a:off x="7471323" y="3535093"/>
            <a:ext cx="1501586" cy="8892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400"/>
              </a:spcAft>
              <a:buClr>
                <a:schemeClr val="accent1"/>
              </a:buClr>
            </a:pPr>
            <a:r>
              <a:rPr lang="zh-CN" altLang="en-US" sz="1200" b="1">
                <a:solidFill>
                  <a:srgbClr val="764930"/>
                </a:solidFill>
              </a:rPr>
              <a:t>可持续发展企业</a:t>
            </a:r>
            <a:br>
              <a:rPr lang="en-GB" sz="1200" b="1">
                <a:solidFill>
                  <a:srgbClr val="764930"/>
                </a:solidFill>
              </a:rPr>
            </a:br>
            <a:r>
              <a:rPr lang="zh-CN" altLang="en-US" sz="1200">
                <a:solidFill>
                  <a:srgbClr val="764930"/>
                </a:solidFill>
              </a:rPr>
              <a:t>拥有科学碳目标倡议（</a:t>
            </a:r>
            <a:r>
              <a:rPr lang="en-US" altLang="zh-CN" sz="1200">
                <a:solidFill>
                  <a:srgbClr val="764930"/>
                </a:solidFill>
              </a:rPr>
              <a:t>SBTi</a:t>
            </a:r>
            <a:r>
              <a:rPr lang="zh-CN" altLang="en-US" sz="1200">
                <a:solidFill>
                  <a:srgbClr val="764930"/>
                </a:solidFill>
              </a:rPr>
              <a:t>）认证的目标</a:t>
            </a:r>
            <a:endParaRPr lang="en-GB" sz="1200">
              <a:solidFill>
                <a:srgbClr val="76493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2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B8A6CDF-FF62-1EB3-8509-3983B61815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1C85CC-4BDD-EE11-F8B5-5AD32A57E4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1C85CC-4BDD-EE11-F8B5-5AD32A57E4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7DB01A-C923-D040-0322-7CE363BB04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Bekaert in brief, </a:t>
            </a:r>
            <a:r>
              <a:rPr lang="en-US">
                <a:solidFill>
                  <a:schemeClr val="bg1"/>
                </a:solidFill>
              </a:rPr>
              <a:t>2025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5868BF-9191-EE6E-D9FC-71C6B3D265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8B57AA4-CC86-403A-9F2D-99B44CA83CE4}" type="slidenum">
              <a:rPr lang="nl-BE" smtClean="0"/>
              <a:pPr/>
              <a:t>6</a:t>
            </a:fld>
            <a:endParaRPr lang="nl-B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41174A-79A1-DA8A-DCB0-3A67EA0A2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358" y="201021"/>
            <a:ext cx="6829775" cy="370128"/>
          </a:xfrm>
        </p:spPr>
        <p:txBody>
          <a:bodyPr vert="horz"/>
          <a:lstStyle/>
          <a:p>
            <a:r>
              <a:rPr lang="en-BE" sz="2400"/>
              <a:t>Creativity beyond steel</a:t>
            </a:r>
            <a:r>
              <a:rPr lang="en-US" sz="2400"/>
              <a:t> </a:t>
            </a:r>
            <a:r>
              <a:rPr lang="zh-CN" altLang="en-US" sz="2400"/>
              <a:t>超越钢丝，创新无界</a:t>
            </a:r>
            <a:endParaRPr lang="en-US" sz="240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C948BD5-33AC-EA31-756A-B8D0E8320540}"/>
              </a:ext>
            </a:extLst>
          </p:cNvPr>
          <p:cNvGrpSpPr/>
          <p:nvPr/>
        </p:nvGrpSpPr>
        <p:grpSpPr>
          <a:xfrm>
            <a:off x="241139" y="1141131"/>
            <a:ext cx="8823081" cy="1950487"/>
            <a:chOff x="241139" y="1141131"/>
            <a:chExt cx="8823081" cy="195048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5E1DC8B-77C8-6D41-4AAD-576DF5888D10}"/>
                </a:ext>
              </a:extLst>
            </p:cNvPr>
            <p:cNvSpPr txBox="1"/>
            <p:nvPr/>
          </p:nvSpPr>
          <p:spPr>
            <a:xfrm>
              <a:off x="5837583" y="1780728"/>
              <a:ext cx="2979315" cy="10528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800"/>
                </a:spcAft>
                <a:buClr>
                  <a:schemeClr val="accent2"/>
                </a:buClr>
              </a:pPr>
              <a:r>
                <a:rPr lang="en-US" sz="1125">
                  <a:cs typeface="Arial" panose="020B0604020202020204" pitchFamily="34" charset="0"/>
                </a:rPr>
                <a:t>We join forces with our customers, suppliers, universities and other partners to create innovative solutions</a:t>
              </a:r>
            </a:p>
            <a:p>
              <a:pPr>
                <a:spcAft>
                  <a:spcPts val="800"/>
                </a:spcAft>
                <a:buClr>
                  <a:schemeClr val="accent2"/>
                </a:buClr>
              </a:pPr>
              <a:r>
                <a:rPr lang="zh-CN" altLang="en-US" sz="1100" b="0" i="0">
                  <a:solidFill>
                    <a:srgbClr val="404040"/>
                  </a:solidFill>
                  <a:effectLst/>
                  <a:latin typeface="Inter"/>
                </a:rPr>
                <a:t>我们与客户、供应商、高校及其他合作伙伴携手，共同打造创新解决方案。</a:t>
              </a:r>
              <a:endParaRPr lang="en-US" sz="1100">
                <a:cs typeface="Arial" panose="020B0604020202020204" pitchFamily="34" charset="0"/>
              </a:endParaRPr>
            </a:p>
          </p:txBody>
        </p:sp>
        <p:sp>
          <p:nvSpPr>
            <p:cNvPr id="13" name="Tekstvak 12">
              <a:extLst>
                <a:ext uri="{FF2B5EF4-FFF2-40B4-BE49-F238E27FC236}">
                  <a16:creationId xmlns:a16="http://schemas.microsoft.com/office/drawing/2014/main" id="{0C55B275-8BA0-03F8-C366-7124B1100D26}"/>
                </a:ext>
              </a:extLst>
            </p:cNvPr>
            <p:cNvSpPr txBox="1"/>
            <p:nvPr/>
          </p:nvSpPr>
          <p:spPr>
            <a:xfrm>
              <a:off x="5777432" y="1141131"/>
              <a:ext cx="3286788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800"/>
                </a:spcAft>
                <a:buClr>
                  <a:schemeClr val="accent2"/>
                </a:buClr>
              </a:pPr>
              <a:r>
                <a:rPr lang="en-US" sz="2200">
                  <a:latin typeface="+mj-lt"/>
                  <a:cs typeface="Arial" panose="020B0604020202020204" pitchFamily="34" charset="0"/>
                </a:rPr>
                <a:t>Co-creation</a:t>
              </a:r>
              <a:r>
                <a:rPr lang="zh-CN" altLang="en-US" sz="2200">
                  <a:latin typeface="+mj-lt"/>
                  <a:cs typeface="Arial" panose="020B0604020202020204" pitchFamily="34" charset="0"/>
                </a:rPr>
                <a:t>合作创新</a:t>
              </a:r>
              <a:r>
                <a:rPr lang="en-US" sz="2200">
                  <a:latin typeface="+mj-lt"/>
                  <a:cs typeface="Arial" panose="020B0604020202020204" pitchFamily="34" charset="0"/>
                </a:rPr>
                <a:t> 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5E7D649-6994-EB3B-EE78-818631F9273E}"/>
                </a:ext>
              </a:extLst>
            </p:cNvPr>
            <p:cNvGrpSpPr/>
            <p:nvPr/>
          </p:nvGrpSpPr>
          <p:grpSpPr>
            <a:xfrm>
              <a:off x="258954" y="2159694"/>
              <a:ext cx="3900816" cy="931924"/>
              <a:chOff x="258954" y="2159694"/>
              <a:chExt cx="3900816" cy="931924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D1C46A84-CA1D-70C9-9F73-AF996722FC02}"/>
                  </a:ext>
                </a:extLst>
              </p:cNvPr>
              <p:cNvSpPr/>
              <p:nvPr/>
            </p:nvSpPr>
            <p:spPr>
              <a:xfrm>
                <a:off x="258954" y="2159694"/>
                <a:ext cx="3900816" cy="921400"/>
              </a:xfrm>
              <a:prstGeom prst="rect">
                <a:avLst/>
              </a:prstGeom>
              <a:solidFill>
                <a:srgbClr val="5E7D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en-US" sz="1200" b="1" i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1EAF6A6A-65BF-FFAB-FFEA-A931FBD3F7AB}"/>
                  </a:ext>
                </a:extLst>
              </p:cNvPr>
              <p:cNvSpPr txBox="1"/>
              <p:nvPr/>
            </p:nvSpPr>
            <p:spPr>
              <a:xfrm>
                <a:off x="467874" y="2276010"/>
                <a:ext cx="3482975" cy="8156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sz="1600" b="1">
                    <a:solidFill>
                      <a:schemeClr val="bg1"/>
                    </a:solidFill>
                    <a:latin typeface="+mj-lt"/>
                  </a:rPr>
                  <a:t>International R&amp;D teams in</a:t>
                </a:r>
                <a:br>
                  <a:rPr lang="en-US" sz="1600" b="1">
                    <a:solidFill>
                      <a:schemeClr val="bg1"/>
                    </a:solidFill>
                    <a:latin typeface="+mj-lt"/>
                  </a:rPr>
                </a:br>
                <a:r>
                  <a:rPr lang="en-US" sz="1600" b="1">
                    <a:solidFill>
                      <a:schemeClr val="bg1"/>
                    </a:solidFill>
                    <a:latin typeface="+mj-lt"/>
                  </a:rPr>
                  <a:t>Belgium – China – UK</a:t>
                </a:r>
              </a:p>
              <a:p>
                <a:pPr algn="ctr">
                  <a:spcAft>
                    <a:spcPts val="600"/>
                  </a:spcAft>
                </a:pPr>
                <a:r>
                  <a:rPr lang="zh-CN" altLang="en-US" sz="1000" b="1">
                    <a:solidFill>
                      <a:schemeClr val="bg1"/>
                    </a:solidFill>
                  </a:rPr>
                  <a:t>国际研发团队（比利时</a:t>
                </a:r>
                <a:r>
                  <a:rPr lang="en-US" altLang="zh-CN" sz="1000" b="1">
                    <a:solidFill>
                      <a:schemeClr val="bg1"/>
                    </a:solidFill>
                  </a:rPr>
                  <a:t>-</a:t>
                </a:r>
                <a:r>
                  <a:rPr lang="zh-CN" altLang="en-US" sz="1000" b="1">
                    <a:solidFill>
                      <a:schemeClr val="bg1"/>
                    </a:solidFill>
                  </a:rPr>
                  <a:t>中国</a:t>
                </a:r>
                <a:r>
                  <a:rPr lang="en-US" altLang="zh-CN" sz="1000" b="1">
                    <a:solidFill>
                      <a:schemeClr val="bg1"/>
                    </a:solidFill>
                  </a:rPr>
                  <a:t>-</a:t>
                </a:r>
                <a:r>
                  <a:rPr lang="zh-CN" altLang="en-US" sz="1000" b="1">
                    <a:solidFill>
                      <a:schemeClr val="bg1"/>
                    </a:solidFill>
                  </a:rPr>
                  <a:t>英国）</a:t>
                </a:r>
                <a:endParaRPr lang="en-US" sz="1000" b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9E73707-C336-30A4-44A9-228B802D498A}"/>
                </a:ext>
              </a:extLst>
            </p:cNvPr>
            <p:cNvGrpSpPr/>
            <p:nvPr/>
          </p:nvGrpSpPr>
          <p:grpSpPr>
            <a:xfrm>
              <a:off x="2281395" y="1141131"/>
              <a:ext cx="1878375" cy="885853"/>
              <a:chOff x="2281395" y="1141131"/>
              <a:chExt cx="1878375" cy="885853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DA95BFC-CAD7-F271-55E7-969C0D721F92}"/>
                  </a:ext>
                </a:extLst>
              </p:cNvPr>
              <p:cNvSpPr/>
              <p:nvPr/>
            </p:nvSpPr>
            <p:spPr>
              <a:xfrm>
                <a:off x="2281395" y="1141131"/>
                <a:ext cx="1878375" cy="879154"/>
              </a:xfrm>
              <a:prstGeom prst="rect">
                <a:avLst/>
              </a:prstGeom>
              <a:solidFill>
                <a:srgbClr val="5E7D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en-US" sz="1200" b="1" i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A21A7871-3994-8EFC-54E4-3500153C549A}"/>
                  </a:ext>
                </a:extLst>
              </p:cNvPr>
              <p:cNvSpPr txBox="1"/>
              <p:nvPr/>
            </p:nvSpPr>
            <p:spPr>
              <a:xfrm>
                <a:off x="2420984" y="1211376"/>
                <a:ext cx="1566472" cy="8156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BE" sz="1600" b="1">
                    <a:solidFill>
                      <a:schemeClr val="bg1"/>
                    </a:solidFill>
                    <a:latin typeface="+mj-lt"/>
                  </a:rPr>
                  <a:t>+</a:t>
                </a:r>
                <a:r>
                  <a:rPr lang="en-US" sz="1600" b="1">
                    <a:solidFill>
                      <a:schemeClr val="bg1"/>
                    </a:solidFill>
                    <a:latin typeface="+mj-lt"/>
                  </a:rPr>
                  <a:t>2</a:t>
                </a:r>
                <a:r>
                  <a:rPr lang="en-BE" sz="1600" b="1">
                    <a:solidFill>
                      <a:schemeClr val="bg1"/>
                    </a:solidFill>
                    <a:latin typeface="+mj-lt"/>
                  </a:rPr>
                  <a:t> 100</a:t>
                </a:r>
              </a:p>
              <a:p>
                <a:pPr algn="ctr">
                  <a:spcAft>
                    <a:spcPts val="600"/>
                  </a:spcAft>
                </a:pPr>
                <a:r>
                  <a:rPr lang="en-US" sz="1600" b="1">
                    <a:solidFill>
                      <a:schemeClr val="bg1"/>
                    </a:solidFill>
                    <a:latin typeface="+mj-lt"/>
                  </a:rPr>
                  <a:t>Patents</a:t>
                </a:r>
              </a:p>
              <a:p>
                <a:pPr algn="ctr">
                  <a:spcAft>
                    <a:spcPts val="600"/>
                  </a:spcAft>
                </a:pPr>
                <a:r>
                  <a:rPr lang="en-US" altLang="zh-CN" sz="1000" b="1" i="0">
                    <a:solidFill>
                      <a:schemeClr val="bg1"/>
                    </a:solidFill>
                    <a:latin typeface="+mn-lt"/>
                  </a:rPr>
                  <a:t>2100</a:t>
                </a:r>
                <a:r>
                  <a:rPr lang="zh-CN" altLang="en-US" sz="1000" b="1" i="0">
                    <a:solidFill>
                      <a:schemeClr val="bg1"/>
                    </a:solidFill>
                    <a:latin typeface="+mn-lt"/>
                  </a:rPr>
                  <a:t>多项产品专利</a:t>
                </a:r>
                <a:endParaRPr lang="en-US" sz="1000" b="1" i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2D23494-B420-CD24-130E-ECBF3DD7CA98}"/>
                </a:ext>
              </a:extLst>
            </p:cNvPr>
            <p:cNvGrpSpPr/>
            <p:nvPr/>
          </p:nvGrpSpPr>
          <p:grpSpPr>
            <a:xfrm>
              <a:off x="241139" y="1141131"/>
              <a:ext cx="1932044" cy="879154"/>
              <a:chOff x="241139" y="1141131"/>
              <a:chExt cx="1932044" cy="879154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9C4FECC-05B5-0074-B379-A9E1E707FADF}"/>
                  </a:ext>
                </a:extLst>
              </p:cNvPr>
              <p:cNvSpPr/>
              <p:nvPr/>
            </p:nvSpPr>
            <p:spPr>
              <a:xfrm>
                <a:off x="258953" y="1141131"/>
                <a:ext cx="1878375" cy="879154"/>
              </a:xfrm>
              <a:prstGeom prst="rect">
                <a:avLst/>
              </a:prstGeom>
              <a:solidFill>
                <a:srgbClr val="5E7D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en-US" sz="1200" b="1" i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511EE2AB-C216-C775-3927-D61BB8C4B8C1}"/>
                  </a:ext>
                </a:extLst>
              </p:cNvPr>
              <p:cNvSpPr txBox="1"/>
              <p:nvPr/>
            </p:nvSpPr>
            <p:spPr>
              <a:xfrm>
                <a:off x="241139" y="1192909"/>
                <a:ext cx="1932044" cy="8156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chemeClr val="bg1"/>
                    </a:solidFill>
                    <a:latin typeface="+mj-lt"/>
                  </a:rPr>
                  <a:t>€</a:t>
                </a:r>
                <a:r>
                  <a:rPr lang="en-BE" sz="1600" b="1">
                    <a:solidFill>
                      <a:schemeClr val="bg1"/>
                    </a:solidFill>
                    <a:latin typeface="+mj-lt"/>
                  </a:rPr>
                  <a:t>7</a:t>
                </a:r>
                <a:r>
                  <a:rPr lang="en-US" sz="1600" b="1">
                    <a:solidFill>
                      <a:schemeClr val="bg1"/>
                    </a:solidFill>
                    <a:latin typeface="+mj-lt"/>
                  </a:rPr>
                  <a:t>4 m</a:t>
                </a:r>
                <a:endParaRPr lang="en-BE" sz="1600" b="1">
                  <a:solidFill>
                    <a:schemeClr val="bg1"/>
                  </a:solidFill>
                  <a:latin typeface="+mj-lt"/>
                </a:endParaRPr>
              </a:p>
              <a:p>
                <a:pPr algn="ctr">
                  <a:spcAft>
                    <a:spcPts val="600"/>
                  </a:spcAft>
                </a:pPr>
                <a:r>
                  <a:rPr lang="en-BE" sz="1600" b="1" i="0">
                    <a:solidFill>
                      <a:schemeClr val="bg1"/>
                    </a:solidFill>
                    <a:latin typeface="+mn-lt"/>
                  </a:rPr>
                  <a:t>R&amp;D in 202</a:t>
                </a:r>
                <a:r>
                  <a:rPr lang="en-US" sz="1600" b="1" i="0">
                    <a:solidFill>
                      <a:schemeClr val="bg1"/>
                    </a:solidFill>
                    <a:latin typeface="+mn-lt"/>
                  </a:rPr>
                  <a:t>4</a:t>
                </a:r>
              </a:p>
              <a:p>
                <a:pPr algn="ctr">
                  <a:spcAft>
                    <a:spcPts val="600"/>
                  </a:spcAft>
                </a:pPr>
                <a:r>
                  <a:rPr lang="en-US" sz="1000" b="1">
                    <a:solidFill>
                      <a:schemeClr val="bg1"/>
                    </a:solidFill>
                  </a:rPr>
                  <a:t>2024</a:t>
                </a:r>
                <a:r>
                  <a:rPr lang="zh-CN" altLang="en-US" sz="1000" b="1">
                    <a:solidFill>
                      <a:schemeClr val="bg1"/>
                    </a:solidFill>
                  </a:rPr>
                  <a:t>年研发投入</a:t>
                </a:r>
                <a:r>
                  <a:rPr lang="en-US" altLang="zh-CN" sz="1000" b="1">
                    <a:solidFill>
                      <a:schemeClr val="bg1"/>
                    </a:solidFill>
                  </a:rPr>
                  <a:t>7400</a:t>
                </a:r>
                <a:r>
                  <a:rPr lang="zh-CN" altLang="en-US" sz="1000" b="1">
                    <a:solidFill>
                      <a:schemeClr val="bg1"/>
                    </a:solidFill>
                  </a:rPr>
                  <a:t>万欧元</a:t>
                </a:r>
                <a:endParaRPr lang="en-BE" sz="100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677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E9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CCAFD03D-4DB5-B4B9-0194-F761C34D9FCB}"/>
              </a:ext>
            </a:extLst>
          </p:cNvPr>
          <p:cNvSpPr txBox="1"/>
          <p:nvPr/>
        </p:nvSpPr>
        <p:spPr>
          <a:xfrm>
            <a:off x="1253938" y="1275726"/>
            <a:ext cx="2272545" cy="977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en-US" sz="900"/>
              <a:t>Leo Leander Bekaert starts production in Belgium and </a:t>
            </a:r>
            <a:br>
              <a:rPr lang="en-US" sz="900"/>
            </a:br>
            <a:r>
              <a:rPr lang="en-US" sz="900"/>
              <a:t>files first patent one year later</a:t>
            </a:r>
          </a:p>
          <a:p>
            <a:pPr algn="l">
              <a:lnSpc>
                <a:spcPct val="110000"/>
              </a:lnSpc>
              <a:buClr>
                <a:schemeClr val="accent1"/>
              </a:buClr>
            </a:pPr>
            <a:endParaRPr lang="en-US" sz="6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US" sz="900"/>
              <a:t>Leo Leander Bek</a:t>
            </a:r>
            <a:r>
              <a:rPr lang="en-US" altLang="zh-CN" sz="900"/>
              <a:t>aert</a:t>
            </a:r>
            <a:r>
              <a:rPr lang="zh-CN" altLang="en-US" sz="900"/>
              <a:t>先生在</a:t>
            </a:r>
            <a:r>
              <a:rPr lang="zh-CN" altLang="en-US" sz="900" b="0" i="0">
                <a:solidFill>
                  <a:srgbClr val="404040"/>
                </a:solidFill>
                <a:effectLst/>
                <a:latin typeface="Inter"/>
              </a:rPr>
              <a:t>比利时创立生产基地，并于次年成功获得首项专利。</a:t>
            </a:r>
            <a:endParaRPr lang="en-BE" sz="9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2073D7-D61F-F69D-E153-036677A9FE13}"/>
              </a:ext>
            </a:extLst>
          </p:cNvPr>
          <p:cNvSpPr txBox="1"/>
          <p:nvPr/>
        </p:nvSpPr>
        <p:spPr>
          <a:xfrm>
            <a:off x="2956390" y="3167843"/>
            <a:ext cx="1499005" cy="94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buClr>
                <a:schemeClr val="accent1"/>
              </a:buClr>
              <a:defRPr sz="900"/>
            </a:lvl1pPr>
          </a:lstStyle>
          <a:p>
            <a:r>
              <a:rPr lang="nl-BE"/>
              <a:t>F</a:t>
            </a:r>
            <a:r>
              <a:rPr lang="en-BE"/>
              <a:t>rance is Bekaert’s f</a:t>
            </a:r>
            <a:r>
              <a:rPr lang="nl-BE"/>
              <a:t>irst expansion outside Belgium</a:t>
            </a:r>
          </a:p>
          <a:p>
            <a:endParaRPr lang="nl-BE" sz="600"/>
          </a:p>
          <a:p>
            <a:r>
              <a:rPr lang="zh-CN" altLang="en-US"/>
              <a:t>法国是贝卡尔特在比利时本土之外拓展的首个市场。</a:t>
            </a:r>
            <a:endParaRPr lang="en-BE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B35A606-34CC-45B2-76A0-126DB2E4E977}"/>
              </a:ext>
            </a:extLst>
          </p:cNvPr>
          <p:cNvCxnSpPr>
            <a:cxnSpLocks/>
          </p:cNvCxnSpPr>
          <p:nvPr/>
        </p:nvCxnSpPr>
        <p:spPr>
          <a:xfrm>
            <a:off x="1243853" y="1258433"/>
            <a:ext cx="0" cy="1004160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792F881-F541-1981-5CBD-1B9BA4316A94}"/>
              </a:ext>
            </a:extLst>
          </p:cNvPr>
          <p:cNvCxnSpPr>
            <a:cxnSpLocks/>
          </p:cNvCxnSpPr>
          <p:nvPr/>
        </p:nvCxnSpPr>
        <p:spPr>
          <a:xfrm>
            <a:off x="2902883" y="2874308"/>
            <a:ext cx="0" cy="119347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2B347875-4603-BEE8-9C19-948A66A487A9}"/>
              </a:ext>
            </a:extLst>
          </p:cNvPr>
          <p:cNvSpPr txBox="1"/>
          <p:nvPr/>
        </p:nvSpPr>
        <p:spPr>
          <a:xfrm>
            <a:off x="6286498" y="3112610"/>
            <a:ext cx="2760855" cy="1096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buClr>
                <a:schemeClr val="accent1"/>
              </a:buClr>
              <a:defRPr sz="900"/>
            </a:lvl1pPr>
          </a:lstStyle>
          <a:p>
            <a:r>
              <a:rPr lang="en-US"/>
              <a:t>Great evolution in new technologies: high-carbon steel wire, welded mesh, new coatings and stainless steel wire products for consumer goods</a:t>
            </a:r>
          </a:p>
          <a:p>
            <a:endParaRPr lang="en-US" sz="600"/>
          </a:p>
          <a:p>
            <a:r>
              <a:rPr lang="zh-CN" altLang="en-US"/>
              <a:t>新技术的重大突破：高碳钢丝、焊接网、新型镀膜及不锈钢丝产品，广泛应用于消费品领域。</a:t>
            </a:r>
            <a:endParaRPr lang="en-BE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55C7C63-7873-98B2-840D-851A78C80EB1}"/>
              </a:ext>
            </a:extLst>
          </p:cNvPr>
          <p:cNvCxnSpPr/>
          <p:nvPr/>
        </p:nvCxnSpPr>
        <p:spPr>
          <a:xfrm>
            <a:off x="6228787" y="2874308"/>
            <a:ext cx="0" cy="75532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8532638-8E95-055C-E0E2-B4FD8DF8AC99}"/>
              </a:ext>
            </a:extLst>
          </p:cNvPr>
          <p:cNvSpPr txBox="1"/>
          <p:nvPr/>
        </p:nvSpPr>
        <p:spPr>
          <a:xfrm>
            <a:off x="4571999" y="1487849"/>
            <a:ext cx="1768486" cy="639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buClr>
                <a:schemeClr val="accent1"/>
              </a:buClr>
              <a:defRPr sz="900"/>
            </a:lvl1pPr>
          </a:lstStyle>
          <a:p>
            <a:r>
              <a:rPr lang="en-GB"/>
              <a:t>Bekaert starts export to North America</a:t>
            </a:r>
          </a:p>
          <a:p>
            <a:endParaRPr lang="en-GB" sz="600"/>
          </a:p>
          <a:p>
            <a:r>
              <a:rPr lang="zh-CN" altLang="en-US"/>
              <a:t>贝卡尔特开始探索北美市场。</a:t>
            </a:r>
            <a:endParaRPr lang="en-BE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4D77E3C-460E-E1E7-887E-656DF537A7BB}"/>
              </a:ext>
            </a:extLst>
          </p:cNvPr>
          <p:cNvCxnSpPr/>
          <p:nvPr/>
        </p:nvCxnSpPr>
        <p:spPr>
          <a:xfrm>
            <a:off x="4561915" y="1525173"/>
            <a:ext cx="0" cy="75532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6EB6487-D618-A391-00CD-9FB00D052164}"/>
              </a:ext>
            </a:extLst>
          </p:cNvPr>
          <p:cNvCxnSpPr/>
          <p:nvPr/>
        </p:nvCxnSpPr>
        <p:spPr>
          <a:xfrm>
            <a:off x="7910236" y="1525173"/>
            <a:ext cx="0" cy="75532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CC84E673-AD4E-CF59-2135-15E7366A1613}"/>
              </a:ext>
            </a:extLst>
          </p:cNvPr>
          <p:cNvGrpSpPr/>
          <p:nvPr/>
        </p:nvGrpSpPr>
        <p:grpSpPr>
          <a:xfrm>
            <a:off x="931209" y="2269191"/>
            <a:ext cx="7281582" cy="605118"/>
            <a:chOff x="826994" y="1966632"/>
            <a:chExt cx="7281582" cy="605118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720699B8-7902-EC1D-8D71-CEBA0C073355}"/>
                </a:ext>
              </a:extLst>
            </p:cNvPr>
            <p:cNvSpPr/>
            <p:nvPr/>
          </p:nvSpPr>
          <p:spPr>
            <a:xfrm>
              <a:off x="826994" y="1966633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D0FB5157-A4AD-1236-FF3B-DD8A5BB265B7}"/>
                </a:ext>
              </a:extLst>
            </p:cNvPr>
            <p:cNvSpPr/>
            <p:nvPr/>
          </p:nvSpPr>
          <p:spPr>
            <a:xfrm>
              <a:off x="2496110" y="1966633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FA324942-EBC1-B393-D8A4-30101A10C224}"/>
                </a:ext>
              </a:extLst>
            </p:cNvPr>
            <p:cNvSpPr/>
            <p:nvPr/>
          </p:nvSpPr>
          <p:spPr>
            <a:xfrm>
              <a:off x="4165226" y="1966633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2A5D0413-79A1-9024-801E-26D6E6CDA2F6}"/>
                </a:ext>
              </a:extLst>
            </p:cNvPr>
            <p:cNvSpPr/>
            <p:nvPr/>
          </p:nvSpPr>
          <p:spPr>
            <a:xfrm>
              <a:off x="5834342" y="1966633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BA81A63-E613-3747-D233-942B39EE238F}"/>
                </a:ext>
              </a:extLst>
            </p:cNvPr>
            <p:cNvSpPr/>
            <p:nvPr/>
          </p:nvSpPr>
          <p:spPr>
            <a:xfrm>
              <a:off x="7503459" y="1966632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626FAEA-3014-A0D8-54D9-A435F03C16D0}"/>
              </a:ext>
            </a:extLst>
          </p:cNvPr>
          <p:cNvCxnSpPr/>
          <p:nvPr/>
        </p:nvCxnSpPr>
        <p:spPr>
          <a:xfrm>
            <a:off x="1243853" y="2571750"/>
            <a:ext cx="7900147" cy="0"/>
          </a:xfrm>
          <a:prstGeom prst="line">
            <a:avLst/>
          </a:prstGeom>
          <a:ln w="28575">
            <a:solidFill>
              <a:schemeClr val="accent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55BE2B15-C26E-2755-7B15-CC1CA0BDFF97}"/>
              </a:ext>
            </a:extLst>
          </p:cNvPr>
          <p:cNvSpPr txBox="1">
            <a:spLocks/>
          </p:cNvSpPr>
          <p:nvPr/>
        </p:nvSpPr>
        <p:spPr>
          <a:xfrm>
            <a:off x="258954" y="194977"/>
            <a:ext cx="6690486" cy="1956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1400" b="0" i="0" kern="1200" spc="-30" baseline="0" dirty="0">
                <a:solidFill>
                  <a:schemeClr val="accent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1800">
                <a:cs typeface="+mj-cs"/>
              </a:rPr>
              <a:t>Shaping the way we live and move since 1880</a:t>
            </a:r>
          </a:p>
          <a:p>
            <a:pPr>
              <a:lnSpc>
                <a:spcPct val="100000"/>
              </a:lnSpc>
            </a:pPr>
            <a:r>
              <a:rPr lang="zh-CN" altLang="en-US" sz="1600">
                <a:cs typeface="+mj-cs"/>
              </a:rPr>
              <a:t>自</a:t>
            </a:r>
            <a:r>
              <a:rPr lang="en-US" altLang="zh-CN" sz="1600">
                <a:cs typeface="+mj-cs"/>
              </a:rPr>
              <a:t>1880</a:t>
            </a:r>
            <a:r>
              <a:rPr lang="zh-CN" altLang="en-US" sz="1600">
                <a:cs typeface="+mj-cs"/>
              </a:rPr>
              <a:t>年以来，我们致力于塑造人们的生活与出行方式</a:t>
            </a:r>
            <a:endParaRPr lang="en-GB" sz="1600">
              <a:cs typeface="+mj-cs"/>
            </a:endParaRP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EA4D9F7F-3574-202D-4EAB-49A5379E7865}"/>
              </a:ext>
            </a:extLst>
          </p:cNvPr>
          <p:cNvSpPr txBox="1">
            <a:spLocks/>
          </p:cNvSpPr>
          <p:nvPr/>
        </p:nvSpPr>
        <p:spPr>
          <a:xfrm>
            <a:off x="258954" y="518400"/>
            <a:ext cx="6698615" cy="239712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lang="en-US" sz="1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marR="0" indent="-144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0000" marR="0" indent="-144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2557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351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7663" indent="-1397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BE" err="1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09E3BEE8-A73F-F1DD-70AD-4622112B60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405" y="1245041"/>
            <a:ext cx="889000" cy="88900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F27DE186-A3D6-0A7A-C437-D4239BFAE84E}"/>
              </a:ext>
            </a:extLst>
          </p:cNvPr>
          <p:cNvSpPr txBox="1"/>
          <p:nvPr/>
        </p:nvSpPr>
        <p:spPr>
          <a:xfrm>
            <a:off x="958105" y="2440835"/>
            <a:ext cx="89086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188</a:t>
            </a:r>
            <a:r>
              <a:rPr lang="nl-BE" sz="1000" b="1">
                <a:solidFill>
                  <a:schemeClr val="bg1"/>
                </a:solidFill>
                <a:latin typeface="+mj-lt"/>
              </a:rPr>
              <a:t>0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5428DA9-91BE-7FDE-7027-B046D8476AB0}"/>
              </a:ext>
            </a:extLst>
          </p:cNvPr>
          <p:cNvSpPr txBox="1"/>
          <p:nvPr/>
        </p:nvSpPr>
        <p:spPr>
          <a:xfrm>
            <a:off x="2625119" y="2440835"/>
            <a:ext cx="59881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1922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949901A-7CDE-BAED-B7FE-F0FE3946AFE0}"/>
              </a:ext>
            </a:extLst>
          </p:cNvPr>
          <p:cNvSpPr txBox="1"/>
          <p:nvPr/>
        </p:nvSpPr>
        <p:spPr>
          <a:xfrm>
            <a:off x="4292133" y="2440835"/>
            <a:ext cx="60091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1928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91CB317-EF2B-F37A-B364-7AD6D6DCB3F6}"/>
              </a:ext>
            </a:extLst>
          </p:cNvPr>
          <p:cNvSpPr txBox="1"/>
          <p:nvPr/>
        </p:nvSpPr>
        <p:spPr>
          <a:xfrm>
            <a:off x="5959147" y="2440835"/>
            <a:ext cx="60301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1945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D0C946C-904B-F2E7-CB9E-0C712D35F642}"/>
              </a:ext>
            </a:extLst>
          </p:cNvPr>
          <p:cNvSpPr txBox="1"/>
          <p:nvPr/>
        </p:nvSpPr>
        <p:spPr>
          <a:xfrm>
            <a:off x="7626163" y="2440835"/>
            <a:ext cx="58662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000" b="1">
                <a:solidFill>
                  <a:schemeClr val="bg1"/>
                </a:solidFill>
                <a:latin typeface="+mj-lt"/>
              </a:rPr>
              <a:t>1950</a:t>
            </a:r>
            <a:endParaRPr lang="en-BE" sz="1000">
              <a:solidFill>
                <a:schemeClr val="bg1"/>
              </a:solidFill>
            </a:endParaRPr>
          </a:p>
        </p:txBody>
      </p:sp>
      <p:pic>
        <p:nvPicPr>
          <p:cNvPr id="9" name="Picture 8" descr="An aerial view of a factory&#10;&#10;Description automatically generated">
            <a:extLst>
              <a:ext uri="{FF2B5EF4-FFF2-40B4-BE49-F238E27FC236}">
                <a16:creationId xmlns:a16="http://schemas.microsoft.com/office/drawing/2014/main" id="{02D9AE74-E3D7-804F-125D-32E4CCA9B40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072" y="3191487"/>
            <a:ext cx="1295400" cy="876300"/>
          </a:xfrm>
          <a:prstGeom prst="rect">
            <a:avLst/>
          </a:prstGeom>
        </p:spPr>
      </p:pic>
      <p:sp>
        <p:nvSpPr>
          <p:cNvPr id="13" name="TextBox 15">
            <a:extLst>
              <a:ext uri="{FF2B5EF4-FFF2-40B4-BE49-F238E27FC236}">
                <a16:creationId xmlns:a16="http://schemas.microsoft.com/office/drawing/2014/main" id="{D53E1D5F-AE6E-2215-08E1-CD2B8AF4A413}"/>
              </a:ext>
            </a:extLst>
          </p:cNvPr>
          <p:cNvSpPr txBox="1"/>
          <p:nvPr/>
        </p:nvSpPr>
        <p:spPr>
          <a:xfrm>
            <a:off x="6760336" y="408988"/>
            <a:ext cx="2383664" cy="639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lnSpc>
                <a:spcPct val="110000"/>
              </a:lnSpc>
              <a:buClr>
                <a:schemeClr val="accent1"/>
              </a:buClr>
              <a:defRPr sz="900"/>
            </a:lvl1pPr>
          </a:lstStyle>
          <a:p>
            <a:r>
              <a:rPr lang="en-US"/>
              <a:t>Bekaert keeps exploring new territories</a:t>
            </a:r>
            <a:r>
              <a:rPr lang="en-BE"/>
              <a:t> and starts in Latin America</a:t>
            </a:r>
            <a:endParaRPr lang="en-US"/>
          </a:p>
          <a:p>
            <a:endParaRPr lang="en-US" sz="600"/>
          </a:p>
          <a:p>
            <a:pPr algn="ctr"/>
            <a:r>
              <a:rPr lang="zh-CN" altLang="en-US" sz="900" b="0" i="0">
                <a:solidFill>
                  <a:srgbClr val="404040"/>
                </a:solidFill>
                <a:effectLst/>
                <a:latin typeface="Inter"/>
              </a:rPr>
              <a:t>贝卡尔特不断开拓新市场，进军拉美地区</a:t>
            </a:r>
            <a:r>
              <a:rPr lang="zh-CN" altLang="en-US" sz="900"/>
              <a:t>。</a:t>
            </a:r>
            <a:r>
              <a:rPr lang="en-US" sz="900"/>
              <a:t> </a:t>
            </a:r>
            <a:endParaRPr lang="en-BE" sz="900"/>
          </a:p>
        </p:txBody>
      </p:sp>
      <p:pic>
        <p:nvPicPr>
          <p:cNvPr id="14" name="Picture 38" descr="An aerial view of a factory&#10;&#10;Description automatically generated">
            <a:extLst>
              <a:ext uri="{FF2B5EF4-FFF2-40B4-BE49-F238E27FC236}">
                <a16:creationId xmlns:a16="http://schemas.microsoft.com/office/drawing/2014/main" id="{9D3B81CF-2011-66E2-5ADC-48C9CFCC3C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758" y="1077737"/>
            <a:ext cx="1476955" cy="968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61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E9E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A270FE-8456-4EFC-CCA6-C2A181542B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17986C3F-2430-1E58-915F-734A4492E58F}"/>
              </a:ext>
            </a:extLst>
          </p:cNvPr>
          <p:cNvSpPr txBox="1"/>
          <p:nvPr/>
        </p:nvSpPr>
        <p:spPr>
          <a:xfrm>
            <a:off x="2812122" y="4243949"/>
            <a:ext cx="2768161" cy="639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en-BE" sz="900"/>
              <a:t>Bekaert establishes its f</a:t>
            </a:r>
            <a:r>
              <a:rPr lang="en-GB" sz="900" err="1"/>
              <a:t>irst</a:t>
            </a:r>
            <a:r>
              <a:rPr lang="en-GB" sz="900"/>
              <a:t> R&amp;D </a:t>
            </a:r>
            <a:r>
              <a:rPr lang="en-GB" sz="900" err="1"/>
              <a:t>center</a:t>
            </a:r>
            <a:r>
              <a:rPr lang="en-GB" sz="900"/>
              <a:t> in </a:t>
            </a:r>
            <a:r>
              <a:rPr lang="en-GB" sz="900" err="1"/>
              <a:t>Deerlijk</a:t>
            </a:r>
            <a:r>
              <a:rPr lang="en-BE" sz="900"/>
              <a:t>, Belgium</a:t>
            </a:r>
            <a:endParaRPr lang="en-US" sz="900"/>
          </a:p>
          <a:p>
            <a:pPr algn="l">
              <a:lnSpc>
                <a:spcPct val="110000"/>
              </a:lnSpc>
              <a:buClr>
                <a:schemeClr val="accent1"/>
              </a:buClr>
            </a:pPr>
            <a:endParaRPr lang="en-US" sz="6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900"/>
              <a:t>贝卡尔特在比利时</a:t>
            </a:r>
            <a:r>
              <a:rPr lang="en-GB" sz="900" err="1"/>
              <a:t>Deerlijk</a:t>
            </a:r>
            <a:r>
              <a:rPr lang="zh-CN" altLang="en-US" sz="900"/>
              <a:t>建立了第一个研发中心。</a:t>
            </a:r>
            <a:endParaRPr lang="en-BE" sz="9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9038760-E982-A85F-3E56-C029E5206E37}"/>
              </a:ext>
            </a:extLst>
          </p:cNvPr>
          <p:cNvSpPr txBox="1"/>
          <p:nvPr/>
        </p:nvSpPr>
        <p:spPr>
          <a:xfrm>
            <a:off x="2469142" y="1196650"/>
            <a:ext cx="1856149" cy="1096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en-US" sz="900"/>
              <a:t>Bekaert takes its first steps in Asia with a steel cord representative in Tokyo, Japan</a:t>
            </a:r>
          </a:p>
          <a:p>
            <a:pPr algn="l">
              <a:lnSpc>
                <a:spcPct val="110000"/>
              </a:lnSpc>
              <a:buClr>
                <a:schemeClr val="accent1"/>
              </a:buClr>
            </a:pPr>
            <a:endParaRPr lang="en-US" sz="600"/>
          </a:p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zh-CN" altLang="en-US" sz="900"/>
              <a:t>贝卡尔特迈出亚洲市场的第一步，在日本东京设立钢帘线代表处。</a:t>
            </a:r>
            <a:endParaRPr lang="en-US" sz="9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ED584BD-60E6-A097-A07B-7C91DC1D98FF}"/>
              </a:ext>
            </a:extLst>
          </p:cNvPr>
          <p:cNvSpPr txBox="1"/>
          <p:nvPr/>
        </p:nvSpPr>
        <p:spPr>
          <a:xfrm>
            <a:off x="5849436" y="210587"/>
            <a:ext cx="214415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BE" sz="900"/>
              <a:t>Bekaert is listed on the Belgian stock exchange</a:t>
            </a:r>
            <a:endParaRPr lang="en-US" sz="700"/>
          </a:p>
          <a:p>
            <a:pPr>
              <a:buClr>
                <a:schemeClr val="accent1"/>
              </a:buClr>
            </a:pPr>
            <a:endParaRPr lang="nl-BE" altLang="zh-CN" sz="600"/>
          </a:p>
          <a:p>
            <a:pPr>
              <a:buClr>
                <a:schemeClr val="accent1"/>
              </a:buClr>
            </a:pPr>
            <a:r>
              <a:rPr lang="zh-CN" altLang="en-US" sz="900"/>
              <a:t>贝卡尔特在比利时证券交易所上市。</a:t>
            </a:r>
            <a:endParaRPr lang="en-BE" sz="9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D68C39-5C8E-BB3D-3648-2C7565EE00B6}"/>
              </a:ext>
            </a:extLst>
          </p:cNvPr>
          <p:cNvCxnSpPr>
            <a:cxnSpLocks/>
          </p:cNvCxnSpPr>
          <p:nvPr/>
        </p:nvCxnSpPr>
        <p:spPr>
          <a:xfrm>
            <a:off x="-67235" y="2571750"/>
            <a:ext cx="9278470" cy="0"/>
          </a:xfrm>
          <a:prstGeom prst="line">
            <a:avLst/>
          </a:prstGeom>
          <a:ln w="28575">
            <a:solidFill>
              <a:schemeClr val="accent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780798A2-FA3F-F20A-C8F8-D4A9CD36E152}"/>
              </a:ext>
            </a:extLst>
          </p:cNvPr>
          <p:cNvSpPr txBox="1"/>
          <p:nvPr/>
        </p:nvSpPr>
        <p:spPr>
          <a:xfrm>
            <a:off x="7603187" y="3310236"/>
            <a:ext cx="1520641" cy="14518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en-US" sz="900"/>
              <a:t>Bekaert develops </a:t>
            </a:r>
            <a:r>
              <a:rPr lang="en-US" sz="900" err="1"/>
              <a:t>Dramix</a:t>
            </a:r>
            <a:r>
              <a:rPr lang="en-US" sz="900"/>
              <a:t>® steel fibers for concrete reinforcement</a:t>
            </a:r>
          </a:p>
          <a:p>
            <a:pPr algn="l">
              <a:lnSpc>
                <a:spcPct val="110000"/>
              </a:lnSpc>
              <a:buClr>
                <a:schemeClr val="accent1"/>
              </a:buClr>
            </a:pPr>
            <a:endParaRPr lang="en-US" sz="6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900"/>
              <a:t>贝卡尔特开发</a:t>
            </a:r>
            <a:r>
              <a:rPr lang="en-US" altLang="zh-CN" sz="900" err="1"/>
              <a:t>Dramix</a:t>
            </a:r>
            <a:r>
              <a:rPr lang="en-US" altLang="zh-CN" sz="900"/>
              <a:t>®</a:t>
            </a:r>
            <a:r>
              <a:rPr lang="zh-CN" altLang="en-US" sz="900"/>
              <a:t>钢纤维，为混凝土加固提供兼具环境友好和经济效益的解决方案。</a:t>
            </a:r>
            <a:r>
              <a:rPr lang="en-US" sz="900"/>
              <a:t> </a:t>
            </a:r>
            <a:endParaRPr lang="en-BE" sz="90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EBF1295-85CD-5124-2B2D-98BB54A391BC}"/>
              </a:ext>
            </a:extLst>
          </p:cNvPr>
          <p:cNvGrpSpPr/>
          <p:nvPr/>
        </p:nvGrpSpPr>
        <p:grpSpPr>
          <a:xfrm>
            <a:off x="680189" y="2269192"/>
            <a:ext cx="632011" cy="1360445"/>
            <a:chOff x="680189" y="2269192"/>
            <a:chExt cx="632011" cy="1360445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AB3BFD9-5D97-D13A-C027-24983E43711A}"/>
                </a:ext>
              </a:extLst>
            </p:cNvPr>
            <p:cNvCxnSpPr/>
            <p:nvPr/>
          </p:nvCxnSpPr>
          <p:spPr>
            <a:xfrm>
              <a:off x="967999" y="2874308"/>
              <a:ext cx="0" cy="755329"/>
            </a:xfrm>
            <a:prstGeom prst="line">
              <a:avLst/>
            </a:prstGeom>
            <a:ln w="19050" cap="rnd">
              <a:solidFill>
                <a:srgbClr val="764930"/>
              </a:solidFill>
              <a:prstDash val="sysDot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83E1656C-115D-E9A4-2933-1A23250AD79A}"/>
                </a:ext>
              </a:extLst>
            </p:cNvPr>
            <p:cNvSpPr/>
            <p:nvPr/>
          </p:nvSpPr>
          <p:spPr>
            <a:xfrm>
              <a:off x="680189" y="2269192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404C44D-F12A-C358-6CFA-DBFD607CC1D7}"/>
                </a:ext>
              </a:extLst>
            </p:cNvPr>
            <p:cNvSpPr txBox="1"/>
            <p:nvPr/>
          </p:nvSpPr>
          <p:spPr>
            <a:xfrm>
              <a:off x="707085" y="2440835"/>
              <a:ext cx="605115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BE" sz="1000" b="1">
                  <a:solidFill>
                    <a:schemeClr val="bg1"/>
                  </a:solidFill>
                  <a:latin typeface="+mj-lt"/>
                </a:rPr>
                <a:t>1951</a:t>
              </a:r>
              <a:endParaRPr lang="en-BE" sz="100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7A377F9-66CF-BF5C-77D5-DFC5F6FA3AD7}"/>
              </a:ext>
            </a:extLst>
          </p:cNvPr>
          <p:cNvGrpSpPr/>
          <p:nvPr/>
        </p:nvGrpSpPr>
        <p:grpSpPr>
          <a:xfrm>
            <a:off x="2164212" y="1277095"/>
            <a:ext cx="605117" cy="1597214"/>
            <a:chOff x="2002519" y="1277095"/>
            <a:chExt cx="605117" cy="1597214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159BD50-A5A9-6814-FE6F-C3D0927997A4}"/>
                </a:ext>
              </a:extLst>
            </p:cNvPr>
            <p:cNvCxnSpPr>
              <a:cxnSpLocks/>
            </p:cNvCxnSpPr>
            <p:nvPr/>
          </p:nvCxnSpPr>
          <p:spPr>
            <a:xfrm>
              <a:off x="2305078" y="1277095"/>
              <a:ext cx="0" cy="1003407"/>
            </a:xfrm>
            <a:prstGeom prst="line">
              <a:avLst/>
            </a:prstGeom>
            <a:ln w="19050" cap="rnd">
              <a:solidFill>
                <a:srgbClr val="764930"/>
              </a:solidFill>
              <a:prstDash val="sysDot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EBC6DE59-311C-1AF4-1613-50F1C0820626}"/>
                </a:ext>
              </a:extLst>
            </p:cNvPr>
            <p:cNvSpPr/>
            <p:nvPr/>
          </p:nvSpPr>
          <p:spPr>
            <a:xfrm>
              <a:off x="2002519" y="2269192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EFA4345-DE23-259B-0D84-3591F249AF03}"/>
                </a:ext>
              </a:extLst>
            </p:cNvPr>
            <p:cNvSpPr txBox="1"/>
            <p:nvPr/>
          </p:nvSpPr>
          <p:spPr>
            <a:xfrm>
              <a:off x="2027313" y="2440835"/>
              <a:ext cx="580323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BE" sz="1000" b="1">
                  <a:solidFill>
                    <a:schemeClr val="bg1"/>
                  </a:solidFill>
                  <a:latin typeface="+mj-lt"/>
                </a:rPr>
                <a:t>1957</a:t>
              </a:r>
              <a:endParaRPr lang="en-BE" sz="1000">
                <a:solidFill>
                  <a:schemeClr val="bg1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ACFD46E-04CB-E761-41E5-B3904D1BEF5C}"/>
              </a:ext>
            </a:extLst>
          </p:cNvPr>
          <p:cNvGrpSpPr/>
          <p:nvPr/>
        </p:nvGrpSpPr>
        <p:grpSpPr>
          <a:xfrm>
            <a:off x="3621341" y="2269192"/>
            <a:ext cx="605117" cy="1360445"/>
            <a:chOff x="3483084" y="2269192"/>
            <a:chExt cx="605117" cy="1360445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94D490FC-3636-AAB5-6F2B-29662D932EB0}"/>
                </a:ext>
              </a:extLst>
            </p:cNvPr>
            <p:cNvCxnSpPr/>
            <p:nvPr/>
          </p:nvCxnSpPr>
          <p:spPr>
            <a:xfrm>
              <a:off x="3783065" y="2874308"/>
              <a:ext cx="0" cy="755329"/>
            </a:xfrm>
            <a:prstGeom prst="line">
              <a:avLst/>
            </a:prstGeom>
            <a:ln w="19050" cap="rnd">
              <a:solidFill>
                <a:srgbClr val="764930"/>
              </a:solidFill>
              <a:prstDash val="sysDot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19B6952-CAA2-9C06-710B-BD44671EA69D}"/>
                </a:ext>
              </a:extLst>
            </p:cNvPr>
            <p:cNvSpPr/>
            <p:nvPr/>
          </p:nvSpPr>
          <p:spPr>
            <a:xfrm>
              <a:off x="3483084" y="2269192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2EE5426-CA44-B075-13A9-5A961E8FDDF8}"/>
                </a:ext>
              </a:extLst>
            </p:cNvPr>
            <p:cNvSpPr txBox="1"/>
            <p:nvPr/>
          </p:nvSpPr>
          <p:spPr>
            <a:xfrm>
              <a:off x="3505776" y="2440835"/>
              <a:ext cx="57906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BE" sz="1000" b="1">
                  <a:solidFill>
                    <a:schemeClr val="bg1"/>
                  </a:solidFill>
                  <a:latin typeface="+mj-lt"/>
                </a:rPr>
                <a:t>1964</a:t>
              </a:r>
              <a:endParaRPr lang="en-BE" sz="100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82B9940-46CF-D221-CECD-8C51CDF7A43E}"/>
              </a:ext>
            </a:extLst>
          </p:cNvPr>
          <p:cNvGrpSpPr/>
          <p:nvPr/>
        </p:nvGrpSpPr>
        <p:grpSpPr>
          <a:xfrm>
            <a:off x="6535599" y="1525173"/>
            <a:ext cx="605117" cy="1349136"/>
            <a:chOff x="6312235" y="1525173"/>
            <a:chExt cx="605117" cy="1349136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B3C468A7-89F2-A0C5-7C74-A71493C19900}"/>
                </a:ext>
              </a:extLst>
            </p:cNvPr>
            <p:cNvCxnSpPr>
              <a:cxnSpLocks/>
            </p:cNvCxnSpPr>
            <p:nvPr/>
          </p:nvCxnSpPr>
          <p:spPr>
            <a:xfrm>
              <a:off x="6614793" y="1525173"/>
              <a:ext cx="0" cy="755329"/>
            </a:xfrm>
            <a:prstGeom prst="line">
              <a:avLst/>
            </a:prstGeom>
            <a:ln w="19050" cap="rnd">
              <a:solidFill>
                <a:srgbClr val="764930"/>
              </a:solidFill>
              <a:prstDash val="sysDot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1EEA6F42-5A81-0DA1-1F00-10AB89FCA1B1}"/>
                </a:ext>
              </a:extLst>
            </p:cNvPr>
            <p:cNvSpPr/>
            <p:nvPr/>
          </p:nvSpPr>
          <p:spPr>
            <a:xfrm>
              <a:off x="6312235" y="2269192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1D71188-91DD-964D-E22E-8191BECE437E}"/>
                </a:ext>
              </a:extLst>
            </p:cNvPr>
            <p:cNvSpPr txBox="1"/>
            <p:nvPr/>
          </p:nvSpPr>
          <p:spPr>
            <a:xfrm>
              <a:off x="6332826" y="2440835"/>
              <a:ext cx="584526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BE" sz="1000" b="1">
                  <a:solidFill>
                    <a:schemeClr val="bg1"/>
                  </a:solidFill>
                  <a:latin typeface="+mj-lt"/>
                </a:rPr>
                <a:t>1972</a:t>
              </a:r>
              <a:endParaRPr lang="en-BE" sz="100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FC412AB-64D7-1D9E-A8E3-4825857CB6E5}"/>
              </a:ext>
            </a:extLst>
          </p:cNvPr>
          <p:cNvGrpSpPr/>
          <p:nvPr/>
        </p:nvGrpSpPr>
        <p:grpSpPr>
          <a:xfrm>
            <a:off x="7992730" y="2269191"/>
            <a:ext cx="605118" cy="994709"/>
            <a:chOff x="7992730" y="2269191"/>
            <a:chExt cx="605118" cy="994709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2A507BA-B62D-189F-31F2-E1EF94DA52AE}"/>
                </a:ext>
              </a:extLst>
            </p:cNvPr>
            <p:cNvSpPr/>
            <p:nvPr/>
          </p:nvSpPr>
          <p:spPr>
            <a:xfrm>
              <a:off x="7992730" y="2269191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6881E13-8390-116C-A940-865B4CFC448C}"/>
                </a:ext>
              </a:extLst>
            </p:cNvPr>
            <p:cNvCxnSpPr>
              <a:cxnSpLocks/>
            </p:cNvCxnSpPr>
            <p:nvPr/>
          </p:nvCxnSpPr>
          <p:spPr>
            <a:xfrm>
              <a:off x="8303064" y="2881687"/>
              <a:ext cx="0" cy="382213"/>
            </a:xfrm>
            <a:prstGeom prst="line">
              <a:avLst/>
            </a:prstGeom>
            <a:ln w="19050" cap="rnd">
              <a:solidFill>
                <a:srgbClr val="764930"/>
              </a:solidFill>
              <a:prstDash val="sysDot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66F86659-3FD9-0FDF-83B3-033CEE51098E}"/>
                </a:ext>
              </a:extLst>
            </p:cNvPr>
            <p:cNvSpPr txBox="1"/>
            <p:nvPr/>
          </p:nvSpPr>
          <p:spPr>
            <a:xfrm>
              <a:off x="8011220" y="2440835"/>
              <a:ext cx="586628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BE" sz="1000" b="1">
                  <a:solidFill>
                    <a:schemeClr val="bg1"/>
                  </a:solidFill>
                  <a:latin typeface="+mj-lt"/>
                </a:rPr>
                <a:t>1973</a:t>
              </a:r>
              <a:endParaRPr lang="en-BE" sz="1000">
                <a:solidFill>
                  <a:schemeClr val="bg1"/>
                </a:solidFill>
              </a:endParaRPr>
            </a:p>
          </p:txBody>
        </p:sp>
      </p:grpSp>
      <p:pic>
        <p:nvPicPr>
          <p:cNvPr id="35" name="Picture 34" descr="A group of men in suits&#10;&#10;Description automatically generated">
            <a:extLst>
              <a:ext uri="{FF2B5EF4-FFF2-40B4-BE49-F238E27FC236}">
                <a16:creationId xmlns:a16="http://schemas.microsoft.com/office/drawing/2014/main" id="{03CF1396-28F7-8227-0822-D64902A941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6419" y="841861"/>
            <a:ext cx="1767224" cy="1178149"/>
          </a:xfrm>
          <a:prstGeom prst="rect">
            <a:avLst/>
          </a:prstGeom>
        </p:spPr>
      </p:pic>
      <p:pic>
        <p:nvPicPr>
          <p:cNvPr id="41" name="Picture 40" descr="A few men in white coats working in a factory&#10;&#10;Description automatically generated">
            <a:extLst>
              <a:ext uri="{FF2B5EF4-FFF2-40B4-BE49-F238E27FC236}">
                <a16:creationId xmlns:a16="http://schemas.microsoft.com/office/drawing/2014/main" id="{F43EBC91-7F67-D6B5-48F0-BF1CE23E8A4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8823" y="3057344"/>
            <a:ext cx="1768483" cy="1164251"/>
          </a:xfrm>
          <a:prstGeom prst="rect">
            <a:avLst/>
          </a:prstGeom>
        </p:spPr>
      </p:pic>
      <p:sp>
        <p:nvSpPr>
          <p:cNvPr id="7" name="TextBox 30">
            <a:extLst>
              <a:ext uri="{FF2B5EF4-FFF2-40B4-BE49-F238E27FC236}">
                <a16:creationId xmlns:a16="http://schemas.microsoft.com/office/drawing/2014/main" id="{9E7869E1-8869-CC5D-F2BC-0E38D358ECF7}"/>
              </a:ext>
            </a:extLst>
          </p:cNvPr>
          <p:cNvSpPr txBox="1"/>
          <p:nvPr/>
        </p:nvSpPr>
        <p:spPr>
          <a:xfrm>
            <a:off x="10557" y="4264085"/>
            <a:ext cx="1998169" cy="791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BE" sz="900"/>
              <a:t>Bekaert starts making </a:t>
            </a:r>
            <a:r>
              <a:rPr lang="en-GB" sz="900"/>
              <a:t>steel cord for the tire industry</a:t>
            </a:r>
          </a:p>
          <a:p>
            <a:pPr>
              <a:lnSpc>
                <a:spcPct val="110000"/>
              </a:lnSpc>
              <a:buClr>
                <a:schemeClr val="accent1"/>
              </a:buClr>
            </a:pPr>
            <a:endParaRPr lang="en-GB" sz="6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900"/>
              <a:t>贝卡尔特开始为轮胎行业生产子午线轮胎骨架材料钢帘线。</a:t>
            </a:r>
            <a:endParaRPr lang="en-BE" sz="900"/>
          </a:p>
        </p:txBody>
      </p:sp>
      <p:pic>
        <p:nvPicPr>
          <p:cNvPr id="9" name="Picture 50" descr="A close-up of a tire&#10;&#10;Description automatically generated">
            <a:extLst>
              <a:ext uri="{FF2B5EF4-FFF2-40B4-BE49-F238E27FC236}">
                <a16:creationId xmlns:a16="http://schemas.microsoft.com/office/drawing/2014/main" id="{303EF383-36EF-BEDC-196A-5C7860319C0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53" y="3045952"/>
            <a:ext cx="1774994" cy="121813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DFE98FC-B0CD-5E0D-76EC-4B5C8AFB4530}"/>
              </a:ext>
            </a:extLst>
          </p:cNvPr>
          <p:cNvSpPr txBox="1"/>
          <p:nvPr/>
        </p:nvSpPr>
        <p:spPr>
          <a:xfrm>
            <a:off x="5386316" y="3336759"/>
            <a:ext cx="1839481" cy="9439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en-US" sz="900"/>
              <a:t>Opening of 6 new plants, including in the United States.</a:t>
            </a:r>
          </a:p>
          <a:p>
            <a:pPr algn="l">
              <a:lnSpc>
                <a:spcPct val="110000"/>
              </a:lnSpc>
              <a:buClr>
                <a:schemeClr val="accent1"/>
              </a:buClr>
            </a:pPr>
            <a:endParaRPr lang="en-US" sz="6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900"/>
              <a:t>开设</a:t>
            </a:r>
            <a:r>
              <a:rPr lang="en-US" altLang="zh-CN" sz="900"/>
              <a:t>6</a:t>
            </a:r>
            <a:r>
              <a:rPr lang="zh-CN" altLang="en-US" sz="900"/>
              <a:t>家新工厂，其中包括在美国的工厂</a:t>
            </a:r>
            <a:r>
              <a:rPr lang="zh-CN" altLang="en-US" sz="900" b="0" i="0">
                <a:solidFill>
                  <a:srgbClr val="404040"/>
                </a:solidFill>
                <a:effectLst/>
                <a:latin typeface="Inter"/>
              </a:rPr>
              <a:t>。</a:t>
            </a:r>
            <a:endParaRPr lang="en-BE" sz="90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B742EA9-C41E-9742-1728-206C16C7C2E9}"/>
              </a:ext>
            </a:extLst>
          </p:cNvPr>
          <p:cNvGrpSpPr/>
          <p:nvPr/>
        </p:nvGrpSpPr>
        <p:grpSpPr>
          <a:xfrm>
            <a:off x="5078470" y="2276570"/>
            <a:ext cx="605117" cy="1615877"/>
            <a:chOff x="5013601" y="2276570"/>
            <a:chExt cx="605117" cy="1615877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3645089-71AD-7B19-CB00-6CE4C2AE7281}"/>
                </a:ext>
              </a:extLst>
            </p:cNvPr>
            <p:cNvSpPr/>
            <p:nvPr/>
          </p:nvSpPr>
          <p:spPr>
            <a:xfrm>
              <a:off x="5013601" y="2276570"/>
              <a:ext cx="605117" cy="60511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130000"/>
                </a:lnSpc>
              </a:pPr>
              <a:endParaRPr lang="en-BE" sz="1200" b="0" i="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213D323-C305-0419-5A74-C664BCC69284}"/>
                </a:ext>
              </a:extLst>
            </p:cNvPr>
            <p:cNvSpPr txBox="1"/>
            <p:nvPr/>
          </p:nvSpPr>
          <p:spPr>
            <a:xfrm>
              <a:off x="5034191" y="2448213"/>
              <a:ext cx="584527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BE" sz="1000" b="1">
                  <a:solidFill>
                    <a:schemeClr val="bg1"/>
                  </a:solidFill>
                  <a:latin typeface="+mj-lt"/>
                </a:rPr>
                <a:t>1970</a:t>
              </a:r>
              <a:endParaRPr lang="en-BE" sz="1000">
                <a:solidFill>
                  <a:schemeClr val="bg1"/>
                </a:solidFill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B7EBC67-7985-9ED9-7AEB-424206C101EF}"/>
                </a:ext>
              </a:extLst>
            </p:cNvPr>
            <p:cNvCxnSpPr>
              <a:cxnSpLocks/>
            </p:cNvCxnSpPr>
            <p:nvPr/>
          </p:nvCxnSpPr>
          <p:spPr>
            <a:xfrm>
              <a:off x="5320325" y="2889040"/>
              <a:ext cx="0" cy="1003407"/>
            </a:xfrm>
            <a:prstGeom prst="line">
              <a:avLst/>
            </a:prstGeom>
            <a:ln w="19050" cap="rnd">
              <a:solidFill>
                <a:srgbClr val="764930"/>
              </a:solidFill>
              <a:prstDash val="sysDot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669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:push/>
      </p:transition>
    </mc:Choice>
    <mc:Fallback xmlns="">
      <p:transition spd="slow">
        <p:push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E9E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605AACE-80D3-79E9-858D-1A8DF2FD6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9ED01FA6-6881-0A21-44AE-8CA9C3807C32}"/>
              </a:ext>
            </a:extLst>
          </p:cNvPr>
          <p:cNvSpPr txBox="1"/>
          <p:nvPr/>
        </p:nvSpPr>
        <p:spPr>
          <a:xfrm>
            <a:off x="2270830" y="3261272"/>
            <a:ext cx="1292314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BE" sz="900"/>
              <a:t>First investment in China</a:t>
            </a:r>
            <a:r>
              <a:rPr lang="nl-BE" sz="900"/>
              <a:t> to produce tire cord</a:t>
            </a:r>
          </a:p>
          <a:p>
            <a:pPr algn="l">
              <a:buClr>
                <a:schemeClr val="accent1"/>
              </a:buClr>
            </a:pPr>
            <a:endParaRPr lang="nl-BE" sz="600"/>
          </a:p>
          <a:p>
            <a:pPr>
              <a:buClr>
                <a:schemeClr val="accent1"/>
              </a:buClr>
            </a:pPr>
            <a:r>
              <a:rPr lang="zh-CN" altLang="en-US" sz="900"/>
              <a:t>在中国投资第一家钢帘线工厂。</a:t>
            </a:r>
            <a:endParaRPr lang="en-BE" sz="9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DE3693-E8D4-81F8-4407-FEA1C0DF688D}"/>
              </a:ext>
            </a:extLst>
          </p:cNvPr>
          <p:cNvSpPr txBox="1"/>
          <p:nvPr/>
        </p:nvSpPr>
        <p:spPr>
          <a:xfrm>
            <a:off x="697248" y="220004"/>
            <a:ext cx="1671877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BE" sz="900"/>
              <a:t>Start of</a:t>
            </a:r>
            <a:r>
              <a:rPr lang="nl-BE" sz="900"/>
              <a:t> composite activities and steel fiber for</a:t>
            </a:r>
            <a:r>
              <a:rPr lang="en-BE" sz="900"/>
              <a:t> </a:t>
            </a:r>
            <a:r>
              <a:rPr lang="en-US" sz="900"/>
              <a:t>filtration</a:t>
            </a:r>
          </a:p>
          <a:p>
            <a:pPr>
              <a:buClr>
                <a:schemeClr val="accent1"/>
              </a:buClr>
            </a:pPr>
            <a:endParaRPr lang="en-US" sz="600"/>
          </a:p>
          <a:p>
            <a:pPr>
              <a:buClr>
                <a:schemeClr val="accent1"/>
              </a:buClr>
            </a:pPr>
            <a:r>
              <a:rPr lang="zh-CN" altLang="en-US" sz="900"/>
              <a:t>布局复合材料领域，投产过滤用钢纤维产品</a:t>
            </a:r>
            <a:endParaRPr lang="en-BE" sz="90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B652F9D-A3E2-E1E7-7B9E-196D50E7D7F4}"/>
              </a:ext>
            </a:extLst>
          </p:cNvPr>
          <p:cNvCxnSpPr>
            <a:cxnSpLocks/>
          </p:cNvCxnSpPr>
          <p:nvPr/>
        </p:nvCxnSpPr>
        <p:spPr>
          <a:xfrm>
            <a:off x="697249" y="1107596"/>
            <a:ext cx="0" cy="1172906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A145F68-6691-D92E-79E9-0C7D61F90B66}"/>
              </a:ext>
            </a:extLst>
          </p:cNvPr>
          <p:cNvSpPr txBox="1"/>
          <p:nvPr/>
        </p:nvSpPr>
        <p:spPr>
          <a:xfrm>
            <a:off x="3812394" y="1120673"/>
            <a:ext cx="1182504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BE" sz="900"/>
              <a:t>Opening of </a:t>
            </a:r>
            <a:r>
              <a:rPr lang="nl-BE" sz="900"/>
              <a:t>our </a:t>
            </a:r>
            <a:r>
              <a:rPr lang="en-GB" sz="900"/>
              <a:t>R&amp;D </a:t>
            </a:r>
            <a:r>
              <a:rPr lang="en-GB" sz="900" err="1"/>
              <a:t>center</a:t>
            </a:r>
            <a:r>
              <a:rPr lang="en-GB" sz="900"/>
              <a:t> in Jiangyin, China</a:t>
            </a:r>
          </a:p>
          <a:p>
            <a:pPr algn="l">
              <a:buClr>
                <a:schemeClr val="accent1"/>
              </a:buClr>
            </a:pPr>
            <a:endParaRPr lang="en-GB" sz="600"/>
          </a:p>
          <a:p>
            <a:pPr>
              <a:buClr>
                <a:schemeClr val="accent1"/>
              </a:buClr>
            </a:pPr>
            <a:r>
              <a:rPr lang="zh-CN" altLang="en-US" sz="900"/>
              <a:t>在中国江阴市设立亚洲研发中心。</a:t>
            </a:r>
            <a:endParaRPr lang="en-BE" sz="9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EC6A0A1-ABAC-F34B-D6EF-A9A73C7B5930}"/>
              </a:ext>
            </a:extLst>
          </p:cNvPr>
          <p:cNvSpPr/>
          <p:nvPr/>
        </p:nvSpPr>
        <p:spPr>
          <a:xfrm>
            <a:off x="383664" y="2269192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7CC725B-B85A-0FCD-0893-B35A2F150480}"/>
              </a:ext>
            </a:extLst>
          </p:cNvPr>
          <p:cNvSpPr/>
          <p:nvPr/>
        </p:nvSpPr>
        <p:spPr>
          <a:xfrm>
            <a:off x="1959164" y="2269192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A6AFDC2-F9A7-2A7A-C49F-79FF5FA5BFC9}"/>
              </a:ext>
            </a:extLst>
          </p:cNvPr>
          <p:cNvSpPr/>
          <p:nvPr/>
        </p:nvSpPr>
        <p:spPr>
          <a:xfrm>
            <a:off x="3534664" y="2269192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F5E60FF-200D-F47B-0DA1-26177DBC0B12}"/>
              </a:ext>
            </a:extLst>
          </p:cNvPr>
          <p:cNvSpPr/>
          <p:nvPr/>
        </p:nvSpPr>
        <p:spPr>
          <a:xfrm>
            <a:off x="5110164" y="2269192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9E8B3DB-EF92-39C7-65B0-9B12443BF923}"/>
              </a:ext>
            </a:extLst>
          </p:cNvPr>
          <p:cNvSpPr/>
          <p:nvPr/>
        </p:nvSpPr>
        <p:spPr>
          <a:xfrm>
            <a:off x="6685664" y="2276161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35DA2AB-265B-7BC2-41F5-1073477A5D70}"/>
              </a:ext>
            </a:extLst>
          </p:cNvPr>
          <p:cNvCxnSpPr>
            <a:cxnSpLocks/>
          </p:cNvCxnSpPr>
          <p:nvPr/>
        </p:nvCxnSpPr>
        <p:spPr>
          <a:xfrm>
            <a:off x="-67235" y="2571750"/>
            <a:ext cx="8927217" cy="0"/>
          </a:xfrm>
          <a:prstGeom prst="line">
            <a:avLst/>
          </a:prstGeom>
          <a:ln w="28575">
            <a:solidFill>
              <a:schemeClr val="accent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7087481-4009-3E49-EFA2-F6FACF45C45D}"/>
              </a:ext>
            </a:extLst>
          </p:cNvPr>
          <p:cNvSpPr txBox="1"/>
          <p:nvPr/>
        </p:nvSpPr>
        <p:spPr>
          <a:xfrm>
            <a:off x="5456009" y="3261272"/>
            <a:ext cx="1589363" cy="1096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nl-BE" sz="900"/>
              <a:t>Merger of Bekaert and Bridon, including R&amp;D center in Doncaster, UK</a:t>
            </a:r>
          </a:p>
          <a:p>
            <a:pPr algn="l">
              <a:lnSpc>
                <a:spcPct val="110000"/>
              </a:lnSpc>
              <a:buClr>
                <a:schemeClr val="accent1"/>
              </a:buClr>
            </a:pPr>
            <a:endParaRPr lang="nl-BE" sz="6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900"/>
              <a:t>贝卡尔特并购布顿集团，包括其位于英国</a:t>
            </a:r>
            <a:r>
              <a:rPr lang="zh-CN" altLang="en-US" sz="900" b="0" i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唐卡斯特</a:t>
            </a:r>
            <a:r>
              <a:rPr lang="zh-CN" altLang="en-US" sz="900"/>
              <a:t>的研发中心。</a:t>
            </a:r>
            <a:r>
              <a:rPr lang="nl-BE" sz="900"/>
              <a:t> </a:t>
            </a:r>
            <a:endParaRPr lang="en-BE" sz="90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9785A54-22B9-D35C-3730-726E1A9460AE}"/>
              </a:ext>
            </a:extLst>
          </p:cNvPr>
          <p:cNvCxnSpPr>
            <a:cxnSpLocks/>
          </p:cNvCxnSpPr>
          <p:nvPr/>
        </p:nvCxnSpPr>
        <p:spPr>
          <a:xfrm>
            <a:off x="6973206" y="1110863"/>
            <a:ext cx="8411" cy="114418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A6AA7F1-9FFA-6052-B2CE-59753B6CE607}"/>
              </a:ext>
            </a:extLst>
          </p:cNvPr>
          <p:cNvSpPr txBox="1"/>
          <p:nvPr/>
        </p:nvSpPr>
        <p:spPr>
          <a:xfrm>
            <a:off x="6967949" y="1069711"/>
            <a:ext cx="2040821" cy="1248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en-US" sz="900"/>
              <a:t>Bekaert expands its focus on (renewable) energy markets with new products, services, technologies and partnerships</a:t>
            </a:r>
          </a:p>
          <a:p>
            <a:pPr algn="l">
              <a:lnSpc>
                <a:spcPct val="110000"/>
              </a:lnSpc>
              <a:buClr>
                <a:schemeClr val="accent1"/>
              </a:buClr>
            </a:pPr>
            <a:endParaRPr lang="en-US" sz="600"/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zh-CN" altLang="en-US" sz="900"/>
              <a:t>贝卡尔特通过新产品、服务、技术以及合作伙伴关系，深化其在（可再生）能源市场的布局。</a:t>
            </a:r>
            <a:endParaRPr lang="en-BE" sz="9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FF9ACC0-937D-6829-53D9-C5FBFA93CEA8}"/>
              </a:ext>
            </a:extLst>
          </p:cNvPr>
          <p:cNvSpPr txBox="1"/>
          <p:nvPr/>
        </p:nvSpPr>
        <p:spPr>
          <a:xfrm>
            <a:off x="396265" y="2440835"/>
            <a:ext cx="6051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1984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4FADA16-26D9-757B-7DBF-538A91AD4D65}"/>
              </a:ext>
            </a:extLst>
          </p:cNvPr>
          <p:cNvSpPr txBox="1"/>
          <p:nvPr/>
        </p:nvSpPr>
        <p:spPr>
          <a:xfrm>
            <a:off x="1975974" y="2440835"/>
            <a:ext cx="59881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1993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B4C3BE2-3C7E-B8F7-573A-1D50E50311ED}"/>
              </a:ext>
            </a:extLst>
          </p:cNvPr>
          <p:cNvSpPr txBox="1"/>
          <p:nvPr/>
        </p:nvSpPr>
        <p:spPr>
          <a:xfrm>
            <a:off x="3567633" y="2440835"/>
            <a:ext cx="60091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2010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98132B6-C0D3-9817-2E85-8C5BBC2B00F4}"/>
              </a:ext>
            </a:extLst>
          </p:cNvPr>
          <p:cNvSpPr txBox="1"/>
          <p:nvPr/>
        </p:nvSpPr>
        <p:spPr>
          <a:xfrm>
            <a:off x="5150670" y="2440835"/>
            <a:ext cx="60301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2016</a:t>
            </a:r>
            <a:endParaRPr lang="en-BE" sz="100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C3B8463-81B5-6D0F-2F73-7A6CC8B8B9AD}"/>
              </a:ext>
            </a:extLst>
          </p:cNvPr>
          <p:cNvSpPr txBox="1"/>
          <p:nvPr/>
        </p:nvSpPr>
        <p:spPr>
          <a:xfrm>
            <a:off x="6685664" y="2440835"/>
            <a:ext cx="65386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000" b="1">
                <a:solidFill>
                  <a:schemeClr val="bg1"/>
                </a:solidFill>
                <a:latin typeface="+mj-lt"/>
              </a:rPr>
              <a:t>2022</a:t>
            </a:r>
            <a:endParaRPr lang="en-BE" sz="1000">
              <a:solidFill>
                <a:schemeClr val="bg1"/>
              </a:solidFill>
            </a:endParaRPr>
          </a:p>
        </p:txBody>
      </p:sp>
      <p:pic>
        <p:nvPicPr>
          <p:cNvPr id="35" name="Picture 34" descr="A group of people wearing red dresses&#10;&#10;Description automatically generated">
            <a:extLst>
              <a:ext uri="{FF2B5EF4-FFF2-40B4-BE49-F238E27FC236}">
                <a16:creationId xmlns:a16="http://schemas.microsoft.com/office/drawing/2014/main" id="{C3F6F504-19E4-233B-7AE3-B687460CE9C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12" y="3135366"/>
            <a:ext cx="1524000" cy="1003300"/>
          </a:xfrm>
          <a:prstGeom prst="rect">
            <a:avLst/>
          </a:prstGeom>
        </p:spPr>
      </p:pic>
      <p:pic>
        <p:nvPicPr>
          <p:cNvPr id="15" name="Picture 14" descr="Close-up of a microscope view of a group of bacteria&#10;&#10;Description automatically generated">
            <a:extLst>
              <a:ext uri="{FF2B5EF4-FFF2-40B4-BE49-F238E27FC236}">
                <a16:creationId xmlns:a16="http://schemas.microsoft.com/office/drawing/2014/main" id="{1A391B4E-A777-E86A-1FC4-59BC0A7747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20" y="1107596"/>
            <a:ext cx="994354" cy="986585"/>
          </a:xfrm>
          <a:prstGeom prst="rect">
            <a:avLst/>
          </a:prstGeom>
        </p:spPr>
      </p:pic>
      <p:pic>
        <p:nvPicPr>
          <p:cNvPr id="24" name="Picture 23" descr="A building with a glass door&#10;&#10;Description automatically generated">
            <a:extLst>
              <a:ext uri="{FF2B5EF4-FFF2-40B4-BE49-F238E27FC236}">
                <a16:creationId xmlns:a16="http://schemas.microsoft.com/office/drawing/2014/main" id="{141EF7F8-FEAC-BEB4-73DF-C1A7669A167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6683" y="3114463"/>
            <a:ext cx="1524000" cy="1003300"/>
          </a:xfrm>
          <a:prstGeom prst="rect">
            <a:avLst/>
          </a:prstGeom>
        </p:spPr>
      </p:pic>
      <p:pic>
        <p:nvPicPr>
          <p:cNvPr id="42" name="Picture 41" descr="A building with many windows&#10;&#10;Description automatically generated">
            <a:extLst>
              <a:ext uri="{FF2B5EF4-FFF2-40B4-BE49-F238E27FC236}">
                <a16:creationId xmlns:a16="http://schemas.microsoft.com/office/drawing/2014/main" id="{95A32E82-C2A2-7461-EF02-5B21212E465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6087" y="1127628"/>
            <a:ext cx="1453785" cy="968221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49B5BE39-15AB-7BFE-2E7C-CE12F874EB2E}"/>
              </a:ext>
            </a:extLst>
          </p:cNvPr>
          <p:cNvSpPr/>
          <p:nvPr/>
        </p:nvSpPr>
        <p:spPr>
          <a:xfrm>
            <a:off x="8261164" y="2261386"/>
            <a:ext cx="605117" cy="6051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30000"/>
              </a:lnSpc>
            </a:pPr>
            <a:endParaRPr lang="en-BE" sz="1200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43727DA-9426-D58E-E6D4-DB382AA80E86}"/>
              </a:ext>
            </a:extLst>
          </p:cNvPr>
          <p:cNvSpPr txBox="1"/>
          <p:nvPr/>
        </p:nvSpPr>
        <p:spPr>
          <a:xfrm>
            <a:off x="8192429" y="2440833"/>
            <a:ext cx="75710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000" b="1">
                <a:solidFill>
                  <a:schemeClr val="bg1"/>
                </a:solidFill>
                <a:latin typeface="+mj-lt"/>
              </a:rPr>
              <a:t>TODAY</a:t>
            </a:r>
            <a:endParaRPr lang="en-BE" sz="1000">
              <a:solidFill>
                <a:schemeClr val="bg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C89E44D-FFD2-1EA1-2859-AA9FEDA7096D}"/>
              </a:ext>
            </a:extLst>
          </p:cNvPr>
          <p:cNvCxnSpPr>
            <a:cxnSpLocks/>
          </p:cNvCxnSpPr>
          <p:nvPr/>
        </p:nvCxnSpPr>
        <p:spPr>
          <a:xfrm flipH="1">
            <a:off x="2246087" y="2881278"/>
            <a:ext cx="10405" cy="130075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81064F-9DB1-881F-EC30-1DA05DA9E9EE}"/>
              </a:ext>
            </a:extLst>
          </p:cNvPr>
          <p:cNvCxnSpPr>
            <a:cxnSpLocks/>
          </p:cNvCxnSpPr>
          <p:nvPr/>
        </p:nvCxnSpPr>
        <p:spPr>
          <a:xfrm>
            <a:off x="5416311" y="2881278"/>
            <a:ext cx="0" cy="130075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A person throwing a pinwheel in the air&#10;&#10;AI-generated content may be incorrect.">
            <a:extLst>
              <a:ext uri="{FF2B5EF4-FFF2-40B4-BE49-F238E27FC236}">
                <a16:creationId xmlns:a16="http://schemas.microsoft.com/office/drawing/2014/main" id="{49153771-1852-7DA6-F046-E9206AE1BC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397" y="1122027"/>
            <a:ext cx="1434739" cy="952667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EDCF88-2158-8D32-EE18-3E6A1C100757}"/>
              </a:ext>
            </a:extLst>
          </p:cNvPr>
          <p:cNvCxnSpPr>
            <a:cxnSpLocks/>
          </p:cNvCxnSpPr>
          <p:nvPr/>
        </p:nvCxnSpPr>
        <p:spPr>
          <a:xfrm>
            <a:off x="3818272" y="1109393"/>
            <a:ext cx="8411" cy="1144189"/>
          </a:xfrm>
          <a:prstGeom prst="line">
            <a:avLst/>
          </a:prstGeom>
          <a:ln w="19050" cap="rnd">
            <a:solidFill>
              <a:srgbClr val="76493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598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:push/>
      </p:transition>
    </mc:Choice>
    <mc:Fallback xmlns="">
      <p:transition spd="slow">
        <p:push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kaert 16-9">
  <a:themeElements>
    <a:clrScheme name="Custom 4">
      <a:dk1>
        <a:srgbClr val="000000"/>
      </a:dk1>
      <a:lt1>
        <a:srgbClr val="FFFFFF"/>
      </a:lt1>
      <a:dk2>
        <a:srgbClr val="D7D2CB"/>
      </a:dk2>
      <a:lt2>
        <a:srgbClr val="F5F4F2"/>
      </a:lt2>
      <a:accent1>
        <a:srgbClr val="01ADEF"/>
      </a:accent1>
      <a:accent2>
        <a:srgbClr val="FF602C"/>
      </a:accent2>
      <a:accent3>
        <a:srgbClr val="5E7D53"/>
      </a:accent3>
      <a:accent4>
        <a:srgbClr val="106C8D"/>
      </a:accent4>
      <a:accent5>
        <a:srgbClr val="9F6340"/>
      </a:accent5>
      <a:accent6>
        <a:srgbClr val="EBE9E5"/>
      </a:accent6>
      <a:hlink>
        <a:srgbClr val="01ADEF"/>
      </a:hlink>
      <a:folHlink>
        <a:srgbClr val="01ADEF"/>
      </a:folHlink>
    </a:clrScheme>
    <a:fontScheme name="Bekaert">
      <a:majorFont>
        <a:latin typeface="Bekaert Headline"/>
        <a:ea typeface=""/>
        <a:cs typeface=""/>
      </a:majorFont>
      <a:minorFont>
        <a:latin typeface="Bekaert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lnSpc>
            <a:spcPct val="130000"/>
          </a:lnSpc>
          <a:defRPr sz="1200" b="0" i="0" dirty="0" err="1" smtClean="0">
            <a:solidFill>
              <a:schemeClr val="bg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lnSpc>
            <a:spcPct val="130000"/>
          </a:lnSpc>
          <a:spcAft>
            <a:spcPts val="800"/>
          </a:spcAft>
          <a:buClr>
            <a:schemeClr val="accent1"/>
          </a:buCl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ekaert Template.potx" id="{C3DC2113-13BB-4AA1-92DD-60FE8E8D6388}" vid="{41E9FD52-EBB4-4728-A506-221858BBC2FF}"/>
    </a:ext>
  </a:extLst>
</a:theme>
</file>

<file path=ppt/theme/theme2.xml><?xml version="1.0" encoding="utf-8"?>
<a:theme xmlns:a="http://schemas.openxmlformats.org/drawingml/2006/main" name="Office Theme">
  <a:themeElements>
    <a:clrScheme name="Bold New Bekaert">
      <a:dk1>
        <a:srgbClr val="000000"/>
      </a:dk1>
      <a:lt1>
        <a:srgbClr val="FFFFFF"/>
      </a:lt1>
      <a:dk2>
        <a:srgbClr val="D7D2CB"/>
      </a:dk2>
      <a:lt2>
        <a:srgbClr val="F5F3F2"/>
      </a:lt2>
      <a:accent1>
        <a:srgbClr val="01ADEF"/>
      </a:accent1>
      <a:accent2>
        <a:srgbClr val="FF602C"/>
      </a:accent2>
      <a:accent3>
        <a:srgbClr val="5E7D53"/>
      </a:accent3>
      <a:accent4>
        <a:srgbClr val="106C8D"/>
      </a:accent4>
      <a:accent5>
        <a:srgbClr val="9F6340"/>
      </a:accent5>
      <a:accent6>
        <a:srgbClr val="EBE9E5"/>
      </a:accent6>
      <a:hlink>
        <a:srgbClr val="01ADEF"/>
      </a:hlink>
      <a:folHlink>
        <a:srgbClr val="01ADEF"/>
      </a:folHlink>
    </a:clrScheme>
    <a:fontScheme name="Bekaert">
      <a:majorFont>
        <a:latin typeface="Bekaert Headline"/>
        <a:ea typeface=""/>
        <a:cs typeface=""/>
      </a:majorFont>
      <a:minorFont>
        <a:latin typeface="Bekaert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old New Bekaert">
      <a:dk1>
        <a:srgbClr val="000000"/>
      </a:dk1>
      <a:lt1>
        <a:srgbClr val="FFFFFF"/>
      </a:lt1>
      <a:dk2>
        <a:srgbClr val="D7D2CB"/>
      </a:dk2>
      <a:lt2>
        <a:srgbClr val="F5F3F2"/>
      </a:lt2>
      <a:accent1>
        <a:srgbClr val="01ADEF"/>
      </a:accent1>
      <a:accent2>
        <a:srgbClr val="FF602C"/>
      </a:accent2>
      <a:accent3>
        <a:srgbClr val="5E7D53"/>
      </a:accent3>
      <a:accent4>
        <a:srgbClr val="106C8D"/>
      </a:accent4>
      <a:accent5>
        <a:srgbClr val="9F6340"/>
      </a:accent5>
      <a:accent6>
        <a:srgbClr val="EBE9E5"/>
      </a:accent6>
      <a:hlink>
        <a:srgbClr val="01ADEF"/>
      </a:hlink>
      <a:folHlink>
        <a:srgbClr val="01ADEF"/>
      </a:folHlink>
    </a:clrScheme>
    <a:fontScheme name="Bekaert">
      <a:majorFont>
        <a:latin typeface="Bekaert Headline"/>
        <a:ea typeface=""/>
        <a:cs typeface=""/>
      </a:majorFont>
      <a:minorFont>
        <a:latin typeface="Bekaert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1480A8DCF3D440A1C460E39EE309A1" ma:contentTypeVersion="14" ma:contentTypeDescription="Create a new document." ma:contentTypeScope="" ma:versionID="e976ca0765fce44a6204d42642ae4ad3">
  <xsd:schema xmlns:xsd="http://www.w3.org/2001/XMLSchema" xmlns:xs="http://www.w3.org/2001/XMLSchema" xmlns:p="http://schemas.microsoft.com/office/2006/metadata/properties" xmlns:ns2="31c8c56f-3af6-4acd-bd93-b99d88ebc2f2" xmlns:ns3="e743f04d-1281-4cc1-a4b9-e9a888761282" targetNamespace="http://schemas.microsoft.com/office/2006/metadata/properties" ma:root="true" ma:fieldsID="9aeb7a92fab1cade25ea01b28595ceb2" ns2:_="" ns3:_="">
    <xsd:import namespace="31c8c56f-3af6-4acd-bd93-b99d88ebc2f2"/>
    <xsd:import namespace="e743f04d-1281-4cc1-a4b9-e9a8887612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c8c56f-3af6-4acd-bd93-b99d88ebc2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6e24e200-518f-4e5f-a8b5-96763afa415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43f04d-1281-4cc1-a4b9-e9a888761282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38112a06-aa69-4a1f-9cc3-ca212f8b56a6}" ma:internalName="TaxCatchAll" ma:showField="CatchAllData" ma:web="e743f04d-1281-4cc1-a4b9-e9a8887612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743f04d-1281-4cc1-a4b9-e9a888761282" xsi:nil="true"/>
    <lcf76f155ced4ddcb4097134ff3c332f xmlns="31c8c56f-3af6-4acd-bd93-b99d88ebc2f2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AA135A-9FFA-4525-B926-9B36BF662186}">
  <ds:schemaRefs>
    <ds:schemaRef ds:uri="31c8c56f-3af6-4acd-bd93-b99d88ebc2f2"/>
    <ds:schemaRef ds:uri="e743f04d-1281-4cc1-a4b9-e9a88876128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C7E682F-54A9-467A-A338-8090EAC18DFB}">
  <ds:schemaRefs>
    <ds:schemaRef ds:uri="31c8c56f-3af6-4acd-bd93-b99d88ebc2f2"/>
    <ds:schemaRef ds:uri="44ca1e75-6f6c-4ad7-b9ed-653e2f7a4b83"/>
    <ds:schemaRef ds:uri="6b7877a4-28b5-4951-8431-452680b578e7"/>
    <ds:schemaRef ds:uri="dc81351d-cd16-442a-88bd-b8e470d198f9"/>
    <ds:schemaRef ds:uri="e743f04d-1281-4cc1-a4b9-e9a88876128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7373492-3912-42C5-A003-B848F243EDB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ekaert Template Bold New Bekaert</Template>
  <TotalTime>317</TotalTime>
  <Words>5768</Words>
  <Application>Microsoft Office PowerPoint</Application>
  <PresentationFormat>On-screen Show (16:9)</PresentationFormat>
  <Paragraphs>761</Paragraphs>
  <Slides>35</Slides>
  <Notes>26</Notes>
  <HiddenSlides>0</HiddenSlides>
  <MMClips>1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36" baseType="lpstr">
      <vt:lpstr>Bekaert 16-9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reativity beyond steel 超越钢丝，创新无界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ekaert in China 贝卡尔特在中国</vt:lpstr>
      <vt:lpstr>Bekaert China at a glance 贝卡尔特中国概览 </vt:lpstr>
      <vt:lpstr>PowerPoint Presentation</vt:lpstr>
      <vt:lpstr>PowerPoint Presentation</vt:lpstr>
      <vt:lpstr>PowerPoint Presentation</vt:lpstr>
      <vt:lpstr>Sustainability in action, for a better tomorrow 可持续行动，共创美好明天</vt:lpstr>
      <vt:lpstr>Sustainability in action, for a better tomorrow 可持续行动，共创美好明天</vt:lpstr>
      <vt:lpstr>Active community engagement 社区活动</vt:lpstr>
      <vt:lpstr>Win-win government engagement  政企协同，共谋发展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ne Parez</dc:creator>
  <cp:lastModifiedBy>Whitney Huai</cp:lastModifiedBy>
  <cp:revision>43</cp:revision>
  <dcterms:created xsi:type="dcterms:W3CDTF">2024-10-22T14:19:13Z</dcterms:created>
  <dcterms:modified xsi:type="dcterms:W3CDTF">2025-10-20T07:0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1480A8DCF3D440A1C460E39EE309A1</vt:lpwstr>
  </property>
  <property fmtid="{D5CDD505-2E9C-101B-9397-08002B2CF9AE}" pid="3" name="TitusGUID">
    <vt:lpwstr>a1390b3e-70b9-450a-ad80-6aa912d6037f</vt:lpwstr>
  </property>
  <property fmtid="{D5CDD505-2E9C-101B-9397-08002B2CF9AE}" pid="4" name="BekaertClassification">
    <vt:lpwstr>Public Information</vt:lpwstr>
  </property>
  <property fmtid="{D5CDD505-2E9C-101B-9397-08002B2CF9AE}" pid="5" name="MediaServiceImageTags">
    <vt:lpwstr/>
  </property>
</Properties>
</file>